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71" r:id="rId4"/>
    <p:sldMasterId id="2147483917" r:id="rId5"/>
  </p:sldMasterIdLst>
  <p:notesMasterIdLst>
    <p:notesMasterId r:id="rId31"/>
  </p:notesMasterIdLst>
  <p:handoutMasterIdLst>
    <p:handoutMasterId r:id="rId32"/>
  </p:handoutMasterIdLst>
  <p:sldIdLst>
    <p:sldId id="2147472160" r:id="rId6"/>
    <p:sldId id="259177" r:id="rId7"/>
    <p:sldId id="2147482551" r:id="rId8"/>
    <p:sldId id="2147482552" r:id="rId9"/>
    <p:sldId id="2147472185" r:id="rId10"/>
    <p:sldId id="2147472199" r:id="rId11"/>
    <p:sldId id="2147472189" r:id="rId12"/>
    <p:sldId id="2147482553" r:id="rId13"/>
    <p:sldId id="2147482555" r:id="rId14"/>
    <p:sldId id="259270" r:id="rId15"/>
    <p:sldId id="2147472188" r:id="rId16"/>
    <p:sldId id="2147482557" r:id="rId17"/>
    <p:sldId id="2147472094" r:id="rId18"/>
    <p:sldId id="2147472190" r:id="rId19"/>
    <p:sldId id="2147472191" r:id="rId20"/>
    <p:sldId id="2147482559" r:id="rId21"/>
    <p:sldId id="2147472192" r:id="rId22"/>
    <p:sldId id="2147472194" r:id="rId23"/>
    <p:sldId id="2147482562" r:id="rId24"/>
    <p:sldId id="2147482565" r:id="rId25"/>
    <p:sldId id="259281" r:id="rId26"/>
    <p:sldId id="2147472176" r:id="rId27"/>
    <p:sldId id="2147482561" r:id="rId28"/>
    <p:sldId id="2147472180" r:id="rId29"/>
    <p:sldId id="2147472179" r:id="rId30"/>
  </p:sldIdLst>
  <p:sldSz cx="9144000" cy="5143500" type="screen16x9"/>
  <p:notesSz cx="6858000" cy="9144000"/>
  <p:defaultText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AE68C2E-6123-6829-7A29-EC5FF22FCC05}" name="Guido Dinjens" initials="GD" userId="S::gdinjens@fssc.com::e472bde1-8bfb-41dd-b446-e80749d84adc" providerId="AD"/>
  <p188:author id="{C6CA9E47-38CD-F093-957A-D147C0E499E2}" name="Atie van Olst" initials="AO" userId="S::avanolst@fssc22000.com::141a5800-c6e2-4704-a7dc-adcdaea0478a" providerId="AD"/>
  <p188:author id="{B1ED6987-EBB4-79BB-8038-C63399E35EB3}" name="Cor Groenveld" initials="CG" userId="S::cgroenveld@fssc.com::581bf240-cec5-491c-b118-a02c011f5682" providerId="AD"/>
  <p188:author id="{CE4937B5-5810-E21E-E64F-DE413A90174C}" name="Samantha van de Wal" initials="SvdW" userId="S::svandewal@fssc.com::5cfb763c-bf46-4e32-838e-71ee31b8df1b" providerId="AD"/>
  <p188:author id="{ED0541BE-63B6-8FB9-7647-67531071E03A}" name="Maaike Rouw" initials="MR" userId="S::mrouw@fssc.com::2e4a5a73-a096-4957-baf6-63ec80756048" providerId="AD"/>
  <p188:author id="{7ABFC5C3-1881-3066-A798-2AEB178A22F1}" name="Atie van Olst" initials="AO" userId="S::avanolst@fssc.com::141a5800-c6e2-4704-a7dc-adcdaea0478a" providerId="AD"/>
  <p188:author id="{F443D8D4-E5A7-2B90-9BE2-60E021EB2E82}" name="Marc Cwikowski" initials="MC" userId="S::mcwikowski@fssc22000.com::50241f7d-fa6c-4dd8-a928-06ca8f49c13a" providerId="AD"/>
  <p188:author id="{95982FD7-575D-4533-E735-DA9656E4CF77}" name="Atie van Olst" initials="AvO" userId="d548be4a858d3d69" providerId="Windows Live"/>
  <p188:author id="{9696B0EF-307B-61A2-B4D8-346733F4B431}" name="Elsabe Matthee" initials="EM" userId="S::ematthee@fssc22000.com::928e5330-9124-4934-8eb7-09f0f9bcffe9" providerId="AD"/>
  <p188:author id="{3C0B5EFA-D9BC-62EA-614B-42ADE5E6B2FF}" name="Cor Groenveld" initials="CG" userId="S::cgroenveld@fssc22000.com::581bf240-cec5-491c-b118-a02c011f568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503A"/>
    <a:srgbClr val="2FAB55"/>
    <a:srgbClr val="EBCBC3"/>
    <a:srgbClr val="DA9C8E"/>
    <a:srgbClr val="424242"/>
    <a:srgbClr val="454F7E"/>
    <a:srgbClr val="CCD9D1"/>
    <a:srgbClr val="E8EDE9"/>
    <a:srgbClr val="2D2D2D"/>
    <a:srgbClr val="2184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BB3F9D-39B6-464C-846B-B52211B49010}" v="7" dt="2024-10-08T05:14:44.960"/>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Stijl, gemiddeld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Stijl, gemiddeld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10" autoAdjust="0"/>
    <p:restoredTop sz="94617"/>
  </p:normalViewPr>
  <p:slideViewPr>
    <p:cSldViewPr snapToGrid="0">
      <p:cViewPr>
        <p:scale>
          <a:sx n="90" d="100"/>
          <a:sy n="90" d="100"/>
        </p:scale>
        <p:origin x="1195" y="278"/>
      </p:cViewPr>
      <p:guideLst>
        <p:guide orient="horz" pos="1620"/>
        <p:guide pos="2880"/>
      </p:guideLst>
    </p:cSldViewPr>
  </p:slideViewPr>
  <p:notesTextViewPr>
    <p:cViewPr>
      <p:scale>
        <a:sx n="100" d="100"/>
        <a:sy n="100" d="100"/>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8/10/relationships/authors" Target="authors.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sabe Matthee" userId="928e5330-9124-4934-8eb7-09f0f9bcffe9" providerId="ADAL" clId="{B653F18A-4C95-4BD7-9DD6-32578C4EC472}"/>
    <pc:docChg chg="undo redo custSel addSld delSld modSld sldOrd">
      <pc:chgData name="Elsabe Matthee" userId="928e5330-9124-4934-8eb7-09f0f9bcffe9" providerId="ADAL" clId="{B653F18A-4C95-4BD7-9DD6-32578C4EC472}" dt="2024-10-04T16:11:48.132" v="4440" actId="1076"/>
      <pc:docMkLst>
        <pc:docMk/>
      </pc:docMkLst>
      <pc:sldChg chg="del">
        <pc:chgData name="Elsabe Matthee" userId="928e5330-9124-4934-8eb7-09f0f9bcffe9" providerId="ADAL" clId="{B653F18A-4C95-4BD7-9DD6-32578C4EC472}" dt="2024-10-02T09:34:49.730" v="753" actId="2696"/>
        <pc:sldMkLst>
          <pc:docMk/>
          <pc:sldMk cId="3855978829" sldId="596"/>
        </pc:sldMkLst>
      </pc:sldChg>
      <pc:sldChg chg="del">
        <pc:chgData name="Elsabe Matthee" userId="928e5330-9124-4934-8eb7-09f0f9bcffe9" providerId="ADAL" clId="{B653F18A-4C95-4BD7-9DD6-32578C4EC472}" dt="2024-10-02T09:34:49.730" v="753" actId="2696"/>
        <pc:sldMkLst>
          <pc:docMk/>
          <pc:sldMk cId="3353589093" sldId="626"/>
        </pc:sldMkLst>
      </pc:sldChg>
      <pc:sldChg chg="modSp mod ord">
        <pc:chgData name="Elsabe Matthee" userId="928e5330-9124-4934-8eb7-09f0f9bcffe9" providerId="ADAL" clId="{B653F18A-4C95-4BD7-9DD6-32578C4EC472}" dt="2024-10-02T08:54:17.592" v="64" actId="20577"/>
        <pc:sldMkLst>
          <pc:docMk/>
          <pc:sldMk cId="842115803" sldId="259177"/>
        </pc:sldMkLst>
        <pc:spChg chg="mod">
          <ac:chgData name="Elsabe Matthee" userId="928e5330-9124-4934-8eb7-09f0f9bcffe9" providerId="ADAL" clId="{B653F18A-4C95-4BD7-9DD6-32578C4EC472}" dt="2024-10-02T08:54:17.592" v="64" actId="20577"/>
          <ac:spMkLst>
            <pc:docMk/>
            <pc:sldMk cId="842115803" sldId="259177"/>
            <ac:spMk id="2" creationId="{87277D4A-A643-4798-A6EF-C2D238FFBAA3}"/>
          </ac:spMkLst>
        </pc:spChg>
      </pc:sldChg>
      <pc:sldChg chg="modSp mod ord">
        <pc:chgData name="Elsabe Matthee" userId="928e5330-9124-4934-8eb7-09f0f9bcffe9" providerId="ADAL" clId="{B653F18A-4C95-4BD7-9DD6-32578C4EC472}" dt="2024-10-02T08:52:04.959" v="20" actId="6549"/>
        <pc:sldMkLst>
          <pc:docMk/>
          <pc:sldMk cId="1066485523" sldId="2147472160"/>
        </pc:sldMkLst>
        <pc:spChg chg="mod">
          <ac:chgData name="Elsabe Matthee" userId="928e5330-9124-4934-8eb7-09f0f9bcffe9" providerId="ADAL" clId="{B653F18A-4C95-4BD7-9DD6-32578C4EC472}" dt="2024-10-02T08:51:48.509" v="3" actId="6549"/>
          <ac:spMkLst>
            <pc:docMk/>
            <pc:sldMk cId="1066485523" sldId="2147472160"/>
            <ac:spMk id="5" creationId="{95B0FDC1-5402-6482-B05B-D30E79C16A95}"/>
          </ac:spMkLst>
        </pc:spChg>
        <pc:spChg chg="mod">
          <ac:chgData name="Elsabe Matthee" userId="928e5330-9124-4934-8eb7-09f0f9bcffe9" providerId="ADAL" clId="{B653F18A-4C95-4BD7-9DD6-32578C4EC472}" dt="2024-10-02T08:52:04.959" v="20" actId="6549"/>
          <ac:spMkLst>
            <pc:docMk/>
            <pc:sldMk cId="1066485523" sldId="2147472160"/>
            <ac:spMk id="7" creationId="{2B450274-A7BF-8C47-0929-E49950F5359C}"/>
          </ac:spMkLst>
        </pc:spChg>
      </pc:sldChg>
      <pc:sldChg chg="del">
        <pc:chgData name="Elsabe Matthee" userId="928e5330-9124-4934-8eb7-09f0f9bcffe9" providerId="ADAL" clId="{B653F18A-4C95-4BD7-9DD6-32578C4EC472}" dt="2024-10-02T08:53:24.012" v="21" actId="2696"/>
        <pc:sldMkLst>
          <pc:docMk/>
          <pc:sldMk cId="3220104553" sldId="2147472162"/>
        </pc:sldMkLst>
      </pc:sldChg>
      <pc:sldChg chg="add del">
        <pc:chgData name="Elsabe Matthee" userId="928e5330-9124-4934-8eb7-09f0f9bcffe9" providerId="ADAL" clId="{B653F18A-4C95-4BD7-9DD6-32578C4EC472}" dt="2024-10-02T09:39:16.581" v="783" actId="47"/>
        <pc:sldMkLst>
          <pc:docMk/>
          <pc:sldMk cId="2771974959" sldId="2147472164"/>
        </pc:sldMkLst>
      </pc:sldChg>
      <pc:sldChg chg="ord">
        <pc:chgData name="Elsabe Matthee" userId="928e5330-9124-4934-8eb7-09f0f9bcffe9" providerId="ADAL" clId="{B653F18A-4C95-4BD7-9DD6-32578C4EC472}" dt="2024-10-04T13:28:16.942" v="1628"/>
        <pc:sldMkLst>
          <pc:docMk/>
          <pc:sldMk cId="3655596030" sldId="2147472176"/>
        </pc:sldMkLst>
      </pc:sldChg>
      <pc:sldChg chg="addSp delSp modSp mod ord modTransition modClrScheme chgLayout modNotesTx">
        <pc:chgData name="Elsabe Matthee" userId="928e5330-9124-4934-8eb7-09f0f9bcffe9" providerId="ADAL" clId="{B653F18A-4C95-4BD7-9DD6-32578C4EC472}" dt="2024-10-04T15:26:26.756" v="2631"/>
        <pc:sldMkLst>
          <pc:docMk/>
          <pc:sldMk cId="1350021132" sldId="2147472180"/>
        </pc:sldMkLst>
        <pc:spChg chg="mod">
          <ac:chgData name="Elsabe Matthee" userId="928e5330-9124-4934-8eb7-09f0f9bcffe9" providerId="ADAL" clId="{B653F18A-4C95-4BD7-9DD6-32578C4EC472}" dt="2024-10-02T09:49:05.065" v="957" actId="26606"/>
          <ac:spMkLst>
            <pc:docMk/>
            <pc:sldMk cId="1350021132" sldId="2147472180"/>
            <ac:spMk id="2" creationId="{A8B298B7-1C5F-9307-397E-FB351A5FE803}"/>
          </ac:spMkLst>
        </pc:spChg>
        <pc:spChg chg="add del mod">
          <ac:chgData name="Elsabe Matthee" userId="928e5330-9124-4934-8eb7-09f0f9bcffe9" providerId="ADAL" clId="{B653F18A-4C95-4BD7-9DD6-32578C4EC472}" dt="2024-10-02T09:49:00.073" v="956"/>
          <ac:spMkLst>
            <pc:docMk/>
            <pc:sldMk cId="1350021132" sldId="2147472180"/>
            <ac:spMk id="4" creationId="{06C85FC3-74B4-FC9B-C40E-6E6A460546FF}"/>
          </ac:spMkLst>
        </pc:spChg>
        <pc:spChg chg="add del mod">
          <ac:chgData name="Elsabe Matthee" userId="928e5330-9124-4934-8eb7-09f0f9bcffe9" providerId="ADAL" clId="{B653F18A-4C95-4BD7-9DD6-32578C4EC472}" dt="2024-10-02T09:49:38.453" v="960"/>
          <ac:spMkLst>
            <pc:docMk/>
            <pc:sldMk cId="1350021132" sldId="2147472180"/>
            <ac:spMk id="8" creationId="{3CEF9103-7401-D797-2035-D8FE98C60B24}"/>
          </ac:spMkLst>
        </pc:spChg>
        <pc:picChg chg="del">
          <ac:chgData name="Elsabe Matthee" userId="928e5330-9124-4934-8eb7-09f0f9bcffe9" providerId="ADAL" clId="{B653F18A-4C95-4BD7-9DD6-32578C4EC472}" dt="2024-10-02T09:48:40.280" v="955" actId="478"/>
          <ac:picMkLst>
            <pc:docMk/>
            <pc:sldMk cId="1350021132" sldId="2147472180"/>
            <ac:picMk id="5" creationId="{049BE0AF-3BFE-D41A-649C-81FAA53D5A10}"/>
          </ac:picMkLst>
        </pc:picChg>
        <pc:picChg chg="add del mod">
          <ac:chgData name="Elsabe Matthee" userId="928e5330-9124-4934-8eb7-09f0f9bcffe9" providerId="ADAL" clId="{B653F18A-4C95-4BD7-9DD6-32578C4EC472}" dt="2024-10-02T09:49:17.382" v="959" actId="478"/>
          <ac:picMkLst>
            <pc:docMk/>
            <pc:sldMk cId="1350021132" sldId="2147472180"/>
            <ac:picMk id="6" creationId="{C9042E83-7FED-AA2A-C6B0-F28A2ABDC532}"/>
          </ac:picMkLst>
        </pc:picChg>
        <pc:picChg chg="add mod">
          <ac:chgData name="Elsabe Matthee" userId="928e5330-9124-4934-8eb7-09f0f9bcffe9" providerId="ADAL" clId="{B653F18A-4C95-4BD7-9DD6-32578C4EC472}" dt="2024-10-02T09:50:04.251" v="964" actId="1076"/>
          <ac:picMkLst>
            <pc:docMk/>
            <pc:sldMk cId="1350021132" sldId="2147472180"/>
            <ac:picMk id="9" creationId="{C070998C-4F9B-8B97-68D9-9C8EBA13CF3E}"/>
          </ac:picMkLst>
        </pc:picChg>
      </pc:sldChg>
      <pc:sldChg chg="addSp modSp mod ord modNotesTx">
        <pc:chgData name="Elsabe Matthee" userId="928e5330-9124-4934-8eb7-09f0f9bcffe9" providerId="ADAL" clId="{B653F18A-4C95-4BD7-9DD6-32578C4EC472}" dt="2024-10-04T16:03:23.938" v="4203" actId="207"/>
        <pc:sldMkLst>
          <pc:docMk/>
          <pc:sldMk cId="3903285682" sldId="2147472185"/>
        </pc:sldMkLst>
        <pc:spChg chg="mod">
          <ac:chgData name="Elsabe Matthee" userId="928e5330-9124-4934-8eb7-09f0f9bcffe9" providerId="ADAL" clId="{B653F18A-4C95-4BD7-9DD6-32578C4EC472}" dt="2024-10-02T10:07:02.152" v="1147" actId="20577"/>
          <ac:spMkLst>
            <pc:docMk/>
            <pc:sldMk cId="3903285682" sldId="2147472185"/>
            <ac:spMk id="2" creationId="{3B496D4C-FB50-F156-67C2-AB112F9872B0}"/>
          </ac:spMkLst>
        </pc:spChg>
        <pc:spChg chg="add mod">
          <ac:chgData name="Elsabe Matthee" userId="928e5330-9124-4934-8eb7-09f0f9bcffe9" providerId="ADAL" clId="{B653F18A-4C95-4BD7-9DD6-32578C4EC472}" dt="2024-10-04T16:03:23.938" v="4203" actId="207"/>
          <ac:spMkLst>
            <pc:docMk/>
            <pc:sldMk cId="3903285682" sldId="2147472185"/>
            <ac:spMk id="4" creationId="{126FBABB-090C-79D0-776A-485AAF230543}"/>
          </ac:spMkLst>
        </pc:spChg>
      </pc:sldChg>
      <pc:sldChg chg="ord">
        <pc:chgData name="Elsabe Matthee" userId="928e5330-9124-4934-8eb7-09f0f9bcffe9" providerId="ADAL" clId="{B653F18A-4C95-4BD7-9DD6-32578C4EC472}" dt="2024-10-02T09:16:17.199" v="246"/>
        <pc:sldMkLst>
          <pc:docMk/>
          <pc:sldMk cId="2754150740" sldId="2147472188"/>
        </pc:sldMkLst>
      </pc:sldChg>
      <pc:sldChg chg="ord modNotesTx">
        <pc:chgData name="Elsabe Matthee" userId="928e5330-9124-4934-8eb7-09f0f9bcffe9" providerId="ADAL" clId="{B653F18A-4C95-4BD7-9DD6-32578C4EC472}" dt="2024-10-04T16:08:08.921" v="4392" actId="20577"/>
        <pc:sldMkLst>
          <pc:docMk/>
          <pc:sldMk cId="286896644" sldId="2147472189"/>
        </pc:sldMkLst>
      </pc:sldChg>
      <pc:sldChg chg="modSp mod">
        <pc:chgData name="Elsabe Matthee" userId="928e5330-9124-4934-8eb7-09f0f9bcffe9" providerId="ADAL" clId="{B653F18A-4C95-4BD7-9DD6-32578C4EC472}" dt="2024-10-04T13:36:16.733" v="2211" actId="2711"/>
        <pc:sldMkLst>
          <pc:docMk/>
          <pc:sldMk cId="1010548556" sldId="2147472190"/>
        </pc:sldMkLst>
        <pc:spChg chg="mod">
          <ac:chgData name="Elsabe Matthee" userId="928e5330-9124-4934-8eb7-09f0f9bcffe9" providerId="ADAL" clId="{B653F18A-4C95-4BD7-9DD6-32578C4EC472}" dt="2024-10-04T13:36:16.733" v="2211" actId="2711"/>
          <ac:spMkLst>
            <pc:docMk/>
            <pc:sldMk cId="1010548556" sldId="2147472190"/>
            <ac:spMk id="6" creationId="{E0A96AF2-1B8D-3207-990A-D609877ECE52}"/>
          </ac:spMkLst>
        </pc:spChg>
      </pc:sldChg>
      <pc:sldChg chg="modSp mod modNotesTx">
        <pc:chgData name="Elsabe Matthee" userId="928e5330-9124-4934-8eb7-09f0f9bcffe9" providerId="ADAL" clId="{B653F18A-4C95-4BD7-9DD6-32578C4EC472}" dt="2024-10-04T15:54:02.803" v="3703" actId="6549"/>
        <pc:sldMkLst>
          <pc:docMk/>
          <pc:sldMk cId="2710122777" sldId="2147472191"/>
        </pc:sldMkLst>
        <pc:spChg chg="mod">
          <ac:chgData name="Elsabe Matthee" userId="928e5330-9124-4934-8eb7-09f0f9bcffe9" providerId="ADAL" clId="{B653F18A-4C95-4BD7-9DD6-32578C4EC472}" dt="2024-10-02T09:31:10.778" v="607" actId="6549"/>
          <ac:spMkLst>
            <pc:docMk/>
            <pc:sldMk cId="2710122777" sldId="2147472191"/>
            <ac:spMk id="24" creationId="{311F52BF-8978-3342-6A58-3C893EE3FACA}"/>
          </ac:spMkLst>
        </pc:spChg>
      </pc:sldChg>
      <pc:sldChg chg="modSp mod">
        <pc:chgData name="Elsabe Matthee" userId="928e5330-9124-4934-8eb7-09f0f9bcffe9" providerId="ADAL" clId="{B653F18A-4C95-4BD7-9DD6-32578C4EC472}" dt="2024-10-02T09:27:39.637" v="492" actId="20577"/>
        <pc:sldMkLst>
          <pc:docMk/>
          <pc:sldMk cId="2982769415" sldId="2147472192"/>
        </pc:sldMkLst>
        <pc:graphicFrameChg chg="modGraphic">
          <ac:chgData name="Elsabe Matthee" userId="928e5330-9124-4934-8eb7-09f0f9bcffe9" providerId="ADAL" clId="{B653F18A-4C95-4BD7-9DD6-32578C4EC472}" dt="2024-10-02T09:27:39.637" v="492" actId="20577"/>
          <ac:graphicFrameMkLst>
            <pc:docMk/>
            <pc:sldMk cId="2982769415" sldId="2147472192"/>
            <ac:graphicFrameMk id="3" creationId="{5720D479-C0D4-B839-C406-039E699C9F30}"/>
          </ac:graphicFrameMkLst>
        </pc:graphicFrameChg>
      </pc:sldChg>
      <pc:sldChg chg="modSp mod">
        <pc:chgData name="Elsabe Matthee" userId="928e5330-9124-4934-8eb7-09f0f9bcffe9" providerId="ADAL" clId="{B653F18A-4C95-4BD7-9DD6-32578C4EC472}" dt="2024-10-04T15:34:35.422" v="2760" actId="20577"/>
        <pc:sldMkLst>
          <pc:docMk/>
          <pc:sldMk cId="3077079947" sldId="2147472194"/>
        </pc:sldMkLst>
        <pc:spChg chg="mod">
          <ac:chgData name="Elsabe Matthee" userId="928e5330-9124-4934-8eb7-09f0f9bcffe9" providerId="ADAL" clId="{B653F18A-4C95-4BD7-9DD6-32578C4EC472}" dt="2024-10-04T15:33:24.093" v="2736" actId="20577"/>
          <ac:spMkLst>
            <pc:docMk/>
            <pc:sldMk cId="3077079947" sldId="2147472194"/>
            <ac:spMk id="2" creationId="{B49B0E8F-799B-0054-6B78-F9F11989D181}"/>
          </ac:spMkLst>
        </pc:spChg>
        <pc:spChg chg="mod">
          <ac:chgData name="Elsabe Matthee" userId="928e5330-9124-4934-8eb7-09f0f9bcffe9" providerId="ADAL" clId="{B653F18A-4C95-4BD7-9DD6-32578C4EC472}" dt="2024-10-04T15:34:35.422" v="2760" actId="20577"/>
          <ac:spMkLst>
            <pc:docMk/>
            <pc:sldMk cId="3077079947" sldId="2147472194"/>
            <ac:spMk id="3" creationId="{01C39881-2959-A0ED-C59B-1B02817E9BCA}"/>
          </ac:spMkLst>
        </pc:spChg>
      </pc:sldChg>
      <pc:sldChg chg="del">
        <pc:chgData name="Elsabe Matthee" userId="928e5330-9124-4934-8eb7-09f0f9bcffe9" providerId="ADAL" clId="{B653F18A-4C95-4BD7-9DD6-32578C4EC472}" dt="2024-10-02T10:10:13.317" v="1153" actId="47"/>
        <pc:sldMkLst>
          <pc:docMk/>
          <pc:sldMk cId="2598811869" sldId="2147472195"/>
        </pc:sldMkLst>
      </pc:sldChg>
      <pc:sldChg chg="addSp modSp mod ord modNotesTx">
        <pc:chgData name="Elsabe Matthee" userId="928e5330-9124-4934-8eb7-09f0f9bcffe9" providerId="ADAL" clId="{B653F18A-4C95-4BD7-9DD6-32578C4EC472}" dt="2024-10-02T08:57:24.124" v="106"/>
        <pc:sldMkLst>
          <pc:docMk/>
          <pc:sldMk cId="153598475" sldId="2147472196"/>
        </pc:sldMkLst>
        <pc:spChg chg="mod">
          <ac:chgData name="Elsabe Matthee" userId="928e5330-9124-4934-8eb7-09f0f9bcffe9" providerId="ADAL" clId="{B653F18A-4C95-4BD7-9DD6-32578C4EC472}" dt="2024-10-02T08:56:58.825" v="105" actId="20577"/>
          <ac:spMkLst>
            <pc:docMk/>
            <pc:sldMk cId="153598475" sldId="2147472196"/>
            <ac:spMk id="2" creationId="{30DE89BA-63A2-5EAD-4D5B-C5D0B16DA08B}"/>
          </ac:spMkLst>
        </pc:spChg>
        <pc:spChg chg="mod">
          <ac:chgData name="Elsabe Matthee" userId="928e5330-9124-4934-8eb7-09f0f9bcffe9" providerId="ADAL" clId="{B653F18A-4C95-4BD7-9DD6-32578C4EC472}" dt="2024-10-02T08:56:24.800" v="68" actId="6549"/>
          <ac:spMkLst>
            <pc:docMk/>
            <pc:sldMk cId="153598475" sldId="2147472196"/>
            <ac:spMk id="3" creationId="{3433FA17-6E22-5669-2F81-7547AC97FBFC}"/>
          </ac:spMkLst>
        </pc:spChg>
        <pc:picChg chg="add mod">
          <ac:chgData name="Elsabe Matthee" userId="928e5330-9124-4934-8eb7-09f0f9bcffe9" providerId="ADAL" clId="{B653F18A-4C95-4BD7-9DD6-32578C4EC472}" dt="2024-10-02T08:56:44.169" v="70" actId="1076"/>
          <ac:picMkLst>
            <pc:docMk/>
            <pc:sldMk cId="153598475" sldId="2147472196"/>
            <ac:picMk id="4" creationId="{0B41C5D9-C33D-26C1-12A3-0B716EEEEE6A}"/>
          </ac:picMkLst>
        </pc:picChg>
      </pc:sldChg>
      <pc:sldChg chg="modSp del mod">
        <pc:chgData name="Elsabe Matthee" userId="928e5330-9124-4934-8eb7-09f0f9bcffe9" providerId="ADAL" clId="{B653F18A-4C95-4BD7-9DD6-32578C4EC472}" dt="2024-10-02T10:06:34.624" v="1143" actId="47"/>
        <pc:sldMkLst>
          <pc:docMk/>
          <pc:sldMk cId="4117886414" sldId="2147472197"/>
        </pc:sldMkLst>
        <pc:spChg chg="mod">
          <ac:chgData name="Elsabe Matthee" userId="928e5330-9124-4934-8eb7-09f0f9bcffe9" providerId="ADAL" clId="{B653F18A-4C95-4BD7-9DD6-32578C4EC472}" dt="2024-10-02T09:20:07.319" v="394" actId="20577"/>
          <ac:spMkLst>
            <pc:docMk/>
            <pc:sldMk cId="4117886414" sldId="2147472197"/>
            <ac:spMk id="6" creationId="{FCCD81D6-3148-4849-B36F-66E41A9D11E8}"/>
          </ac:spMkLst>
        </pc:spChg>
      </pc:sldChg>
      <pc:sldChg chg="del">
        <pc:chgData name="Elsabe Matthee" userId="928e5330-9124-4934-8eb7-09f0f9bcffe9" providerId="ADAL" clId="{B653F18A-4C95-4BD7-9DD6-32578C4EC472}" dt="2024-10-02T10:10:13.317" v="1153" actId="47"/>
        <pc:sldMkLst>
          <pc:docMk/>
          <pc:sldMk cId="476843970" sldId="2147472198"/>
        </pc:sldMkLst>
      </pc:sldChg>
      <pc:sldChg chg="addSp delSp modSp mod ord">
        <pc:chgData name="Elsabe Matthee" userId="928e5330-9124-4934-8eb7-09f0f9bcffe9" providerId="ADAL" clId="{B653F18A-4C95-4BD7-9DD6-32578C4EC472}" dt="2024-10-02T10:13:35.064" v="1221"/>
        <pc:sldMkLst>
          <pc:docMk/>
          <pc:sldMk cId="3769492332" sldId="2147472199"/>
        </pc:sldMkLst>
        <pc:spChg chg="mod">
          <ac:chgData name="Elsabe Matthee" userId="928e5330-9124-4934-8eb7-09f0f9bcffe9" providerId="ADAL" clId="{B653F18A-4C95-4BD7-9DD6-32578C4EC472}" dt="2024-10-02T09:08:34.317" v="193" actId="6549"/>
          <ac:spMkLst>
            <pc:docMk/>
            <pc:sldMk cId="3769492332" sldId="2147472199"/>
            <ac:spMk id="2" creationId="{3FB995F4-D0F0-A10D-12C8-618C89DF8E8A}"/>
          </ac:spMkLst>
        </pc:spChg>
        <pc:spChg chg="del mod">
          <ac:chgData name="Elsabe Matthee" userId="928e5330-9124-4934-8eb7-09f0f9bcffe9" providerId="ADAL" clId="{B653F18A-4C95-4BD7-9DD6-32578C4EC472}" dt="2024-10-02T09:08:47.283" v="196" actId="478"/>
          <ac:spMkLst>
            <pc:docMk/>
            <pc:sldMk cId="3769492332" sldId="2147472199"/>
            <ac:spMk id="6" creationId="{B052CF14-FAC1-ED5E-AF46-E809CC812DDC}"/>
          </ac:spMkLst>
        </pc:spChg>
        <pc:spChg chg="del">
          <ac:chgData name="Elsabe Matthee" userId="928e5330-9124-4934-8eb7-09f0f9bcffe9" providerId="ADAL" clId="{B653F18A-4C95-4BD7-9DD6-32578C4EC472}" dt="2024-10-02T09:08:42.664" v="194" actId="478"/>
          <ac:spMkLst>
            <pc:docMk/>
            <pc:sldMk cId="3769492332" sldId="2147472199"/>
            <ac:spMk id="7" creationId="{2FE33BF3-F152-47A0-324E-FE9F4918A492}"/>
          </ac:spMkLst>
        </pc:spChg>
        <pc:picChg chg="add mod">
          <ac:chgData name="Elsabe Matthee" userId="928e5330-9124-4934-8eb7-09f0f9bcffe9" providerId="ADAL" clId="{B653F18A-4C95-4BD7-9DD6-32578C4EC472}" dt="2024-10-02T09:09:00.910" v="199" actId="1076"/>
          <ac:picMkLst>
            <pc:docMk/>
            <pc:sldMk cId="3769492332" sldId="2147472199"/>
            <ac:picMk id="4" creationId="{23902D04-6132-A523-F258-519E0E1CBEFE}"/>
          </ac:picMkLst>
        </pc:picChg>
        <pc:cxnChg chg="del">
          <ac:chgData name="Elsabe Matthee" userId="928e5330-9124-4934-8eb7-09f0f9bcffe9" providerId="ADAL" clId="{B653F18A-4C95-4BD7-9DD6-32578C4EC472}" dt="2024-10-02T09:08:49.777" v="197" actId="478"/>
          <ac:cxnSpMkLst>
            <pc:docMk/>
            <pc:sldMk cId="3769492332" sldId="2147472199"/>
            <ac:cxnSpMk id="5" creationId="{61C07563-753A-7805-D338-4DE958B81CA0}"/>
          </ac:cxnSpMkLst>
        </pc:cxnChg>
      </pc:sldChg>
      <pc:sldChg chg="del">
        <pc:chgData name="Elsabe Matthee" userId="928e5330-9124-4934-8eb7-09f0f9bcffe9" providerId="ADAL" clId="{B653F18A-4C95-4BD7-9DD6-32578C4EC472}" dt="2024-10-02T08:53:24.012" v="21" actId="2696"/>
        <pc:sldMkLst>
          <pc:docMk/>
          <pc:sldMk cId="1679952640" sldId="2147472200"/>
        </pc:sldMkLst>
      </pc:sldChg>
      <pc:sldChg chg="del">
        <pc:chgData name="Elsabe Matthee" userId="928e5330-9124-4934-8eb7-09f0f9bcffe9" providerId="ADAL" clId="{B653F18A-4C95-4BD7-9DD6-32578C4EC472}" dt="2024-10-02T09:34:49.730" v="753" actId="2696"/>
        <pc:sldMkLst>
          <pc:docMk/>
          <pc:sldMk cId="3295814947" sldId="2147474286"/>
        </pc:sldMkLst>
      </pc:sldChg>
      <pc:sldChg chg="del">
        <pc:chgData name="Elsabe Matthee" userId="928e5330-9124-4934-8eb7-09f0f9bcffe9" providerId="ADAL" clId="{B653F18A-4C95-4BD7-9DD6-32578C4EC472}" dt="2024-10-02T09:34:49.730" v="753" actId="2696"/>
        <pc:sldMkLst>
          <pc:docMk/>
          <pc:sldMk cId="1319003164" sldId="2147474290"/>
        </pc:sldMkLst>
      </pc:sldChg>
      <pc:sldChg chg="del">
        <pc:chgData name="Elsabe Matthee" userId="928e5330-9124-4934-8eb7-09f0f9bcffe9" providerId="ADAL" clId="{B653F18A-4C95-4BD7-9DD6-32578C4EC472}" dt="2024-10-02T09:34:49.730" v="753" actId="2696"/>
        <pc:sldMkLst>
          <pc:docMk/>
          <pc:sldMk cId="3511145178" sldId="2147482541"/>
        </pc:sldMkLst>
      </pc:sldChg>
      <pc:sldChg chg="del">
        <pc:chgData name="Elsabe Matthee" userId="928e5330-9124-4934-8eb7-09f0f9bcffe9" providerId="ADAL" clId="{B653F18A-4C95-4BD7-9DD6-32578C4EC472}" dt="2024-10-02T09:36:59.893" v="754" actId="2696"/>
        <pc:sldMkLst>
          <pc:docMk/>
          <pc:sldMk cId="1929597090" sldId="2147482544"/>
        </pc:sldMkLst>
      </pc:sldChg>
      <pc:sldChg chg="modSp del mod">
        <pc:chgData name="Elsabe Matthee" userId="928e5330-9124-4934-8eb7-09f0f9bcffe9" providerId="ADAL" clId="{B653F18A-4C95-4BD7-9DD6-32578C4EC472}" dt="2024-10-02T10:23:59.986" v="1424" actId="2696"/>
        <pc:sldMkLst>
          <pc:docMk/>
          <pc:sldMk cId="3559803055" sldId="2147482545"/>
        </pc:sldMkLst>
        <pc:spChg chg="mod">
          <ac:chgData name="Elsabe Matthee" userId="928e5330-9124-4934-8eb7-09f0f9bcffe9" providerId="ADAL" clId="{B653F18A-4C95-4BD7-9DD6-32578C4EC472}" dt="2024-10-02T10:21:30.918" v="1393" actId="20577"/>
          <ac:spMkLst>
            <pc:docMk/>
            <pc:sldMk cId="3559803055" sldId="2147482545"/>
            <ac:spMk id="3" creationId="{2BEBF938-19F1-4D46-9E27-918AB92CFA9F}"/>
          </ac:spMkLst>
        </pc:spChg>
        <pc:spChg chg="mod">
          <ac:chgData name="Elsabe Matthee" userId="928e5330-9124-4934-8eb7-09f0f9bcffe9" providerId="ADAL" clId="{B653F18A-4C95-4BD7-9DD6-32578C4EC472}" dt="2024-10-02T10:23:39.777" v="1421" actId="1076"/>
          <ac:spMkLst>
            <pc:docMk/>
            <pc:sldMk cId="3559803055" sldId="2147482545"/>
            <ac:spMk id="23" creationId="{1CDE327D-BCAC-872B-9E1C-F7648E589ED7}"/>
          </ac:spMkLst>
        </pc:spChg>
      </pc:sldChg>
      <pc:sldChg chg="del ord">
        <pc:chgData name="Elsabe Matthee" userId="928e5330-9124-4934-8eb7-09f0f9bcffe9" providerId="ADAL" clId="{B653F18A-4C95-4BD7-9DD6-32578C4EC472}" dt="2024-10-02T10:18:23.570" v="1326" actId="2696"/>
        <pc:sldMkLst>
          <pc:docMk/>
          <pc:sldMk cId="335911350" sldId="2147482546"/>
        </pc:sldMkLst>
      </pc:sldChg>
      <pc:sldChg chg="del">
        <pc:chgData name="Elsabe Matthee" userId="928e5330-9124-4934-8eb7-09f0f9bcffe9" providerId="ADAL" clId="{B653F18A-4C95-4BD7-9DD6-32578C4EC472}" dt="2024-10-04T15:00:07.169" v="2505" actId="2696"/>
        <pc:sldMkLst>
          <pc:docMk/>
          <pc:sldMk cId="453232690" sldId="2147482548"/>
        </pc:sldMkLst>
      </pc:sldChg>
      <pc:sldChg chg="del">
        <pc:chgData name="Elsabe Matthee" userId="928e5330-9124-4934-8eb7-09f0f9bcffe9" providerId="ADAL" clId="{B653F18A-4C95-4BD7-9DD6-32578C4EC472}" dt="2024-10-04T14:57:55.617" v="2495" actId="2696"/>
        <pc:sldMkLst>
          <pc:docMk/>
          <pc:sldMk cId="2506729015" sldId="2147482549"/>
        </pc:sldMkLst>
      </pc:sldChg>
      <pc:sldChg chg="del">
        <pc:chgData name="Elsabe Matthee" userId="928e5330-9124-4934-8eb7-09f0f9bcffe9" providerId="ADAL" clId="{B653F18A-4C95-4BD7-9DD6-32578C4EC472}" dt="2024-10-04T14:57:59.348" v="2496" actId="2696"/>
        <pc:sldMkLst>
          <pc:docMk/>
          <pc:sldMk cId="1078689022" sldId="2147482550"/>
        </pc:sldMkLst>
      </pc:sldChg>
      <pc:sldChg chg="add">
        <pc:chgData name="Elsabe Matthee" userId="928e5330-9124-4934-8eb7-09f0f9bcffe9" providerId="ADAL" clId="{B653F18A-4C95-4BD7-9DD6-32578C4EC472}" dt="2024-10-02T08:54:04.926" v="22" actId="2890"/>
        <pc:sldMkLst>
          <pc:docMk/>
          <pc:sldMk cId="1997712246" sldId="2147482552"/>
        </pc:sldMkLst>
      </pc:sldChg>
      <pc:sldChg chg="modSp add mod">
        <pc:chgData name="Elsabe Matthee" userId="928e5330-9124-4934-8eb7-09f0f9bcffe9" providerId="ADAL" clId="{B653F18A-4C95-4BD7-9DD6-32578C4EC472}" dt="2024-10-04T16:09:04.056" v="4393" actId="255"/>
        <pc:sldMkLst>
          <pc:docMk/>
          <pc:sldMk cId="735859458" sldId="2147482553"/>
        </pc:sldMkLst>
        <pc:spChg chg="mod">
          <ac:chgData name="Elsabe Matthee" userId="928e5330-9124-4934-8eb7-09f0f9bcffe9" providerId="ADAL" clId="{B653F18A-4C95-4BD7-9DD6-32578C4EC472}" dt="2024-10-04T16:09:04.056" v="4393" actId="255"/>
          <ac:spMkLst>
            <pc:docMk/>
            <pc:sldMk cId="735859458" sldId="2147482553"/>
            <ac:spMk id="3" creationId="{3433FA17-6E22-5669-2F81-7547AC97FBFC}"/>
          </ac:spMkLst>
        </pc:spChg>
      </pc:sldChg>
      <pc:sldChg chg="addSp delSp modSp add mod modNotesTx">
        <pc:chgData name="Elsabe Matthee" userId="928e5330-9124-4934-8eb7-09f0f9bcffe9" providerId="ADAL" clId="{B653F18A-4C95-4BD7-9DD6-32578C4EC472}" dt="2024-10-02T08:59:31.900" v="143"/>
        <pc:sldMkLst>
          <pc:docMk/>
          <pc:sldMk cId="734223629" sldId="2147482554"/>
        </pc:sldMkLst>
        <pc:spChg chg="mod">
          <ac:chgData name="Elsabe Matthee" userId="928e5330-9124-4934-8eb7-09f0f9bcffe9" providerId="ADAL" clId="{B653F18A-4C95-4BD7-9DD6-32578C4EC472}" dt="2024-10-02T08:59:04.720" v="142" actId="6549"/>
          <ac:spMkLst>
            <pc:docMk/>
            <pc:sldMk cId="734223629" sldId="2147482554"/>
            <ac:spMk id="2" creationId="{30DE89BA-63A2-5EAD-4D5B-C5D0B16DA08B}"/>
          </ac:spMkLst>
        </pc:spChg>
        <pc:picChg chg="del">
          <ac:chgData name="Elsabe Matthee" userId="928e5330-9124-4934-8eb7-09f0f9bcffe9" providerId="ADAL" clId="{B653F18A-4C95-4BD7-9DD6-32578C4EC472}" dt="2024-10-02T08:57:48.852" v="108" actId="478"/>
          <ac:picMkLst>
            <pc:docMk/>
            <pc:sldMk cId="734223629" sldId="2147482554"/>
            <ac:picMk id="4" creationId="{0B41C5D9-C33D-26C1-12A3-0B716EEEEE6A}"/>
          </ac:picMkLst>
        </pc:picChg>
        <pc:picChg chg="add mod">
          <ac:chgData name="Elsabe Matthee" userId="928e5330-9124-4934-8eb7-09f0f9bcffe9" providerId="ADAL" clId="{B653F18A-4C95-4BD7-9DD6-32578C4EC472}" dt="2024-10-02T08:58:56.809" v="111" actId="1076"/>
          <ac:picMkLst>
            <pc:docMk/>
            <pc:sldMk cId="734223629" sldId="2147482554"/>
            <ac:picMk id="6" creationId="{A2BCA491-E5B7-EFC7-4213-C5B540CD55E4}"/>
          </ac:picMkLst>
        </pc:picChg>
      </pc:sldChg>
      <pc:sldChg chg="add ord">
        <pc:chgData name="Elsabe Matthee" userId="928e5330-9124-4934-8eb7-09f0f9bcffe9" providerId="ADAL" clId="{B653F18A-4C95-4BD7-9DD6-32578C4EC472}" dt="2024-10-04T16:10:13.218" v="4397"/>
        <pc:sldMkLst>
          <pc:docMk/>
          <pc:sldMk cId="3897799531" sldId="2147482555"/>
        </pc:sldMkLst>
      </pc:sldChg>
      <pc:sldChg chg="addSp delSp modSp add mod ord">
        <pc:chgData name="Elsabe Matthee" userId="928e5330-9124-4934-8eb7-09f0f9bcffe9" providerId="ADAL" clId="{B653F18A-4C95-4BD7-9DD6-32578C4EC472}" dt="2024-10-04T16:09:59.976" v="4395"/>
        <pc:sldMkLst>
          <pc:docMk/>
          <pc:sldMk cId="2190120628" sldId="2147482556"/>
        </pc:sldMkLst>
        <pc:spChg chg="mod">
          <ac:chgData name="Elsabe Matthee" userId="928e5330-9124-4934-8eb7-09f0f9bcffe9" providerId="ADAL" clId="{B653F18A-4C95-4BD7-9DD6-32578C4EC472}" dt="2024-10-02T09:13:08.389" v="242" actId="20577"/>
          <ac:spMkLst>
            <pc:docMk/>
            <pc:sldMk cId="2190120628" sldId="2147482556"/>
            <ac:spMk id="2" creationId="{3FB995F4-D0F0-A10D-12C8-618C89DF8E8A}"/>
          </ac:spMkLst>
        </pc:spChg>
        <pc:picChg chg="del">
          <ac:chgData name="Elsabe Matthee" userId="928e5330-9124-4934-8eb7-09f0f9bcffe9" providerId="ADAL" clId="{B653F18A-4C95-4BD7-9DD6-32578C4EC472}" dt="2024-10-02T09:10:04.810" v="201" actId="478"/>
          <ac:picMkLst>
            <pc:docMk/>
            <pc:sldMk cId="2190120628" sldId="2147482556"/>
            <ac:picMk id="4" creationId="{23902D04-6132-A523-F258-519E0E1CBEFE}"/>
          </ac:picMkLst>
        </pc:picChg>
        <pc:picChg chg="add del mod">
          <ac:chgData name="Elsabe Matthee" userId="928e5330-9124-4934-8eb7-09f0f9bcffe9" providerId="ADAL" clId="{B653F18A-4C95-4BD7-9DD6-32578C4EC472}" dt="2024-10-02T09:11:38.617" v="227" actId="478"/>
          <ac:picMkLst>
            <pc:docMk/>
            <pc:sldMk cId="2190120628" sldId="2147482556"/>
            <ac:picMk id="5" creationId="{48F3F5AC-58E4-0B9F-5000-13A588F37D1B}"/>
          </ac:picMkLst>
        </pc:picChg>
        <pc:picChg chg="add mod">
          <ac:chgData name="Elsabe Matthee" userId="928e5330-9124-4934-8eb7-09f0f9bcffe9" providerId="ADAL" clId="{B653F18A-4C95-4BD7-9DD6-32578C4EC472}" dt="2024-10-02T09:12:28.412" v="231" actId="14100"/>
          <ac:picMkLst>
            <pc:docMk/>
            <pc:sldMk cId="2190120628" sldId="2147482556"/>
            <ac:picMk id="7" creationId="{E92703C9-A1AE-7262-C2F3-A92439A4EEBD}"/>
          </ac:picMkLst>
        </pc:picChg>
        <pc:picChg chg="add mod">
          <ac:chgData name="Elsabe Matthee" userId="928e5330-9124-4934-8eb7-09f0f9bcffe9" providerId="ADAL" clId="{B653F18A-4C95-4BD7-9DD6-32578C4EC472}" dt="2024-10-02T09:12:52.079" v="232"/>
          <ac:picMkLst>
            <pc:docMk/>
            <pc:sldMk cId="2190120628" sldId="2147482556"/>
            <ac:picMk id="8" creationId="{D93D08FC-1E16-574E-F8D4-B9CB9A00B0E2}"/>
          </ac:picMkLst>
        </pc:picChg>
      </pc:sldChg>
      <pc:sldChg chg="addSp delSp modSp add mod ord modNotesTx">
        <pc:chgData name="Elsabe Matthee" userId="928e5330-9124-4934-8eb7-09f0f9bcffe9" providerId="ADAL" clId="{B653F18A-4C95-4BD7-9DD6-32578C4EC472}" dt="2024-10-04T16:10:52.362" v="4437" actId="27636"/>
        <pc:sldMkLst>
          <pc:docMk/>
          <pc:sldMk cId="2866574290" sldId="2147482557"/>
        </pc:sldMkLst>
        <pc:spChg chg="mod">
          <ac:chgData name="Elsabe Matthee" userId="928e5330-9124-4934-8eb7-09f0f9bcffe9" providerId="ADAL" clId="{B653F18A-4C95-4BD7-9DD6-32578C4EC472}" dt="2024-10-04T16:10:52.362" v="4437" actId="27636"/>
          <ac:spMkLst>
            <pc:docMk/>
            <pc:sldMk cId="2866574290" sldId="2147482557"/>
            <ac:spMk id="2" creationId="{BBDA24D1-808D-9F69-16AB-52AD4F0CDC83}"/>
          </ac:spMkLst>
        </pc:spChg>
        <pc:graphicFrameChg chg="del">
          <ac:chgData name="Elsabe Matthee" userId="928e5330-9124-4934-8eb7-09f0f9bcffe9" providerId="ADAL" clId="{B653F18A-4C95-4BD7-9DD6-32578C4EC472}" dt="2024-10-02T09:17:41.415" v="317" actId="478"/>
          <ac:graphicFrameMkLst>
            <pc:docMk/>
            <pc:sldMk cId="2866574290" sldId="2147482557"/>
            <ac:graphicFrameMk id="3" creationId="{CE949EF4-3F92-420C-5342-283E92791C81}"/>
          </ac:graphicFrameMkLst>
        </pc:graphicFrameChg>
        <pc:picChg chg="add mod">
          <ac:chgData name="Elsabe Matthee" userId="928e5330-9124-4934-8eb7-09f0f9bcffe9" providerId="ADAL" clId="{B653F18A-4C95-4BD7-9DD6-32578C4EC472}" dt="2024-10-02T09:18:47.155" v="320" actId="1076"/>
          <ac:picMkLst>
            <pc:docMk/>
            <pc:sldMk cId="2866574290" sldId="2147482557"/>
            <ac:picMk id="5" creationId="{D8FA84B1-1FEB-F207-9D62-87A5BA844BFE}"/>
          </ac:picMkLst>
        </pc:picChg>
      </pc:sldChg>
      <pc:sldChg chg="modSp add del mod ord">
        <pc:chgData name="Elsabe Matthee" userId="928e5330-9124-4934-8eb7-09f0f9bcffe9" providerId="ADAL" clId="{B653F18A-4C95-4BD7-9DD6-32578C4EC472}" dt="2024-10-02T10:09:27.956" v="1152" actId="47"/>
        <pc:sldMkLst>
          <pc:docMk/>
          <pc:sldMk cId="3408537683" sldId="2147482558"/>
        </pc:sldMkLst>
        <pc:spChg chg="mod">
          <ac:chgData name="Elsabe Matthee" userId="928e5330-9124-4934-8eb7-09f0f9bcffe9" providerId="ADAL" clId="{B653F18A-4C95-4BD7-9DD6-32578C4EC472}" dt="2024-10-02T09:21:49.051" v="489" actId="6549"/>
          <ac:spMkLst>
            <pc:docMk/>
            <pc:sldMk cId="3408537683" sldId="2147482558"/>
            <ac:spMk id="2" creationId="{87277D4A-A643-4798-A6EF-C2D238FFBAA3}"/>
          </ac:spMkLst>
        </pc:spChg>
      </pc:sldChg>
      <pc:sldChg chg="modSp add del mod ord">
        <pc:chgData name="Elsabe Matthee" userId="928e5330-9124-4934-8eb7-09f0f9bcffe9" providerId="ADAL" clId="{B653F18A-4C95-4BD7-9DD6-32578C4EC472}" dt="2024-10-02T09:34:32.879" v="752" actId="2696"/>
        <pc:sldMkLst>
          <pc:docMk/>
          <pc:sldMk cId="1643780790" sldId="2147482559"/>
        </pc:sldMkLst>
        <pc:spChg chg="mod">
          <ac:chgData name="Elsabe Matthee" userId="928e5330-9124-4934-8eb7-09f0f9bcffe9" providerId="ADAL" clId="{B653F18A-4C95-4BD7-9DD6-32578C4EC472}" dt="2024-10-02T09:33:59.558" v="751" actId="20577"/>
          <ac:spMkLst>
            <pc:docMk/>
            <pc:sldMk cId="1643780790" sldId="2147482559"/>
            <ac:spMk id="2" creationId="{89F596D2-2543-0B44-70F4-8F53C247D3BF}"/>
          </ac:spMkLst>
        </pc:spChg>
      </pc:sldChg>
      <pc:sldChg chg="addSp delSp modSp add mod ord modNotesTx">
        <pc:chgData name="Elsabe Matthee" userId="928e5330-9124-4934-8eb7-09f0f9bcffe9" providerId="ADAL" clId="{B653F18A-4C95-4BD7-9DD6-32578C4EC472}" dt="2024-10-02T09:44:00.057" v="840"/>
        <pc:sldMkLst>
          <pc:docMk/>
          <pc:sldMk cId="2115036170" sldId="2147482559"/>
        </pc:sldMkLst>
        <pc:spChg chg="mod">
          <ac:chgData name="Elsabe Matthee" userId="928e5330-9124-4934-8eb7-09f0f9bcffe9" providerId="ADAL" clId="{B653F18A-4C95-4BD7-9DD6-32578C4EC472}" dt="2024-10-02T09:40:58.532" v="834" actId="20577"/>
          <ac:spMkLst>
            <pc:docMk/>
            <pc:sldMk cId="2115036170" sldId="2147482559"/>
            <ac:spMk id="2" creationId="{0DB39550-5805-B355-7B12-303EACEAB1B7}"/>
          </ac:spMkLst>
        </pc:spChg>
        <pc:picChg chg="del">
          <ac:chgData name="Elsabe Matthee" userId="928e5330-9124-4934-8eb7-09f0f9bcffe9" providerId="ADAL" clId="{B653F18A-4C95-4BD7-9DD6-32578C4EC472}" dt="2024-10-02T09:41:01.193" v="835" actId="478"/>
          <ac:picMkLst>
            <pc:docMk/>
            <pc:sldMk cId="2115036170" sldId="2147482559"/>
            <ac:picMk id="3" creationId="{EA655AFF-93BF-1CAD-AF70-AFB63AF9E757}"/>
          </ac:picMkLst>
        </pc:picChg>
        <pc:picChg chg="add mod">
          <ac:chgData name="Elsabe Matthee" userId="928e5330-9124-4934-8eb7-09f0f9bcffe9" providerId="ADAL" clId="{B653F18A-4C95-4BD7-9DD6-32578C4EC472}" dt="2024-10-02T09:42:01.464" v="837" actId="1076"/>
          <ac:picMkLst>
            <pc:docMk/>
            <pc:sldMk cId="2115036170" sldId="2147482559"/>
            <ac:picMk id="5" creationId="{9A42AEE4-EAEB-6B4B-4CFC-4116F56CEAFB}"/>
          </ac:picMkLst>
        </pc:picChg>
      </pc:sldChg>
      <pc:sldChg chg="add">
        <pc:chgData name="Elsabe Matthee" userId="928e5330-9124-4934-8eb7-09f0f9bcffe9" providerId="ADAL" clId="{B653F18A-4C95-4BD7-9DD6-32578C4EC472}" dt="2024-10-02T09:48:20.752" v="904" actId="2890"/>
        <pc:sldMkLst>
          <pc:docMk/>
          <pc:sldMk cId="3934651971" sldId="2147482560"/>
        </pc:sldMkLst>
      </pc:sldChg>
      <pc:sldChg chg="addSp delSp modSp add mod modNotesTx">
        <pc:chgData name="Elsabe Matthee" userId="928e5330-9124-4934-8eb7-09f0f9bcffe9" providerId="ADAL" clId="{B653F18A-4C95-4BD7-9DD6-32578C4EC472}" dt="2024-10-02T09:52:03.116" v="1011" actId="20577"/>
        <pc:sldMkLst>
          <pc:docMk/>
          <pc:sldMk cId="1107177750" sldId="2147482561"/>
        </pc:sldMkLst>
        <pc:spChg chg="mod">
          <ac:chgData name="Elsabe Matthee" userId="928e5330-9124-4934-8eb7-09f0f9bcffe9" providerId="ADAL" clId="{B653F18A-4C95-4BD7-9DD6-32578C4EC472}" dt="2024-10-02T09:51:29.970" v="1005" actId="6549"/>
          <ac:spMkLst>
            <pc:docMk/>
            <pc:sldMk cId="1107177750" sldId="2147482561"/>
            <ac:spMk id="2" creationId="{A8B298B7-1C5F-9307-397E-FB351A5FE803}"/>
          </ac:spMkLst>
        </pc:spChg>
        <pc:spChg chg="add del mod">
          <ac:chgData name="Elsabe Matthee" userId="928e5330-9124-4934-8eb7-09f0f9bcffe9" providerId="ADAL" clId="{B653F18A-4C95-4BD7-9DD6-32578C4EC472}" dt="2024-10-02T09:51:49.160" v="1007"/>
          <ac:spMkLst>
            <pc:docMk/>
            <pc:sldMk cId="1107177750" sldId="2147482561"/>
            <ac:spMk id="4" creationId="{65707FCF-994D-A9BE-6614-420BDB9EFD67}"/>
          </ac:spMkLst>
        </pc:spChg>
        <pc:picChg chg="add mod">
          <ac:chgData name="Elsabe Matthee" userId="928e5330-9124-4934-8eb7-09f0f9bcffe9" providerId="ADAL" clId="{B653F18A-4C95-4BD7-9DD6-32578C4EC472}" dt="2024-10-02T09:51:49.160" v="1007"/>
          <ac:picMkLst>
            <pc:docMk/>
            <pc:sldMk cId="1107177750" sldId="2147482561"/>
            <ac:picMk id="5" creationId="{BCB5DEBD-ECA3-CDB8-BDC5-6C8A5AEA6734}"/>
          </ac:picMkLst>
        </pc:picChg>
        <pc:picChg chg="del">
          <ac:chgData name="Elsabe Matthee" userId="928e5330-9124-4934-8eb7-09f0f9bcffe9" providerId="ADAL" clId="{B653F18A-4C95-4BD7-9DD6-32578C4EC472}" dt="2024-10-02T09:51:31.960" v="1006" actId="478"/>
          <ac:picMkLst>
            <pc:docMk/>
            <pc:sldMk cId="1107177750" sldId="2147482561"/>
            <ac:picMk id="9" creationId="{C070998C-4F9B-8B97-68D9-9C8EBA13CF3E}"/>
          </ac:picMkLst>
        </pc:picChg>
      </pc:sldChg>
      <pc:sldChg chg="addSp delSp modSp add mod ord delAnim modAnim modNotesTx">
        <pc:chgData name="Elsabe Matthee" userId="928e5330-9124-4934-8eb7-09f0f9bcffe9" providerId="ADAL" clId="{B653F18A-4C95-4BD7-9DD6-32578C4EC472}" dt="2024-10-04T15:55:18.554" v="3856" actId="20577"/>
        <pc:sldMkLst>
          <pc:docMk/>
          <pc:sldMk cId="2261104105" sldId="2147482562"/>
        </pc:sldMkLst>
        <pc:spChg chg="mod">
          <ac:chgData name="Elsabe Matthee" userId="928e5330-9124-4934-8eb7-09f0f9bcffe9" providerId="ADAL" clId="{B653F18A-4C95-4BD7-9DD6-32578C4EC472}" dt="2024-10-02T10:20:17.779" v="1377" actId="20577"/>
          <ac:spMkLst>
            <pc:docMk/>
            <pc:sldMk cId="2261104105" sldId="2147482562"/>
            <ac:spMk id="2" creationId="{0DB39550-5805-B355-7B12-303EACEAB1B7}"/>
          </ac:spMkLst>
        </pc:spChg>
        <pc:spChg chg="mod">
          <ac:chgData name="Elsabe Matthee" userId="928e5330-9124-4934-8eb7-09f0f9bcffe9" providerId="ADAL" clId="{B653F18A-4C95-4BD7-9DD6-32578C4EC472}" dt="2024-10-04T13:22:55.023" v="1436"/>
          <ac:spMkLst>
            <pc:docMk/>
            <pc:sldMk cId="2261104105" sldId="2147482562"/>
            <ac:spMk id="4" creationId="{DFB44F7F-29A8-BA00-8B18-2AAE2EC38F65}"/>
          </ac:spMkLst>
        </pc:spChg>
        <pc:spChg chg="add mod">
          <ac:chgData name="Elsabe Matthee" userId="928e5330-9124-4934-8eb7-09f0f9bcffe9" providerId="ADAL" clId="{B653F18A-4C95-4BD7-9DD6-32578C4EC472}" dt="2024-10-04T13:27:12.013" v="1624" actId="1076"/>
          <ac:spMkLst>
            <pc:docMk/>
            <pc:sldMk cId="2261104105" sldId="2147482562"/>
            <ac:spMk id="5" creationId="{0D5A1BB8-2DD0-76EC-CBE8-617AC913E5B5}"/>
          </ac:spMkLst>
        </pc:spChg>
        <pc:spChg chg="add mod">
          <ac:chgData name="Elsabe Matthee" userId="928e5330-9124-4934-8eb7-09f0f9bcffe9" providerId="ADAL" clId="{B653F18A-4C95-4BD7-9DD6-32578C4EC472}" dt="2024-10-04T14:55:33.655" v="2467" actId="120"/>
          <ac:spMkLst>
            <pc:docMk/>
            <pc:sldMk cId="2261104105" sldId="2147482562"/>
            <ac:spMk id="6" creationId="{AB912DA2-952E-863E-315E-D9910DD06C88}"/>
          </ac:spMkLst>
        </pc:spChg>
        <pc:spChg chg="mod">
          <ac:chgData name="Elsabe Matthee" userId="928e5330-9124-4934-8eb7-09f0f9bcffe9" providerId="ADAL" clId="{B653F18A-4C95-4BD7-9DD6-32578C4EC472}" dt="2024-10-04T13:21:33.401" v="1427" actId="207"/>
          <ac:spMkLst>
            <pc:docMk/>
            <pc:sldMk cId="2261104105" sldId="2147482562"/>
            <ac:spMk id="9" creationId="{566A34AF-DEE9-BCC2-926A-BFB1323F079E}"/>
          </ac:spMkLst>
        </pc:spChg>
        <pc:spChg chg="mod">
          <ac:chgData name="Elsabe Matthee" userId="928e5330-9124-4934-8eb7-09f0f9bcffe9" providerId="ADAL" clId="{B653F18A-4C95-4BD7-9DD6-32578C4EC472}" dt="2024-10-04T15:20:40.159" v="2603" actId="1076"/>
          <ac:spMkLst>
            <pc:docMk/>
            <pc:sldMk cId="2261104105" sldId="2147482562"/>
            <ac:spMk id="10" creationId="{2256F4FB-C04D-44FE-EBC4-B37EC121411B}"/>
          </ac:spMkLst>
        </pc:spChg>
        <pc:spChg chg="mod">
          <ac:chgData name="Elsabe Matthee" userId="928e5330-9124-4934-8eb7-09f0f9bcffe9" providerId="ADAL" clId="{B653F18A-4C95-4BD7-9DD6-32578C4EC472}" dt="2024-10-04T13:23:28.087" v="1490" actId="1076"/>
          <ac:spMkLst>
            <pc:docMk/>
            <pc:sldMk cId="2261104105" sldId="2147482562"/>
            <ac:spMk id="14" creationId="{E911420D-7395-64B2-7CBC-62162F020A10}"/>
          </ac:spMkLst>
        </pc:spChg>
        <pc:spChg chg="add del mod">
          <ac:chgData name="Elsabe Matthee" userId="928e5330-9124-4934-8eb7-09f0f9bcffe9" providerId="ADAL" clId="{B653F18A-4C95-4BD7-9DD6-32578C4EC472}" dt="2024-10-04T13:24:16.476" v="1496" actId="478"/>
          <ac:spMkLst>
            <pc:docMk/>
            <pc:sldMk cId="2261104105" sldId="2147482562"/>
            <ac:spMk id="16" creationId="{10D87682-67BB-A12F-94DC-25CE712F10D3}"/>
          </ac:spMkLst>
        </pc:spChg>
        <pc:spChg chg="add mod">
          <ac:chgData name="Elsabe Matthee" userId="928e5330-9124-4934-8eb7-09f0f9bcffe9" providerId="ADAL" clId="{B653F18A-4C95-4BD7-9DD6-32578C4EC472}" dt="2024-10-04T15:21:07.882" v="2610" actId="1076"/>
          <ac:spMkLst>
            <pc:docMk/>
            <pc:sldMk cId="2261104105" sldId="2147482562"/>
            <ac:spMk id="17" creationId="{6D4D4782-DED2-F290-B635-DF9FA5AB8517}"/>
          </ac:spMkLst>
        </pc:spChg>
        <pc:spChg chg="add mod">
          <ac:chgData name="Elsabe Matthee" userId="928e5330-9124-4934-8eb7-09f0f9bcffe9" providerId="ADAL" clId="{B653F18A-4C95-4BD7-9DD6-32578C4EC472}" dt="2024-10-04T15:20:43.309" v="2604" actId="1076"/>
          <ac:spMkLst>
            <pc:docMk/>
            <pc:sldMk cId="2261104105" sldId="2147482562"/>
            <ac:spMk id="18" creationId="{221E7903-AFC8-C99F-F67A-EFA3088B99F6}"/>
          </ac:spMkLst>
        </pc:spChg>
        <pc:spChg chg="mod">
          <ac:chgData name="Elsabe Matthee" userId="928e5330-9124-4934-8eb7-09f0f9bcffe9" providerId="ADAL" clId="{B653F18A-4C95-4BD7-9DD6-32578C4EC472}" dt="2024-10-04T13:25:40.422" v="1540"/>
          <ac:spMkLst>
            <pc:docMk/>
            <pc:sldMk cId="2261104105" sldId="2147482562"/>
            <ac:spMk id="20" creationId="{19CDAC1F-C77C-8AD6-26D9-BA21A4D1F206}"/>
          </ac:spMkLst>
        </pc:spChg>
        <pc:spChg chg="mod">
          <ac:chgData name="Elsabe Matthee" userId="928e5330-9124-4934-8eb7-09f0f9bcffe9" providerId="ADAL" clId="{B653F18A-4C95-4BD7-9DD6-32578C4EC472}" dt="2024-10-04T15:21:01.941" v="2609" actId="1076"/>
          <ac:spMkLst>
            <pc:docMk/>
            <pc:sldMk cId="2261104105" sldId="2147482562"/>
            <ac:spMk id="21" creationId="{97FE5A1C-2963-12BE-4F49-87928FBB0DCD}"/>
          </ac:spMkLst>
        </pc:spChg>
        <pc:grpChg chg="add del mod">
          <ac:chgData name="Elsabe Matthee" userId="928e5330-9124-4934-8eb7-09f0f9bcffe9" providerId="ADAL" clId="{B653F18A-4C95-4BD7-9DD6-32578C4EC472}" dt="2024-10-04T13:26:19.969" v="1617" actId="478"/>
          <ac:grpSpMkLst>
            <pc:docMk/>
            <pc:sldMk cId="2261104105" sldId="2147482562"/>
            <ac:grpSpMk id="3" creationId="{07814014-A516-C91D-FB86-70BFCC3E316D}"/>
          </ac:grpSpMkLst>
        </pc:grpChg>
        <pc:grpChg chg="add mod">
          <ac:chgData name="Elsabe Matthee" userId="928e5330-9124-4934-8eb7-09f0f9bcffe9" providerId="ADAL" clId="{B653F18A-4C95-4BD7-9DD6-32578C4EC472}" dt="2024-10-04T15:17:17.877" v="2529" actId="1076"/>
          <ac:grpSpMkLst>
            <pc:docMk/>
            <pc:sldMk cId="2261104105" sldId="2147482562"/>
            <ac:grpSpMk id="8" creationId="{0EA44EC8-4F04-8DD9-22EF-93411AC7EF31}"/>
          </ac:grpSpMkLst>
        </pc:grpChg>
        <pc:grpChg chg="add mod">
          <ac:chgData name="Elsabe Matthee" userId="928e5330-9124-4934-8eb7-09f0f9bcffe9" providerId="ADAL" clId="{B653F18A-4C95-4BD7-9DD6-32578C4EC472}" dt="2024-10-04T15:17:38.297" v="2532" actId="1076"/>
          <ac:grpSpMkLst>
            <pc:docMk/>
            <pc:sldMk cId="2261104105" sldId="2147482562"/>
            <ac:grpSpMk id="19" creationId="{CCD7FC33-3B3A-9B80-D9EA-F178E96E86D0}"/>
          </ac:grpSpMkLst>
        </pc:grpChg>
        <pc:picChg chg="add del mod">
          <ac:chgData name="Elsabe Matthee" userId="928e5330-9124-4934-8eb7-09f0f9bcffe9" providerId="ADAL" clId="{B653F18A-4C95-4BD7-9DD6-32578C4EC472}" dt="2024-10-04T15:17:54.476" v="2534" actId="478"/>
          <ac:picMkLst>
            <pc:docMk/>
            <pc:sldMk cId="2261104105" sldId="2147482562"/>
            <ac:picMk id="3" creationId="{02AC56DA-1F58-F726-A6D1-7469619E2AF2}"/>
          </ac:picMkLst>
        </pc:picChg>
        <pc:picChg chg="del">
          <ac:chgData name="Elsabe Matthee" userId="928e5330-9124-4934-8eb7-09f0f9bcffe9" providerId="ADAL" clId="{B653F18A-4C95-4BD7-9DD6-32578C4EC472}" dt="2024-10-02T10:20:20.409" v="1378" actId="478"/>
          <ac:picMkLst>
            <pc:docMk/>
            <pc:sldMk cId="2261104105" sldId="2147482562"/>
            <ac:picMk id="3" creationId="{EA655AFF-93BF-1CAD-AF70-AFB63AF9E757}"/>
          </ac:picMkLst>
        </pc:picChg>
        <pc:picChg chg="add">
          <ac:chgData name="Elsabe Matthee" userId="928e5330-9124-4934-8eb7-09f0f9bcffe9" providerId="ADAL" clId="{B653F18A-4C95-4BD7-9DD6-32578C4EC472}" dt="2024-10-04T15:18:03.917" v="2535"/>
          <ac:picMkLst>
            <pc:docMk/>
            <pc:sldMk cId="2261104105" sldId="2147482562"/>
            <ac:picMk id="4" creationId="{3E5A33DA-3D1A-96A4-F44F-B8C91FB22E16}"/>
          </ac:picMkLst>
        </pc:picChg>
        <pc:picChg chg="add del mod">
          <ac:chgData name="Elsabe Matthee" userId="928e5330-9124-4934-8eb7-09f0f9bcffe9" providerId="ADAL" clId="{B653F18A-4C95-4BD7-9DD6-32578C4EC472}" dt="2024-10-02T10:21:00.835" v="1381" actId="478"/>
          <ac:picMkLst>
            <pc:docMk/>
            <pc:sldMk cId="2261104105" sldId="2147482562"/>
            <ac:picMk id="4" creationId="{89EAB7E1-552E-6DB9-F0B1-5C8A5C3E731F}"/>
          </ac:picMkLst>
        </pc:picChg>
        <pc:picChg chg="add del mod">
          <ac:chgData name="Elsabe Matthee" userId="928e5330-9124-4934-8eb7-09f0f9bcffe9" providerId="ADAL" clId="{B653F18A-4C95-4BD7-9DD6-32578C4EC472}" dt="2024-10-04T14:54:35.805" v="2450" actId="478"/>
          <ac:picMkLst>
            <pc:docMk/>
            <pc:sldMk cId="2261104105" sldId="2147482562"/>
            <ac:picMk id="7" creationId="{6C0F9966-79EA-0061-B75B-2FCDE8A01626}"/>
          </ac:picMkLst>
        </pc:picChg>
        <pc:picChg chg="add del mod">
          <ac:chgData name="Elsabe Matthee" userId="928e5330-9124-4934-8eb7-09f0f9bcffe9" providerId="ADAL" clId="{B653F18A-4C95-4BD7-9DD6-32578C4EC472}" dt="2024-10-04T13:22:57.391" v="1437" actId="478"/>
          <ac:picMkLst>
            <pc:docMk/>
            <pc:sldMk cId="2261104105" sldId="2147482562"/>
            <ac:picMk id="11" creationId="{78F3B2A9-C452-690E-3FC1-B7F3112DB77F}"/>
          </ac:picMkLst>
        </pc:picChg>
        <pc:picChg chg="add mod">
          <ac:chgData name="Elsabe Matthee" userId="928e5330-9124-4934-8eb7-09f0f9bcffe9" providerId="ADAL" clId="{B653F18A-4C95-4BD7-9DD6-32578C4EC472}" dt="2024-10-04T15:18:16.782" v="2537" actId="1076"/>
          <ac:picMkLst>
            <pc:docMk/>
            <pc:sldMk cId="2261104105" sldId="2147482562"/>
            <ac:picMk id="11" creationId="{97D66E5C-E4D2-AFE8-8B5F-9608DAE42CFC}"/>
          </ac:picMkLst>
        </pc:picChg>
        <pc:picChg chg="add del mod">
          <ac:chgData name="Elsabe Matthee" userId="928e5330-9124-4934-8eb7-09f0f9bcffe9" providerId="ADAL" clId="{B653F18A-4C95-4BD7-9DD6-32578C4EC472}" dt="2024-10-04T15:19:09.516" v="2546" actId="478"/>
          <ac:picMkLst>
            <pc:docMk/>
            <pc:sldMk cId="2261104105" sldId="2147482562"/>
            <ac:picMk id="12" creationId="{65E97CF2-C7DC-18F8-E569-49257E4250EE}"/>
          </ac:picMkLst>
        </pc:picChg>
        <pc:picChg chg="add del mod">
          <ac:chgData name="Elsabe Matthee" userId="928e5330-9124-4934-8eb7-09f0f9bcffe9" providerId="ADAL" clId="{B653F18A-4C95-4BD7-9DD6-32578C4EC472}" dt="2024-10-04T13:23:31.375" v="1491" actId="478"/>
          <ac:picMkLst>
            <pc:docMk/>
            <pc:sldMk cId="2261104105" sldId="2147482562"/>
            <ac:picMk id="12" creationId="{A63C157B-3A29-3C2A-CFDC-65D62B871DD1}"/>
          </ac:picMkLst>
        </pc:picChg>
        <pc:picChg chg="add mod">
          <ac:chgData name="Elsabe Matthee" userId="928e5330-9124-4934-8eb7-09f0f9bcffe9" providerId="ADAL" clId="{B653F18A-4C95-4BD7-9DD6-32578C4EC472}" dt="2024-10-04T15:19:25.969" v="2549" actId="1076"/>
          <ac:picMkLst>
            <pc:docMk/>
            <pc:sldMk cId="2261104105" sldId="2147482562"/>
            <ac:picMk id="13" creationId="{4BC01422-4145-0D24-F18B-89B51D830DE4}"/>
          </ac:picMkLst>
        </pc:picChg>
        <pc:picChg chg="add del mod">
          <ac:chgData name="Elsabe Matthee" userId="928e5330-9124-4934-8eb7-09f0f9bcffe9" providerId="ADAL" clId="{B653F18A-4C95-4BD7-9DD6-32578C4EC472}" dt="2024-10-04T13:25:27.367" v="1539" actId="478"/>
          <ac:picMkLst>
            <pc:docMk/>
            <pc:sldMk cId="2261104105" sldId="2147482562"/>
            <ac:picMk id="13" creationId="{D893D04F-E299-5E57-17FD-07DE47A54930}"/>
          </ac:picMkLst>
        </pc:picChg>
        <pc:picChg chg="add del mod">
          <ac:chgData name="Elsabe Matthee" userId="928e5330-9124-4934-8eb7-09f0f9bcffe9" providerId="ADAL" clId="{B653F18A-4C95-4BD7-9DD6-32578C4EC472}" dt="2024-10-04T15:19:43.420" v="2553" actId="478"/>
          <ac:picMkLst>
            <pc:docMk/>
            <pc:sldMk cId="2261104105" sldId="2147482562"/>
            <ac:picMk id="14" creationId="{5F910406-2AFB-0279-BE09-17E5D2665959}"/>
          </ac:picMkLst>
        </pc:picChg>
        <pc:picChg chg="add mod">
          <ac:chgData name="Elsabe Matthee" userId="928e5330-9124-4934-8eb7-09f0f9bcffe9" providerId="ADAL" clId="{B653F18A-4C95-4BD7-9DD6-32578C4EC472}" dt="2024-10-04T15:17:23.905" v="2530" actId="1076"/>
          <ac:picMkLst>
            <pc:docMk/>
            <pc:sldMk cId="2261104105" sldId="2147482562"/>
            <ac:picMk id="15" creationId="{D4FB75BD-4CA2-5F2F-E214-DB5F7F4C002C}"/>
          </ac:picMkLst>
        </pc:picChg>
      </pc:sldChg>
      <pc:sldChg chg="addSp delSp modSp add del mod ord">
        <pc:chgData name="Elsabe Matthee" userId="928e5330-9124-4934-8eb7-09f0f9bcffe9" providerId="ADAL" clId="{B653F18A-4C95-4BD7-9DD6-32578C4EC472}" dt="2024-10-04T13:32:31.541" v="1896" actId="2696"/>
        <pc:sldMkLst>
          <pc:docMk/>
          <pc:sldMk cId="2999121001" sldId="2147482563"/>
        </pc:sldMkLst>
        <pc:spChg chg="mod">
          <ac:chgData name="Elsabe Matthee" userId="928e5330-9124-4934-8eb7-09f0f9bcffe9" providerId="ADAL" clId="{B653F18A-4C95-4BD7-9DD6-32578C4EC472}" dt="2024-10-04T13:29:16.294" v="1666" actId="6549"/>
          <ac:spMkLst>
            <pc:docMk/>
            <pc:sldMk cId="2999121001" sldId="2147482563"/>
            <ac:spMk id="2" creationId="{A8B298B7-1C5F-9307-397E-FB351A5FE803}"/>
          </ac:spMkLst>
        </pc:spChg>
        <pc:spChg chg="add">
          <ac:chgData name="Elsabe Matthee" userId="928e5330-9124-4934-8eb7-09f0f9bcffe9" providerId="ADAL" clId="{B653F18A-4C95-4BD7-9DD6-32578C4EC472}" dt="2024-10-04T13:29:43.323" v="1668" actId="22"/>
          <ac:spMkLst>
            <pc:docMk/>
            <pc:sldMk cId="2999121001" sldId="2147482563"/>
            <ac:spMk id="4" creationId="{D177040B-BE1B-99A2-CF74-94BC3EA0BF07}"/>
          </ac:spMkLst>
        </pc:spChg>
        <pc:spChg chg="add del mod">
          <ac:chgData name="Elsabe Matthee" userId="928e5330-9124-4934-8eb7-09f0f9bcffe9" providerId="ADAL" clId="{B653F18A-4C95-4BD7-9DD6-32578C4EC472}" dt="2024-10-04T13:32:10.348" v="1895" actId="478"/>
          <ac:spMkLst>
            <pc:docMk/>
            <pc:sldMk cId="2999121001" sldId="2147482563"/>
            <ac:spMk id="7" creationId="{0A7BAC80-8833-4FF1-60D9-75FF42B47CDD}"/>
          </ac:spMkLst>
        </pc:spChg>
        <pc:spChg chg="add mod">
          <ac:chgData name="Elsabe Matthee" userId="928e5330-9124-4934-8eb7-09f0f9bcffe9" providerId="ADAL" clId="{B653F18A-4C95-4BD7-9DD6-32578C4EC472}" dt="2024-10-04T13:32:10.348" v="1895" actId="478"/>
          <ac:spMkLst>
            <pc:docMk/>
            <pc:sldMk cId="2999121001" sldId="2147482563"/>
            <ac:spMk id="9" creationId="{15E0555D-8002-D27D-29FB-FE70F2C9FFD4}"/>
          </ac:spMkLst>
        </pc:spChg>
        <pc:picChg chg="del mod">
          <ac:chgData name="Elsabe Matthee" userId="928e5330-9124-4934-8eb7-09f0f9bcffe9" providerId="ADAL" clId="{B653F18A-4C95-4BD7-9DD6-32578C4EC472}" dt="2024-10-04T13:29:47.755" v="1669" actId="478"/>
          <ac:picMkLst>
            <pc:docMk/>
            <pc:sldMk cId="2999121001" sldId="2147482563"/>
            <ac:picMk id="5" creationId="{BCB5DEBD-ECA3-CDB8-BDC5-6C8A5AEA6734}"/>
          </ac:picMkLst>
        </pc:picChg>
      </pc:sldChg>
      <pc:sldChg chg="add del">
        <pc:chgData name="Elsabe Matthee" userId="928e5330-9124-4934-8eb7-09f0f9bcffe9" providerId="ADAL" clId="{B653F18A-4C95-4BD7-9DD6-32578C4EC472}" dt="2024-10-04T13:35:25.691" v="2207" actId="2696"/>
        <pc:sldMkLst>
          <pc:docMk/>
          <pc:sldMk cId="2005783223" sldId="2147482564"/>
        </pc:sldMkLst>
      </pc:sldChg>
      <pc:sldChg chg="addSp delSp modSp add mod ord modNotesTx">
        <pc:chgData name="Elsabe Matthee" userId="928e5330-9124-4934-8eb7-09f0f9bcffe9" providerId="ADAL" clId="{B653F18A-4C95-4BD7-9DD6-32578C4EC472}" dt="2024-10-04T16:11:48.132" v="4440" actId="1076"/>
        <pc:sldMkLst>
          <pc:docMk/>
          <pc:sldMk cId="2358615874" sldId="2147482565"/>
        </pc:sldMkLst>
        <pc:spChg chg="mod">
          <ac:chgData name="Elsabe Matthee" userId="928e5330-9124-4934-8eb7-09f0f9bcffe9" providerId="ADAL" clId="{B653F18A-4C95-4BD7-9DD6-32578C4EC472}" dt="2024-10-04T13:35:15.613" v="2206" actId="20577"/>
          <ac:spMkLst>
            <pc:docMk/>
            <pc:sldMk cId="2358615874" sldId="2147482565"/>
            <ac:spMk id="2" creationId="{A8B298B7-1C5F-9307-397E-FB351A5FE803}"/>
          </ac:spMkLst>
        </pc:spChg>
        <pc:spChg chg="add mod">
          <ac:chgData name="Elsabe Matthee" userId="928e5330-9124-4934-8eb7-09f0f9bcffe9" providerId="ADAL" clId="{B653F18A-4C95-4BD7-9DD6-32578C4EC472}" dt="2024-10-04T14:57:49.675" v="2494" actId="14100"/>
          <ac:spMkLst>
            <pc:docMk/>
            <pc:sldMk cId="2358615874" sldId="2147482565"/>
            <ac:spMk id="4" creationId="{BA76FF73-C239-6FC8-E6F6-BB3D95F12900}"/>
          </ac:spMkLst>
        </pc:spChg>
        <pc:spChg chg="add del mod">
          <ac:chgData name="Elsabe Matthee" userId="928e5330-9124-4934-8eb7-09f0f9bcffe9" providerId="ADAL" clId="{B653F18A-4C95-4BD7-9DD6-32578C4EC472}" dt="2024-10-04T13:39:00.375" v="2251" actId="478"/>
          <ac:spMkLst>
            <pc:docMk/>
            <pc:sldMk cId="2358615874" sldId="2147482565"/>
            <ac:spMk id="7" creationId="{4D8DF9B9-CCD4-B761-D94F-BF183B982144}"/>
          </ac:spMkLst>
        </pc:spChg>
        <pc:picChg chg="del mod">
          <ac:chgData name="Elsabe Matthee" userId="928e5330-9124-4934-8eb7-09f0f9bcffe9" providerId="ADAL" clId="{B653F18A-4C95-4BD7-9DD6-32578C4EC472}" dt="2024-10-04T13:33:11.207" v="1902" actId="478"/>
          <ac:picMkLst>
            <pc:docMk/>
            <pc:sldMk cId="2358615874" sldId="2147482565"/>
            <ac:picMk id="5" creationId="{BCB5DEBD-ECA3-CDB8-BDC5-6C8A5AEA6734}"/>
          </ac:picMkLst>
        </pc:picChg>
        <pc:picChg chg="add mod">
          <ac:chgData name="Elsabe Matthee" userId="928e5330-9124-4934-8eb7-09f0f9bcffe9" providerId="ADAL" clId="{B653F18A-4C95-4BD7-9DD6-32578C4EC472}" dt="2024-10-04T14:57:17.787" v="2489" actId="1076"/>
          <ac:picMkLst>
            <pc:docMk/>
            <pc:sldMk cId="2358615874" sldId="2147482565"/>
            <ac:picMk id="6" creationId="{56E94D51-24F4-066F-86F3-93FF8709F7D7}"/>
          </ac:picMkLst>
        </pc:picChg>
        <pc:picChg chg="add mod">
          <ac:chgData name="Elsabe Matthee" userId="928e5330-9124-4934-8eb7-09f0f9bcffe9" providerId="ADAL" clId="{B653F18A-4C95-4BD7-9DD6-32578C4EC472}" dt="2024-10-04T16:11:48.132" v="4440" actId="1076"/>
          <ac:picMkLst>
            <pc:docMk/>
            <pc:sldMk cId="2358615874" sldId="2147482565"/>
            <ac:picMk id="8" creationId="{E695A58C-4B24-75A6-14FE-8AB0B914493F}"/>
          </ac:picMkLst>
        </pc:picChg>
        <pc:picChg chg="add mod">
          <ac:chgData name="Elsabe Matthee" userId="928e5330-9124-4934-8eb7-09f0f9bcffe9" providerId="ADAL" clId="{B653F18A-4C95-4BD7-9DD6-32578C4EC472}" dt="2024-10-04T16:11:36.601" v="4438" actId="1076"/>
          <ac:picMkLst>
            <pc:docMk/>
            <pc:sldMk cId="2358615874" sldId="2147482565"/>
            <ac:picMk id="9" creationId="{EFDD7331-D7D8-5750-A038-1AD16A3F3B74}"/>
          </ac:picMkLst>
        </pc:picChg>
      </pc:sldChg>
      <pc:sldChg chg="add del">
        <pc:chgData name="Elsabe Matthee" userId="928e5330-9124-4934-8eb7-09f0f9bcffe9" providerId="ADAL" clId="{B653F18A-4C95-4BD7-9DD6-32578C4EC472}" dt="2024-10-04T14:55:43.915" v="2468" actId="2696"/>
        <pc:sldMkLst>
          <pc:docMk/>
          <pc:sldMk cId="3815805415" sldId="2147482566"/>
        </pc:sldMkLst>
      </pc:sldChg>
      <pc:sldMasterChg chg="delSldLayout">
        <pc:chgData name="Elsabe Matthee" userId="928e5330-9124-4934-8eb7-09f0f9bcffe9" providerId="ADAL" clId="{B653F18A-4C95-4BD7-9DD6-32578C4EC472}" dt="2024-10-02T09:36:59.893" v="754" actId="2696"/>
        <pc:sldMasterMkLst>
          <pc:docMk/>
          <pc:sldMasterMk cId="664740756" sldId="2147483871"/>
        </pc:sldMasterMkLst>
        <pc:sldLayoutChg chg="del">
          <pc:chgData name="Elsabe Matthee" userId="928e5330-9124-4934-8eb7-09f0f9bcffe9" providerId="ADAL" clId="{B653F18A-4C95-4BD7-9DD6-32578C4EC472}" dt="2024-10-02T09:34:49.730" v="753" actId="2696"/>
          <pc:sldLayoutMkLst>
            <pc:docMk/>
            <pc:sldMasterMk cId="664740756" sldId="2147483871"/>
            <pc:sldLayoutMk cId="348374949" sldId="2147483940"/>
          </pc:sldLayoutMkLst>
        </pc:sldLayoutChg>
        <pc:sldLayoutChg chg="del">
          <pc:chgData name="Elsabe Matthee" userId="928e5330-9124-4934-8eb7-09f0f9bcffe9" providerId="ADAL" clId="{B653F18A-4C95-4BD7-9DD6-32578C4EC472}" dt="2024-10-02T09:34:49.730" v="753" actId="2696"/>
          <pc:sldLayoutMkLst>
            <pc:docMk/>
            <pc:sldMasterMk cId="664740756" sldId="2147483871"/>
            <pc:sldLayoutMk cId="1405348204" sldId="2147483941"/>
          </pc:sldLayoutMkLst>
        </pc:sldLayoutChg>
        <pc:sldLayoutChg chg="del">
          <pc:chgData name="Elsabe Matthee" userId="928e5330-9124-4934-8eb7-09f0f9bcffe9" providerId="ADAL" clId="{B653F18A-4C95-4BD7-9DD6-32578C4EC472}" dt="2024-10-02T09:34:49.730" v="753" actId="2696"/>
          <pc:sldLayoutMkLst>
            <pc:docMk/>
            <pc:sldMasterMk cId="664740756" sldId="2147483871"/>
            <pc:sldLayoutMk cId="3031030038" sldId="2147483942"/>
          </pc:sldLayoutMkLst>
        </pc:sldLayoutChg>
        <pc:sldLayoutChg chg="del">
          <pc:chgData name="Elsabe Matthee" userId="928e5330-9124-4934-8eb7-09f0f9bcffe9" providerId="ADAL" clId="{B653F18A-4C95-4BD7-9DD6-32578C4EC472}" dt="2024-10-02T09:36:59.893" v="754" actId="2696"/>
          <pc:sldLayoutMkLst>
            <pc:docMk/>
            <pc:sldMasterMk cId="664740756" sldId="2147483871"/>
            <pc:sldLayoutMk cId="2981381144" sldId="2147483943"/>
          </pc:sldLayoutMkLst>
        </pc:sldLayoutChg>
      </pc:sldMasterChg>
    </pc:docChg>
  </pc:docChgLst>
  <pc:docChgLst>
    <pc:chgData name="Francisco Esteve" userId="S::festeve@fssc.com::84bb6c91-996c-4860-8997-91745cba5e1c" providerId="AD" clId="Web-{8C1563F6-4BBC-A3DF-4E08-040D6B972608}"/>
    <pc:docChg chg="modSld">
      <pc:chgData name="Francisco Esteve" userId="S::festeve@fssc.com::84bb6c91-996c-4860-8997-91745cba5e1c" providerId="AD" clId="Web-{8C1563F6-4BBC-A3DF-4E08-040D6B972608}" dt="2024-08-27T13:44:01.404" v="1" actId="20577"/>
      <pc:docMkLst>
        <pc:docMk/>
      </pc:docMkLst>
      <pc:sldChg chg="modSp">
        <pc:chgData name="Francisco Esteve" userId="S::festeve@fssc.com::84bb6c91-996c-4860-8997-91745cba5e1c" providerId="AD" clId="Web-{8C1563F6-4BBC-A3DF-4E08-040D6B972608}" dt="2024-08-27T13:44:01.404" v="1" actId="20577"/>
        <pc:sldMkLst>
          <pc:docMk/>
          <pc:sldMk cId="3309140215" sldId="271"/>
        </pc:sldMkLst>
        <pc:spChg chg="mod">
          <ac:chgData name="Francisco Esteve" userId="S::festeve@fssc.com::84bb6c91-996c-4860-8997-91745cba5e1c" providerId="AD" clId="Web-{8C1563F6-4BBC-A3DF-4E08-040D6B972608}" dt="2024-08-27T13:44:01.404" v="1" actId="20577"/>
          <ac:spMkLst>
            <pc:docMk/>
            <pc:sldMk cId="3309140215" sldId="271"/>
            <ac:spMk id="3" creationId="{95A8415F-E54B-6A9A-2219-BD08EF014457}"/>
          </ac:spMkLst>
        </pc:spChg>
      </pc:sldChg>
    </pc:docChg>
  </pc:docChgLst>
  <pc:docChgLst>
    <pc:chgData name="Francisco Esteve" userId="84bb6c91-996c-4860-8997-91745cba5e1c" providerId="ADAL" clId="{6FDF7832-1B61-466A-9C75-27DF1D39376E}"/>
    <pc:docChg chg="undo custSel addSld delSld modSld">
      <pc:chgData name="Francisco Esteve" userId="84bb6c91-996c-4860-8997-91745cba5e1c" providerId="ADAL" clId="{6FDF7832-1B61-466A-9C75-27DF1D39376E}" dt="2024-08-27T15:39:42.348" v="527" actId="47"/>
      <pc:docMkLst>
        <pc:docMk/>
      </pc:docMkLst>
      <pc:sldChg chg="add">
        <pc:chgData name="Francisco Esteve" userId="84bb6c91-996c-4860-8997-91745cba5e1c" providerId="ADAL" clId="{6FDF7832-1B61-466A-9C75-27DF1D39376E}" dt="2024-08-27T14:28:07.257" v="1"/>
        <pc:sldMkLst>
          <pc:docMk/>
          <pc:sldMk cId="4275558982" sldId="268"/>
        </pc:sldMkLst>
      </pc:sldChg>
      <pc:sldChg chg="modSp mod">
        <pc:chgData name="Francisco Esteve" userId="84bb6c91-996c-4860-8997-91745cba5e1c" providerId="ADAL" clId="{6FDF7832-1B61-466A-9C75-27DF1D39376E}" dt="2024-08-27T14:39:04.568" v="524" actId="20577"/>
        <pc:sldMkLst>
          <pc:docMk/>
          <pc:sldMk cId="3309140215" sldId="271"/>
        </pc:sldMkLst>
        <pc:spChg chg="mod">
          <ac:chgData name="Francisco Esteve" userId="84bb6c91-996c-4860-8997-91745cba5e1c" providerId="ADAL" clId="{6FDF7832-1B61-466A-9C75-27DF1D39376E}" dt="2024-08-27T14:39:04.568" v="524" actId="20577"/>
          <ac:spMkLst>
            <pc:docMk/>
            <pc:sldMk cId="3309140215" sldId="271"/>
            <ac:spMk id="3" creationId="{95A8415F-E54B-6A9A-2219-BD08EF014457}"/>
          </ac:spMkLst>
        </pc:spChg>
      </pc:sldChg>
      <pc:sldChg chg="modSp mod chgLayout">
        <pc:chgData name="Francisco Esteve" userId="84bb6c91-996c-4860-8997-91745cba5e1c" providerId="ADAL" clId="{6FDF7832-1B61-466A-9C75-27DF1D39376E}" dt="2024-08-27T14:39:41.915" v="526" actId="700"/>
        <pc:sldMkLst>
          <pc:docMk/>
          <pc:sldMk cId="3692863760" sldId="2147472107"/>
        </pc:sldMkLst>
        <pc:spChg chg="mod ord">
          <ac:chgData name="Francisco Esteve" userId="84bb6c91-996c-4860-8997-91745cba5e1c" providerId="ADAL" clId="{6FDF7832-1B61-466A-9C75-27DF1D39376E}" dt="2024-08-27T14:39:41.915" v="526" actId="700"/>
          <ac:spMkLst>
            <pc:docMk/>
            <pc:sldMk cId="3692863760" sldId="2147472107"/>
            <ac:spMk id="3" creationId="{998567CA-CA05-2509-B4B2-D79A473826B8}"/>
          </ac:spMkLst>
        </pc:spChg>
        <pc:spChg chg="mod ord">
          <ac:chgData name="Francisco Esteve" userId="84bb6c91-996c-4860-8997-91745cba5e1c" providerId="ADAL" clId="{6FDF7832-1B61-466A-9C75-27DF1D39376E}" dt="2024-08-27T14:39:41.915" v="526" actId="700"/>
          <ac:spMkLst>
            <pc:docMk/>
            <pc:sldMk cId="3692863760" sldId="2147472107"/>
            <ac:spMk id="4" creationId="{B2224B70-A803-3AAE-5574-A1330AE63836}"/>
          </ac:spMkLst>
        </pc:spChg>
        <pc:picChg chg="mod ord">
          <ac:chgData name="Francisco Esteve" userId="84bb6c91-996c-4860-8997-91745cba5e1c" providerId="ADAL" clId="{6FDF7832-1B61-466A-9C75-27DF1D39376E}" dt="2024-08-27T14:39:41.915" v="526" actId="700"/>
          <ac:picMkLst>
            <pc:docMk/>
            <pc:sldMk cId="3692863760" sldId="2147472107"/>
            <ac:picMk id="6" creationId="{6AB2B671-8BC4-F7B4-17BA-A21DDE4614D6}"/>
          </ac:picMkLst>
        </pc:picChg>
      </pc:sldChg>
      <pc:sldChg chg="del">
        <pc:chgData name="Francisco Esteve" userId="84bb6c91-996c-4860-8997-91745cba5e1c" providerId="ADAL" clId="{6FDF7832-1B61-466A-9C75-27DF1D39376E}" dt="2024-08-27T15:39:42.348" v="527" actId="47"/>
        <pc:sldMkLst>
          <pc:docMk/>
          <pc:sldMk cId="2312896433" sldId="2147472111"/>
        </pc:sldMkLst>
      </pc:sldChg>
      <pc:sldChg chg="del">
        <pc:chgData name="Francisco Esteve" userId="84bb6c91-996c-4860-8997-91745cba5e1c" providerId="ADAL" clId="{6FDF7832-1B61-466A-9C75-27DF1D39376E}" dt="2024-08-27T14:36:02.010" v="351" actId="47"/>
        <pc:sldMkLst>
          <pc:docMk/>
          <pc:sldMk cId="2928034780" sldId="2147472112"/>
        </pc:sldMkLst>
      </pc:sldChg>
      <pc:sldChg chg="del">
        <pc:chgData name="Francisco Esteve" userId="84bb6c91-996c-4860-8997-91745cba5e1c" providerId="ADAL" clId="{6FDF7832-1B61-466A-9C75-27DF1D39376E}" dt="2024-08-27T14:27:50.296" v="0" actId="47"/>
        <pc:sldMkLst>
          <pc:docMk/>
          <pc:sldMk cId="1447784612" sldId="2147472113"/>
        </pc:sldMkLst>
      </pc:sldChg>
      <pc:sldChg chg="modSp add mod">
        <pc:chgData name="Francisco Esteve" userId="84bb6c91-996c-4860-8997-91745cba5e1c" providerId="ADAL" clId="{6FDF7832-1B61-466A-9C75-27DF1D39376E}" dt="2024-08-27T14:31:33.996" v="266" actId="20577"/>
        <pc:sldMkLst>
          <pc:docMk/>
          <pc:sldMk cId="1271401145" sldId="2147472128"/>
        </pc:sldMkLst>
        <pc:spChg chg="mod">
          <ac:chgData name="Francisco Esteve" userId="84bb6c91-996c-4860-8997-91745cba5e1c" providerId="ADAL" clId="{6FDF7832-1B61-466A-9C75-27DF1D39376E}" dt="2024-08-27T14:31:33.996" v="266" actId="20577"/>
          <ac:spMkLst>
            <pc:docMk/>
            <pc:sldMk cId="1271401145" sldId="2147472128"/>
            <ac:spMk id="4" creationId="{1CEA1BE2-5C09-C058-A27D-D8FE7E4FE10B}"/>
          </ac:spMkLst>
        </pc:spChg>
      </pc:sldChg>
      <pc:sldChg chg="modSp add mod">
        <pc:chgData name="Francisco Esteve" userId="84bb6c91-996c-4860-8997-91745cba5e1c" providerId="ADAL" clId="{6FDF7832-1B61-466A-9C75-27DF1D39376E}" dt="2024-08-27T14:31:56.945" v="306" actId="20577"/>
        <pc:sldMkLst>
          <pc:docMk/>
          <pc:sldMk cId="3173899262" sldId="2147472155"/>
        </pc:sldMkLst>
        <pc:spChg chg="mod">
          <ac:chgData name="Francisco Esteve" userId="84bb6c91-996c-4860-8997-91745cba5e1c" providerId="ADAL" clId="{6FDF7832-1B61-466A-9C75-27DF1D39376E}" dt="2024-08-27T14:31:56.945" v="306" actId="20577"/>
          <ac:spMkLst>
            <pc:docMk/>
            <pc:sldMk cId="3173899262" sldId="2147472155"/>
            <ac:spMk id="4" creationId="{F4F1AC7B-3538-088A-B1E1-B7AD49C9B43E}"/>
          </ac:spMkLst>
        </pc:spChg>
      </pc:sldChg>
      <pc:sldChg chg="addSp delSp modSp new mod modClrScheme chgLayout">
        <pc:chgData name="Francisco Esteve" userId="84bb6c91-996c-4860-8997-91745cba5e1c" providerId="ADAL" clId="{6FDF7832-1B61-466A-9C75-27DF1D39376E}" dt="2024-08-27T14:35:37.910" v="350" actId="1076"/>
        <pc:sldMkLst>
          <pc:docMk/>
          <pc:sldMk cId="3868702827" sldId="2147472156"/>
        </pc:sldMkLst>
        <pc:spChg chg="del mod ord">
          <ac:chgData name="Francisco Esteve" userId="84bb6c91-996c-4860-8997-91745cba5e1c" providerId="ADAL" clId="{6FDF7832-1B61-466A-9C75-27DF1D39376E}" dt="2024-08-27T14:32:21.085" v="308" actId="700"/>
          <ac:spMkLst>
            <pc:docMk/>
            <pc:sldMk cId="3868702827" sldId="2147472156"/>
            <ac:spMk id="2" creationId="{F1197FF2-FBFD-47C4-EB99-E0D1B51D605A}"/>
          </ac:spMkLst>
        </pc:spChg>
        <pc:spChg chg="del">
          <ac:chgData name="Francisco Esteve" userId="84bb6c91-996c-4860-8997-91745cba5e1c" providerId="ADAL" clId="{6FDF7832-1B61-466A-9C75-27DF1D39376E}" dt="2024-08-27T14:32:21.085" v="308" actId="700"/>
          <ac:spMkLst>
            <pc:docMk/>
            <pc:sldMk cId="3868702827" sldId="2147472156"/>
            <ac:spMk id="3" creationId="{00C2E9B7-35CC-A4C6-64A2-43DE41DF2491}"/>
          </ac:spMkLst>
        </pc:spChg>
        <pc:spChg chg="add mod ord">
          <ac:chgData name="Francisco Esteve" userId="84bb6c91-996c-4860-8997-91745cba5e1c" providerId="ADAL" clId="{6FDF7832-1B61-466A-9C75-27DF1D39376E}" dt="2024-08-27T14:32:39.479" v="345" actId="20577"/>
          <ac:spMkLst>
            <pc:docMk/>
            <pc:sldMk cId="3868702827" sldId="2147472156"/>
            <ac:spMk id="4" creationId="{63DB8171-F8E2-AD8D-9F3F-D8F4DE29742E}"/>
          </ac:spMkLst>
        </pc:spChg>
        <pc:picChg chg="add del mod">
          <ac:chgData name="Francisco Esteve" userId="84bb6c91-996c-4860-8997-91745cba5e1c" providerId="ADAL" clId="{6FDF7832-1B61-466A-9C75-27DF1D39376E}" dt="2024-08-27T14:35:31.988" v="348" actId="478"/>
          <ac:picMkLst>
            <pc:docMk/>
            <pc:sldMk cId="3868702827" sldId="2147472156"/>
            <ac:picMk id="6" creationId="{E3331D64-66B1-9CCB-6460-F82DAFD7A374}"/>
          </ac:picMkLst>
        </pc:picChg>
        <pc:picChg chg="add mod">
          <ac:chgData name="Francisco Esteve" userId="84bb6c91-996c-4860-8997-91745cba5e1c" providerId="ADAL" clId="{6FDF7832-1B61-466A-9C75-27DF1D39376E}" dt="2024-08-27T14:35:37.910" v="350" actId="1076"/>
          <ac:picMkLst>
            <pc:docMk/>
            <pc:sldMk cId="3868702827" sldId="2147472156"/>
            <ac:picMk id="8" creationId="{FAA2EEF6-E5C0-0A01-53EF-6B19B1466565}"/>
          </ac:picMkLst>
        </pc:picChg>
      </pc:sldChg>
    </pc:docChg>
  </pc:docChgLst>
  <pc:docChgLst>
    <pc:chgData name="Francisco Esteve" userId="84bb6c91-996c-4860-8997-91745cba5e1c" providerId="ADAL" clId="{2EB846C0-EFFB-4012-B4C9-E5A083554AAB}"/>
    <pc:docChg chg="custSel addSld delSld modSld sldOrd">
      <pc:chgData name="Francisco Esteve" userId="84bb6c91-996c-4860-8997-91745cba5e1c" providerId="ADAL" clId="{2EB846C0-EFFB-4012-B4C9-E5A083554AAB}" dt="2024-09-12T14:14:37.176" v="185" actId="729"/>
      <pc:docMkLst>
        <pc:docMk/>
      </pc:docMkLst>
      <pc:sldChg chg="modSp mod">
        <pc:chgData name="Francisco Esteve" userId="84bb6c91-996c-4860-8997-91745cba5e1c" providerId="ADAL" clId="{2EB846C0-EFFB-4012-B4C9-E5A083554AAB}" dt="2024-09-12T14:04:11.467" v="175" actId="6549"/>
        <pc:sldMkLst>
          <pc:docMk/>
          <pc:sldMk cId="842115803" sldId="259177"/>
        </pc:sldMkLst>
        <pc:spChg chg="mod">
          <ac:chgData name="Francisco Esteve" userId="84bb6c91-996c-4860-8997-91745cba5e1c" providerId="ADAL" clId="{2EB846C0-EFFB-4012-B4C9-E5A083554AAB}" dt="2024-09-12T14:04:11.467" v="175" actId="6549"/>
          <ac:spMkLst>
            <pc:docMk/>
            <pc:sldMk cId="842115803" sldId="259177"/>
            <ac:spMk id="2" creationId="{87277D4A-A643-4798-A6EF-C2D238FFBAA3}"/>
          </ac:spMkLst>
        </pc:spChg>
      </pc:sldChg>
      <pc:sldChg chg="mod modShow">
        <pc:chgData name="Francisco Esteve" userId="84bb6c91-996c-4860-8997-91745cba5e1c" providerId="ADAL" clId="{2EB846C0-EFFB-4012-B4C9-E5A083554AAB}" dt="2024-09-12T13:50:07.602" v="1" actId="729"/>
        <pc:sldMkLst>
          <pc:docMk/>
          <pc:sldMk cId="2193756912" sldId="2147472098"/>
        </pc:sldMkLst>
      </pc:sldChg>
      <pc:sldChg chg="mod modShow">
        <pc:chgData name="Francisco Esteve" userId="84bb6c91-996c-4860-8997-91745cba5e1c" providerId="ADAL" clId="{2EB846C0-EFFB-4012-B4C9-E5A083554AAB}" dt="2024-09-12T13:50:13.748" v="2" actId="729"/>
        <pc:sldMkLst>
          <pc:docMk/>
          <pc:sldMk cId="3678993516" sldId="2147472099"/>
        </pc:sldMkLst>
      </pc:sldChg>
      <pc:sldChg chg="mod modShow">
        <pc:chgData name="Francisco Esteve" userId="84bb6c91-996c-4860-8997-91745cba5e1c" providerId="ADAL" clId="{2EB846C0-EFFB-4012-B4C9-E5A083554AAB}" dt="2024-09-12T13:50:01.091" v="0" actId="729"/>
        <pc:sldMkLst>
          <pc:docMk/>
          <pc:sldMk cId="2533180996" sldId="2147472100"/>
        </pc:sldMkLst>
      </pc:sldChg>
      <pc:sldChg chg="modSp add mod">
        <pc:chgData name="Francisco Esteve" userId="84bb6c91-996c-4860-8997-91745cba5e1c" providerId="ADAL" clId="{2EB846C0-EFFB-4012-B4C9-E5A083554AAB}" dt="2024-09-12T14:04:31.146" v="181" actId="20577"/>
        <pc:sldMkLst>
          <pc:docMk/>
          <pc:sldMk cId="3840537329" sldId="2147472158"/>
        </pc:sldMkLst>
        <pc:spChg chg="mod">
          <ac:chgData name="Francisco Esteve" userId="84bb6c91-996c-4860-8997-91745cba5e1c" providerId="ADAL" clId="{2EB846C0-EFFB-4012-B4C9-E5A083554AAB}" dt="2024-09-12T14:04:31.146" v="181" actId="20577"/>
          <ac:spMkLst>
            <pc:docMk/>
            <pc:sldMk cId="3840537329" sldId="2147472158"/>
            <ac:spMk id="3" creationId="{3D203F52-02C9-C97E-C0C0-90E488B1AB5F}"/>
          </ac:spMkLst>
        </pc:spChg>
      </pc:sldChg>
      <pc:sldChg chg="add">
        <pc:chgData name="Francisco Esteve" userId="84bb6c91-996c-4860-8997-91745cba5e1c" providerId="ADAL" clId="{2EB846C0-EFFB-4012-B4C9-E5A083554AAB}" dt="2024-09-12T13:51:55.456" v="3"/>
        <pc:sldMkLst>
          <pc:docMk/>
          <pc:sldMk cId="4235991976" sldId="2147472159"/>
        </pc:sldMkLst>
      </pc:sldChg>
      <pc:sldChg chg="mod modShow">
        <pc:chgData name="Francisco Esteve" userId="84bb6c91-996c-4860-8997-91745cba5e1c" providerId="ADAL" clId="{2EB846C0-EFFB-4012-B4C9-E5A083554AAB}" dt="2024-09-12T14:12:55.278" v="184" actId="729"/>
        <pc:sldMkLst>
          <pc:docMk/>
          <pc:sldMk cId="328571469" sldId="2147472163"/>
        </pc:sldMkLst>
      </pc:sldChg>
      <pc:sldChg chg="mod modShow">
        <pc:chgData name="Francisco Esteve" userId="84bb6c91-996c-4860-8997-91745cba5e1c" providerId="ADAL" clId="{2EB846C0-EFFB-4012-B4C9-E5A083554AAB}" dt="2024-09-12T14:14:37.176" v="185" actId="729"/>
        <pc:sldMkLst>
          <pc:docMk/>
          <pc:sldMk cId="855138816" sldId="2147472165"/>
        </pc:sldMkLst>
      </pc:sldChg>
      <pc:sldChg chg="del">
        <pc:chgData name="Francisco Esteve" userId="84bb6c91-996c-4860-8997-91745cba5e1c" providerId="ADAL" clId="{2EB846C0-EFFB-4012-B4C9-E5A083554AAB}" dt="2024-09-12T13:52:14.627" v="4" actId="2696"/>
        <pc:sldMkLst>
          <pc:docMk/>
          <pc:sldMk cId="989246911" sldId="2147472176"/>
        </pc:sldMkLst>
      </pc:sldChg>
      <pc:sldChg chg="add ord">
        <pc:chgData name="Francisco Esteve" userId="84bb6c91-996c-4860-8997-91745cba5e1c" providerId="ADAL" clId="{2EB846C0-EFFB-4012-B4C9-E5A083554AAB}" dt="2024-09-12T13:53:18.461" v="8"/>
        <pc:sldMkLst>
          <pc:docMk/>
          <pc:sldMk cId="3655596030" sldId="2147472176"/>
        </pc:sldMkLst>
      </pc:sldChg>
      <pc:sldChg chg="mod modShow">
        <pc:chgData name="Francisco Esteve" userId="84bb6c91-996c-4860-8997-91745cba5e1c" providerId="ADAL" clId="{2EB846C0-EFFB-4012-B4C9-E5A083554AAB}" dt="2024-09-12T13:53:14.532" v="6" actId="729"/>
        <pc:sldMkLst>
          <pc:docMk/>
          <pc:sldMk cId="3403028391" sldId="2147472181"/>
        </pc:sldMkLst>
      </pc:sldChg>
      <pc:sldChg chg="add">
        <pc:chgData name="Francisco Esteve" userId="84bb6c91-996c-4860-8997-91745cba5e1c" providerId="ADAL" clId="{2EB846C0-EFFB-4012-B4C9-E5A083554AAB}" dt="2024-09-12T13:51:55.456" v="3"/>
        <pc:sldMkLst>
          <pc:docMk/>
          <pc:sldMk cId="2729246422" sldId="2147472182"/>
        </pc:sldMkLst>
      </pc:sldChg>
      <pc:sldChg chg="modSp add mod">
        <pc:chgData name="Francisco Esteve" userId="84bb6c91-996c-4860-8997-91745cba5e1c" providerId="ADAL" clId="{2EB846C0-EFFB-4012-B4C9-E5A083554AAB}" dt="2024-09-12T14:05:20.893" v="182" actId="1076"/>
        <pc:sldMkLst>
          <pc:docMk/>
          <pc:sldMk cId="2992694345" sldId="2147472183"/>
        </pc:sldMkLst>
        <pc:spChg chg="mod">
          <ac:chgData name="Francisco Esteve" userId="84bb6c91-996c-4860-8997-91745cba5e1c" providerId="ADAL" clId="{2EB846C0-EFFB-4012-B4C9-E5A083554AAB}" dt="2024-09-12T14:05:20.893" v="182" actId="1076"/>
          <ac:spMkLst>
            <pc:docMk/>
            <pc:sldMk cId="2992694345" sldId="2147472183"/>
            <ac:spMk id="3" creationId="{E6FE7909-5E8C-0622-656F-A92D153FEAE2}"/>
          </ac:spMkLst>
        </pc:spChg>
      </pc:sldChg>
      <pc:sldChg chg="modSp add mod">
        <pc:chgData name="Francisco Esteve" userId="84bb6c91-996c-4860-8997-91745cba5e1c" providerId="ADAL" clId="{2EB846C0-EFFB-4012-B4C9-E5A083554AAB}" dt="2024-09-12T14:03:11.701" v="141" actId="20577"/>
        <pc:sldMkLst>
          <pc:docMk/>
          <pc:sldMk cId="2452424593" sldId="2147472184"/>
        </pc:sldMkLst>
        <pc:spChg chg="mod">
          <ac:chgData name="Francisco Esteve" userId="84bb6c91-996c-4860-8997-91745cba5e1c" providerId="ADAL" clId="{2EB846C0-EFFB-4012-B4C9-E5A083554AAB}" dt="2024-09-12T14:03:11.701" v="141" actId="20577"/>
          <ac:spMkLst>
            <pc:docMk/>
            <pc:sldMk cId="2452424593" sldId="2147472184"/>
            <ac:spMk id="3" creationId="{4B2366B6-26A5-399C-48B2-207DFF5F9977}"/>
          </ac:spMkLst>
        </pc:spChg>
      </pc:sldChg>
      <pc:sldChg chg="modSp add mod ord">
        <pc:chgData name="Francisco Esteve" userId="84bb6c91-996c-4860-8997-91745cba5e1c" providerId="ADAL" clId="{2EB846C0-EFFB-4012-B4C9-E5A083554AAB}" dt="2024-09-12T14:03:36.351" v="143"/>
        <pc:sldMkLst>
          <pc:docMk/>
          <pc:sldMk cId="3903285682" sldId="2147472185"/>
        </pc:sldMkLst>
        <pc:spChg chg="mod">
          <ac:chgData name="Francisco Esteve" userId="84bb6c91-996c-4860-8997-91745cba5e1c" providerId="ADAL" clId="{2EB846C0-EFFB-4012-B4C9-E5A083554AAB}" dt="2024-09-12T14:01:18.733" v="94" actId="20577"/>
          <ac:spMkLst>
            <pc:docMk/>
            <pc:sldMk cId="3903285682" sldId="2147472185"/>
            <ac:spMk id="5" creationId="{21429840-52D4-E2AB-DB8F-733049D34FB4}"/>
          </ac:spMkLst>
        </pc:spChg>
        <pc:spChg chg="mod">
          <ac:chgData name="Francisco Esteve" userId="84bb6c91-996c-4860-8997-91745cba5e1c" providerId="ADAL" clId="{2EB846C0-EFFB-4012-B4C9-E5A083554AAB}" dt="2024-09-12T13:55:25.595" v="23" actId="20577"/>
          <ac:spMkLst>
            <pc:docMk/>
            <pc:sldMk cId="3903285682" sldId="2147472185"/>
            <ac:spMk id="8" creationId="{0115439D-D74E-5637-FC04-50886A4D8D12}"/>
          </ac:spMkLst>
        </pc:spChg>
        <pc:spChg chg="mod">
          <ac:chgData name="Francisco Esteve" userId="84bb6c91-996c-4860-8997-91745cba5e1c" providerId="ADAL" clId="{2EB846C0-EFFB-4012-B4C9-E5A083554AAB}" dt="2024-09-12T13:57:12.522" v="30" actId="20577"/>
          <ac:spMkLst>
            <pc:docMk/>
            <pc:sldMk cId="3903285682" sldId="2147472185"/>
            <ac:spMk id="10" creationId="{8C562D18-1764-B0B4-9129-660E3CF5AADA}"/>
          </ac:spMkLst>
        </pc:spChg>
      </pc:sldChg>
    </pc:docChg>
  </pc:docChgLst>
  <pc:docChgLst>
    <pc:chgData name="Nicole Duyzers" userId="31f0efc2-85cf-4cd2-861c-931ad9f86626" providerId="ADAL" clId="{EC4884C5-7839-2547-8675-C9ACDD551AE3}"/>
    <pc:docChg chg="undo custSel addSld delSld modSld sldOrd addMainMaster delMainMaster modMainMaster">
      <pc:chgData name="Nicole Duyzers" userId="31f0efc2-85cf-4cd2-861c-931ad9f86626" providerId="ADAL" clId="{EC4884C5-7839-2547-8675-C9ACDD551AE3}" dt="2024-09-24T08:58:57.986" v="3105" actId="20577"/>
      <pc:docMkLst>
        <pc:docMk/>
      </pc:docMkLst>
      <pc:sldChg chg="del">
        <pc:chgData name="Nicole Duyzers" userId="31f0efc2-85cf-4cd2-861c-931ad9f86626" providerId="ADAL" clId="{EC4884C5-7839-2547-8675-C9ACDD551AE3}" dt="2024-08-27T14:01:38.969" v="212" actId="2696"/>
        <pc:sldMkLst>
          <pc:docMk/>
          <pc:sldMk cId="3846444417" sldId="258"/>
        </pc:sldMkLst>
      </pc:sldChg>
      <pc:sldChg chg="delSp del mod modTransition">
        <pc:chgData name="Nicole Duyzers" userId="31f0efc2-85cf-4cd2-861c-931ad9f86626" providerId="ADAL" clId="{EC4884C5-7839-2547-8675-C9ACDD551AE3}" dt="2024-09-05T10:32:56.665" v="1892" actId="2696"/>
        <pc:sldMkLst>
          <pc:docMk/>
          <pc:sldMk cId="4275558982" sldId="268"/>
        </pc:sldMkLst>
        <pc:cxnChg chg="del">
          <ac:chgData name="Nicole Duyzers" userId="31f0efc2-85cf-4cd2-861c-931ad9f86626" providerId="ADAL" clId="{EC4884C5-7839-2547-8675-C9ACDD551AE3}" dt="2024-09-03T12:36:36.609" v="1352" actId="478"/>
          <ac:cxnSpMkLst>
            <pc:docMk/>
            <pc:sldMk cId="4275558982" sldId="268"/>
            <ac:cxnSpMk id="4" creationId="{194C929B-36A9-F1B7-EBB2-143A98944CA2}"/>
          </ac:cxnSpMkLst>
        </pc:cxnChg>
      </pc:sldChg>
      <pc:sldChg chg="modSp del mod modNotesTx">
        <pc:chgData name="Nicole Duyzers" userId="31f0efc2-85cf-4cd2-861c-931ad9f86626" providerId="ADAL" clId="{EC4884C5-7839-2547-8675-C9ACDD551AE3}" dt="2024-09-05T10:59:37.949" v="2003" actId="2696"/>
        <pc:sldMkLst>
          <pc:docMk/>
          <pc:sldMk cId="3309140215" sldId="271"/>
        </pc:sldMkLst>
        <pc:spChg chg="mod">
          <ac:chgData name="Nicole Duyzers" userId="31f0efc2-85cf-4cd2-861c-931ad9f86626" providerId="ADAL" clId="{EC4884C5-7839-2547-8675-C9ACDD551AE3}" dt="2024-09-05T10:43:06.031" v="1956" actId="14100"/>
          <ac:spMkLst>
            <pc:docMk/>
            <pc:sldMk cId="3309140215" sldId="271"/>
            <ac:spMk id="3" creationId="{95A8415F-E54B-6A9A-2219-BD08EF014457}"/>
          </ac:spMkLst>
        </pc:spChg>
      </pc:sldChg>
      <pc:sldChg chg="modSp add del mod">
        <pc:chgData name="Nicole Duyzers" userId="31f0efc2-85cf-4cd2-861c-931ad9f86626" providerId="ADAL" clId="{EC4884C5-7839-2547-8675-C9ACDD551AE3}" dt="2024-09-17T13:29:13.075" v="2974" actId="207"/>
        <pc:sldMkLst>
          <pc:docMk/>
          <pc:sldMk cId="3855978829" sldId="596"/>
        </pc:sldMkLst>
        <pc:spChg chg="mod">
          <ac:chgData name="Nicole Duyzers" userId="31f0efc2-85cf-4cd2-861c-931ad9f86626" providerId="ADAL" clId="{EC4884C5-7839-2547-8675-C9ACDD551AE3}" dt="2024-09-17T13:29:13.075" v="2974" actId="207"/>
          <ac:spMkLst>
            <pc:docMk/>
            <pc:sldMk cId="3855978829" sldId="596"/>
            <ac:spMk id="5" creationId="{E25879AE-3685-1E49-A76A-B37C737D77DE}"/>
          </ac:spMkLst>
        </pc:spChg>
      </pc:sldChg>
      <pc:sldChg chg="add del">
        <pc:chgData name="Nicole Duyzers" userId="31f0efc2-85cf-4cd2-861c-931ad9f86626" providerId="ADAL" clId="{EC4884C5-7839-2547-8675-C9ACDD551AE3}" dt="2024-09-17T13:22:37.485" v="2929"/>
        <pc:sldMkLst>
          <pc:docMk/>
          <pc:sldMk cId="3353589093" sldId="626"/>
        </pc:sldMkLst>
      </pc:sldChg>
      <pc:sldChg chg="modSp mod modTransition">
        <pc:chgData name="Nicole Duyzers" userId="31f0efc2-85cf-4cd2-861c-931ad9f86626" providerId="ADAL" clId="{EC4884C5-7839-2547-8675-C9ACDD551AE3}" dt="2024-09-03T10:19:12.077" v="726" actId="790"/>
        <pc:sldMkLst>
          <pc:docMk/>
          <pc:sldMk cId="842115803" sldId="259177"/>
        </pc:sldMkLst>
        <pc:spChg chg="mod">
          <ac:chgData name="Nicole Duyzers" userId="31f0efc2-85cf-4cd2-861c-931ad9f86626" providerId="ADAL" clId="{EC4884C5-7839-2547-8675-C9ACDD551AE3}" dt="2024-09-03T10:19:12.077" v="726" actId="790"/>
          <ac:spMkLst>
            <pc:docMk/>
            <pc:sldMk cId="842115803" sldId="259177"/>
            <ac:spMk id="2" creationId="{87277D4A-A643-4798-A6EF-C2D238FFBAA3}"/>
          </ac:spMkLst>
        </pc:spChg>
      </pc:sldChg>
      <pc:sldChg chg="modSp mod modTransition">
        <pc:chgData name="Nicole Duyzers" userId="31f0efc2-85cf-4cd2-861c-931ad9f86626" providerId="ADAL" clId="{EC4884C5-7839-2547-8675-C9ACDD551AE3}" dt="2024-09-03T12:11:00.550" v="1248" actId="20577"/>
        <pc:sldMkLst>
          <pc:docMk/>
          <pc:sldMk cId="754362571" sldId="2147472094"/>
        </pc:sldMkLst>
        <pc:spChg chg="mod">
          <ac:chgData name="Nicole Duyzers" userId="31f0efc2-85cf-4cd2-861c-931ad9f86626" providerId="ADAL" clId="{EC4884C5-7839-2547-8675-C9ACDD551AE3}" dt="2024-09-03T12:11:00.550" v="1248" actId="20577"/>
          <ac:spMkLst>
            <pc:docMk/>
            <pc:sldMk cId="754362571" sldId="2147472094"/>
            <ac:spMk id="2" creationId="{87277D4A-A643-4798-A6EF-C2D238FFBAA3}"/>
          </ac:spMkLst>
        </pc:spChg>
      </pc:sldChg>
      <pc:sldChg chg="modSp del mod modTransition">
        <pc:chgData name="Nicole Duyzers" userId="31f0efc2-85cf-4cd2-861c-931ad9f86626" providerId="ADAL" clId="{EC4884C5-7839-2547-8675-C9ACDD551AE3}" dt="2024-09-05T12:16:58.676" v="2188" actId="2696"/>
        <pc:sldMkLst>
          <pc:docMk/>
          <pc:sldMk cId="876796373" sldId="2147472097"/>
        </pc:sldMkLst>
        <pc:spChg chg="mod">
          <ac:chgData name="Nicole Duyzers" userId="31f0efc2-85cf-4cd2-861c-931ad9f86626" providerId="ADAL" clId="{EC4884C5-7839-2547-8675-C9ACDD551AE3}" dt="2024-09-03T10:19:02.552" v="725" actId="2711"/>
          <ac:spMkLst>
            <pc:docMk/>
            <pc:sldMk cId="876796373" sldId="2147472097"/>
            <ac:spMk id="2" creationId="{9D54CB38-552B-21B2-B1AC-D26BAB66DF5A}"/>
          </ac:spMkLst>
        </pc:spChg>
      </pc:sldChg>
      <pc:sldChg chg="modSp mod modTransition">
        <pc:chgData name="Nicole Duyzers" userId="31f0efc2-85cf-4cd2-861c-931ad9f86626" providerId="ADAL" clId="{EC4884C5-7839-2547-8675-C9ACDD551AE3}" dt="2024-09-03T10:18:34.979" v="713" actId="790"/>
        <pc:sldMkLst>
          <pc:docMk/>
          <pc:sldMk cId="2193756912" sldId="2147472098"/>
        </pc:sldMkLst>
        <pc:spChg chg="mod">
          <ac:chgData name="Nicole Duyzers" userId="31f0efc2-85cf-4cd2-861c-931ad9f86626" providerId="ADAL" clId="{EC4884C5-7839-2547-8675-C9ACDD551AE3}" dt="2024-09-03T10:18:34.979" v="713" actId="790"/>
          <ac:spMkLst>
            <pc:docMk/>
            <pc:sldMk cId="2193756912" sldId="2147472098"/>
            <ac:spMk id="2" creationId="{BBA33BF2-045B-E4B7-9E77-DBEE7FDB5A42}"/>
          </ac:spMkLst>
        </pc:spChg>
        <pc:spChg chg="mod">
          <ac:chgData name="Nicole Duyzers" userId="31f0efc2-85cf-4cd2-861c-931ad9f86626" providerId="ADAL" clId="{EC4884C5-7839-2547-8675-C9ACDD551AE3}" dt="2024-09-03T10:06:22.199" v="671" actId="14100"/>
          <ac:spMkLst>
            <pc:docMk/>
            <pc:sldMk cId="2193756912" sldId="2147472098"/>
            <ac:spMk id="5" creationId="{2A1838F2-927D-AAFB-3563-79B4B360B3D3}"/>
          </ac:spMkLst>
        </pc:spChg>
      </pc:sldChg>
      <pc:sldChg chg="modSp mod ord modTransition">
        <pc:chgData name="Nicole Duyzers" userId="31f0efc2-85cf-4cd2-861c-931ad9f86626" providerId="ADAL" clId="{EC4884C5-7839-2547-8675-C9ACDD551AE3}" dt="2024-09-03T10:18:41.972" v="717" actId="20577"/>
        <pc:sldMkLst>
          <pc:docMk/>
          <pc:sldMk cId="3678993516" sldId="2147472099"/>
        </pc:sldMkLst>
        <pc:spChg chg="mod">
          <ac:chgData name="Nicole Duyzers" userId="31f0efc2-85cf-4cd2-861c-931ad9f86626" providerId="ADAL" clId="{EC4884C5-7839-2547-8675-C9ACDD551AE3}" dt="2024-09-03T10:18:41.972" v="717" actId="20577"/>
          <ac:spMkLst>
            <pc:docMk/>
            <pc:sldMk cId="3678993516" sldId="2147472099"/>
            <ac:spMk id="2" creationId="{A935A8FE-F395-8A2F-D1B6-DD2E7FFED6AA}"/>
          </ac:spMkLst>
        </pc:spChg>
        <pc:spChg chg="mod">
          <ac:chgData name="Nicole Duyzers" userId="31f0efc2-85cf-4cd2-861c-931ad9f86626" providerId="ADAL" clId="{EC4884C5-7839-2547-8675-C9ACDD551AE3}" dt="2024-09-03T10:05:45.730" v="668" actId="14100"/>
          <ac:spMkLst>
            <pc:docMk/>
            <pc:sldMk cId="3678993516" sldId="2147472099"/>
            <ac:spMk id="4" creationId="{7CFD60E0-C367-FADE-C240-1A12EE8D5F03}"/>
          </ac:spMkLst>
        </pc:spChg>
      </pc:sldChg>
      <pc:sldChg chg="addSp delSp modSp mod modTransition">
        <pc:chgData name="Nicole Duyzers" userId="31f0efc2-85cf-4cd2-861c-931ad9f86626" providerId="ADAL" clId="{EC4884C5-7839-2547-8675-C9ACDD551AE3}" dt="2024-09-03T12:10:47.701" v="1244" actId="790"/>
        <pc:sldMkLst>
          <pc:docMk/>
          <pc:sldMk cId="2533180996" sldId="2147472100"/>
        </pc:sldMkLst>
        <pc:spChg chg="mod">
          <ac:chgData name="Nicole Duyzers" userId="31f0efc2-85cf-4cd2-861c-931ad9f86626" providerId="ADAL" clId="{EC4884C5-7839-2547-8675-C9ACDD551AE3}" dt="2024-09-03T12:10:47.701" v="1244" actId="790"/>
          <ac:spMkLst>
            <pc:docMk/>
            <pc:sldMk cId="2533180996" sldId="2147472100"/>
            <ac:spMk id="2" creationId="{3B496D4C-FB50-F156-67C2-AB112F9872B0}"/>
          </ac:spMkLst>
        </pc:spChg>
        <pc:spChg chg="add del mod">
          <ac:chgData name="Nicole Duyzers" userId="31f0efc2-85cf-4cd2-861c-931ad9f86626" providerId="ADAL" clId="{EC4884C5-7839-2547-8675-C9ACDD551AE3}" dt="2024-09-03T10:03:46.353" v="640" actId="478"/>
          <ac:spMkLst>
            <pc:docMk/>
            <pc:sldMk cId="2533180996" sldId="2147472100"/>
            <ac:spMk id="3" creationId="{3C38E2D9-CC6F-A3B9-C50F-98BB7AFE3C2F}"/>
          </ac:spMkLst>
        </pc:spChg>
        <pc:spChg chg="add mod">
          <ac:chgData name="Nicole Duyzers" userId="31f0efc2-85cf-4cd2-861c-931ad9f86626" providerId="ADAL" clId="{EC4884C5-7839-2547-8675-C9ACDD551AE3}" dt="2024-09-03T10:03:18.590" v="634" actId="27636"/>
          <ac:spMkLst>
            <pc:docMk/>
            <pc:sldMk cId="2533180996" sldId="2147472100"/>
            <ac:spMk id="4" creationId="{ADB83249-725C-BDE8-DB32-7D7433F433E0}"/>
          </ac:spMkLst>
        </pc:spChg>
        <pc:spChg chg="add mod">
          <ac:chgData name="Nicole Duyzers" userId="31f0efc2-85cf-4cd2-861c-931ad9f86626" providerId="ADAL" clId="{EC4884C5-7839-2547-8675-C9ACDD551AE3}" dt="2024-09-03T10:03:33.536" v="637" actId="27636"/>
          <ac:spMkLst>
            <pc:docMk/>
            <pc:sldMk cId="2533180996" sldId="2147472100"/>
            <ac:spMk id="5" creationId="{421845F5-B5BE-2DBB-5BDE-5F5086FA2C7A}"/>
          </ac:spMkLst>
        </pc:spChg>
        <pc:spChg chg="add mod">
          <ac:chgData name="Nicole Duyzers" userId="31f0efc2-85cf-4cd2-861c-931ad9f86626" providerId="ADAL" clId="{EC4884C5-7839-2547-8675-C9ACDD551AE3}" dt="2024-09-03T10:03:43.563" v="639" actId="27636"/>
          <ac:spMkLst>
            <pc:docMk/>
            <pc:sldMk cId="2533180996" sldId="2147472100"/>
            <ac:spMk id="6" creationId="{A7C6D170-6B62-8146-767B-07EEBBAD1A7C}"/>
          </ac:spMkLst>
        </pc:spChg>
        <pc:spChg chg="add mod">
          <ac:chgData name="Nicole Duyzers" userId="31f0efc2-85cf-4cd2-861c-931ad9f86626" providerId="ADAL" clId="{EC4884C5-7839-2547-8675-C9ACDD551AE3}" dt="2024-09-03T10:04:09.315" v="648" actId="1076"/>
          <ac:spMkLst>
            <pc:docMk/>
            <pc:sldMk cId="2533180996" sldId="2147472100"/>
            <ac:spMk id="8" creationId="{33E0B157-2CAE-FB56-2E0C-3614592F138E}"/>
          </ac:spMkLst>
        </pc:spChg>
        <pc:spChg chg="add del mod">
          <ac:chgData name="Nicole Duyzers" userId="31f0efc2-85cf-4cd2-861c-931ad9f86626" providerId="ADAL" clId="{EC4884C5-7839-2547-8675-C9ACDD551AE3}" dt="2024-09-03T10:06:17.930" v="670" actId="20577"/>
          <ac:spMkLst>
            <pc:docMk/>
            <pc:sldMk cId="2533180996" sldId="2147472100"/>
            <ac:spMk id="9" creationId="{E57C2E49-F965-F27E-6CEC-8F87EC08865E}"/>
          </ac:spMkLst>
        </pc:spChg>
      </pc:sldChg>
      <pc:sldChg chg="delSp modSp del mod modTransition">
        <pc:chgData name="Nicole Duyzers" userId="31f0efc2-85cf-4cd2-861c-931ad9f86626" providerId="ADAL" clId="{EC4884C5-7839-2547-8675-C9ACDD551AE3}" dt="2024-09-05T12:06:21.336" v="2101" actId="2696"/>
        <pc:sldMkLst>
          <pc:docMk/>
          <pc:sldMk cId="1645258097" sldId="2147472102"/>
        </pc:sldMkLst>
        <pc:spChg chg="mod">
          <ac:chgData name="Nicole Duyzers" userId="31f0efc2-85cf-4cd2-861c-931ad9f86626" providerId="ADAL" clId="{EC4884C5-7839-2547-8675-C9ACDD551AE3}" dt="2024-09-03T11:50:47.966" v="814" actId="20577"/>
          <ac:spMkLst>
            <pc:docMk/>
            <pc:sldMk cId="1645258097" sldId="2147472102"/>
            <ac:spMk id="3" creationId="{AD6FDB3A-AC89-3645-B140-CDDC975E00AA}"/>
          </ac:spMkLst>
        </pc:spChg>
        <pc:picChg chg="del">
          <ac:chgData name="Nicole Duyzers" userId="31f0efc2-85cf-4cd2-861c-931ad9f86626" providerId="ADAL" clId="{EC4884C5-7839-2547-8675-C9ACDD551AE3}" dt="2024-08-27T14:03:49.039" v="255" actId="478"/>
          <ac:picMkLst>
            <pc:docMk/>
            <pc:sldMk cId="1645258097" sldId="2147472102"/>
            <ac:picMk id="5" creationId="{8ECB7FAE-FD23-3E37-D176-CD1E8EC779ED}"/>
          </ac:picMkLst>
        </pc:picChg>
      </pc:sldChg>
      <pc:sldChg chg="modSp del mod modTransition">
        <pc:chgData name="Nicole Duyzers" userId="31f0efc2-85cf-4cd2-861c-931ad9f86626" providerId="ADAL" clId="{EC4884C5-7839-2547-8675-C9ACDD551AE3}" dt="2024-09-03T12:02:38.865" v="1041" actId="2696"/>
        <pc:sldMkLst>
          <pc:docMk/>
          <pc:sldMk cId="537052529" sldId="2147472103"/>
        </pc:sldMkLst>
        <pc:spChg chg="mod">
          <ac:chgData name="Nicole Duyzers" userId="31f0efc2-85cf-4cd2-861c-931ad9f86626" providerId="ADAL" clId="{EC4884C5-7839-2547-8675-C9ACDD551AE3}" dt="2024-08-27T13:46:29.305" v="0" actId="20577"/>
          <ac:spMkLst>
            <pc:docMk/>
            <pc:sldMk cId="537052529" sldId="2147472103"/>
            <ac:spMk id="3" creationId="{1D624209-5443-4CE1-DC29-FA67D86E52CF}"/>
          </ac:spMkLst>
        </pc:spChg>
      </pc:sldChg>
      <pc:sldChg chg="del mod modShow">
        <pc:chgData name="Nicole Duyzers" userId="31f0efc2-85cf-4cd2-861c-931ad9f86626" providerId="ADAL" clId="{EC4884C5-7839-2547-8675-C9ACDD551AE3}" dt="2024-08-27T14:16:24.943" v="568" actId="2696"/>
        <pc:sldMkLst>
          <pc:docMk/>
          <pc:sldMk cId="1461430295" sldId="2147472104"/>
        </pc:sldMkLst>
      </pc:sldChg>
      <pc:sldChg chg="modSp del mod modTransition">
        <pc:chgData name="Nicole Duyzers" userId="31f0efc2-85cf-4cd2-861c-931ad9f86626" providerId="ADAL" clId="{EC4884C5-7839-2547-8675-C9ACDD551AE3}" dt="2024-09-13T13:55:18.769" v="2478" actId="2696"/>
        <pc:sldMkLst>
          <pc:docMk/>
          <pc:sldMk cId="3692863760" sldId="2147472107"/>
        </pc:sldMkLst>
        <pc:spChg chg="mod">
          <ac:chgData name="Nicole Duyzers" userId="31f0efc2-85cf-4cd2-861c-931ad9f86626" providerId="ADAL" clId="{EC4884C5-7839-2547-8675-C9ACDD551AE3}" dt="2024-08-27T14:03:17.427" v="254" actId="20577"/>
          <ac:spMkLst>
            <pc:docMk/>
            <pc:sldMk cId="3692863760" sldId="2147472107"/>
            <ac:spMk id="3" creationId="{998567CA-CA05-2509-B4B2-D79A473826B8}"/>
          </ac:spMkLst>
        </pc:spChg>
        <pc:spChg chg="mod">
          <ac:chgData name="Nicole Duyzers" userId="31f0efc2-85cf-4cd2-861c-931ad9f86626" providerId="ADAL" clId="{EC4884C5-7839-2547-8675-C9ACDD551AE3}" dt="2024-09-03T12:31:20.394" v="1335" actId="1076"/>
          <ac:spMkLst>
            <pc:docMk/>
            <pc:sldMk cId="3692863760" sldId="2147472107"/>
            <ac:spMk id="4" creationId="{B2224B70-A803-3AAE-5574-A1330AE63836}"/>
          </ac:spMkLst>
        </pc:spChg>
      </pc:sldChg>
      <pc:sldChg chg="del">
        <pc:chgData name="Nicole Duyzers" userId="31f0efc2-85cf-4cd2-861c-931ad9f86626" providerId="ADAL" clId="{EC4884C5-7839-2547-8675-C9ACDD551AE3}" dt="2024-08-27T14:07:45.760" v="287" actId="2696"/>
        <pc:sldMkLst>
          <pc:docMk/>
          <pc:sldMk cId="3475946798" sldId="2147472108"/>
        </pc:sldMkLst>
      </pc:sldChg>
      <pc:sldChg chg="del">
        <pc:chgData name="Nicole Duyzers" userId="31f0efc2-85cf-4cd2-861c-931ad9f86626" providerId="ADAL" clId="{EC4884C5-7839-2547-8675-C9ACDD551AE3}" dt="2024-08-27T14:08:14.307" v="349" actId="2696"/>
        <pc:sldMkLst>
          <pc:docMk/>
          <pc:sldMk cId="4115653659" sldId="2147472109"/>
        </pc:sldMkLst>
      </pc:sldChg>
      <pc:sldChg chg="del mod modShow">
        <pc:chgData name="Nicole Duyzers" userId="31f0efc2-85cf-4cd2-861c-931ad9f86626" providerId="ADAL" clId="{EC4884C5-7839-2547-8675-C9ACDD551AE3}" dt="2024-08-27T14:16:20.692" v="567" actId="2696"/>
        <pc:sldMkLst>
          <pc:docMk/>
          <pc:sldMk cId="724548073" sldId="2147472110"/>
        </pc:sldMkLst>
      </pc:sldChg>
      <pc:sldChg chg="add del">
        <pc:chgData name="Nicole Duyzers" userId="31f0efc2-85cf-4cd2-861c-931ad9f86626" providerId="ADAL" clId="{EC4884C5-7839-2547-8675-C9ACDD551AE3}" dt="2024-09-05T10:59:35.972" v="2002" actId="2696"/>
        <pc:sldMkLst>
          <pc:docMk/>
          <pc:sldMk cId="291809089" sldId="2147472111"/>
        </pc:sldMkLst>
      </pc:sldChg>
      <pc:sldChg chg="modSp new mod ord">
        <pc:chgData name="Nicole Duyzers" userId="31f0efc2-85cf-4cd2-861c-931ad9f86626" providerId="ADAL" clId="{EC4884C5-7839-2547-8675-C9ACDD551AE3}" dt="2024-08-27T13:58:28.539" v="187"/>
        <pc:sldMkLst>
          <pc:docMk/>
          <pc:sldMk cId="2312896433" sldId="2147472111"/>
        </pc:sldMkLst>
        <pc:spChg chg="mod">
          <ac:chgData name="Nicole Duyzers" userId="31f0efc2-85cf-4cd2-861c-931ad9f86626" providerId="ADAL" clId="{EC4884C5-7839-2547-8675-C9ACDD551AE3}" dt="2024-08-27T13:58:28.539" v="187"/>
          <ac:spMkLst>
            <pc:docMk/>
            <pc:sldMk cId="2312896433" sldId="2147472111"/>
            <ac:spMk id="3" creationId="{F3DBB8EB-481D-6FDD-8224-844F9D07C4FA}"/>
          </ac:spMkLst>
        </pc:spChg>
      </pc:sldChg>
      <pc:sldChg chg="modSp new mod">
        <pc:chgData name="Nicole Duyzers" userId="31f0efc2-85cf-4cd2-861c-931ad9f86626" providerId="ADAL" clId="{EC4884C5-7839-2547-8675-C9ACDD551AE3}" dt="2024-08-27T14:15:34.642" v="566" actId="20577"/>
        <pc:sldMkLst>
          <pc:docMk/>
          <pc:sldMk cId="2928034780" sldId="2147472112"/>
        </pc:sldMkLst>
        <pc:spChg chg="mod">
          <ac:chgData name="Nicole Duyzers" userId="31f0efc2-85cf-4cd2-861c-931ad9f86626" providerId="ADAL" clId="{EC4884C5-7839-2547-8675-C9ACDD551AE3}" dt="2024-08-27T14:15:34.642" v="566" actId="20577"/>
          <ac:spMkLst>
            <pc:docMk/>
            <pc:sldMk cId="2928034780" sldId="2147472112"/>
            <ac:spMk id="3" creationId="{A3142343-AD08-DEB2-7808-DD947AB29631}"/>
          </ac:spMkLst>
        </pc:spChg>
      </pc:sldChg>
      <pc:sldChg chg="modSp new mod">
        <pc:chgData name="Nicole Duyzers" userId="31f0efc2-85cf-4cd2-861c-931ad9f86626" providerId="ADAL" clId="{EC4884C5-7839-2547-8675-C9ACDD551AE3}" dt="2024-08-27T14:16:51.947" v="630" actId="20577"/>
        <pc:sldMkLst>
          <pc:docMk/>
          <pc:sldMk cId="1447784612" sldId="2147472113"/>
        </pc:sldMkLst>
        <pc:spChg chg="mod">
          <ac:chgData name="Nicole Duyzers" userId="31f0efc2-85cf-4cd2-861c-931ad9f86626" providerId="ADAL" clId="{EC4884C5-7839-2547-8675-C9ACDD551AE3}" dt="2024-08-27T14:16:51.947" v="630" actId="20577"/>
          <ac:spMkLst>
            <pc:docMk/>
            <pc:sldMk cId="1447784612" sldId="2147472113"/>
            <ac:spMk id="3" creationId="{794F5C66-1F11-8B35-F85B-AF5EE8E9979B}"/>
          </ac:spMkLst>
        </pc:spChg>
      </pc:sldChg>
      <pc:sldChg chg="delSp del mod modTransition">
        <pc:chgData name="Nicole Duyzers" userId="31f0efc2-85cf-4cd2-861c-931ad9f86626" providerId="ADAL" clId="{EC4884C5-7839-2547-8675-C9ACDD551AE3}" dt="2024-09-03T12:43:46.527" v="1500" actId="2696"/>
        <pc:sldMkLst>
          <pc:docMk/>
          <pc:sldMk cId="1271401145" sldId="2147472128"/>
        </pc:sldMkLst>
        <pc:cxnChg chg="del">
          <ac:chgData name="Nicole Duyzers" userId="31f0efc2-85cf-4cd2-861c-931ad9f86626" providerId="ADAL" clId="{EC4884C5-7839-2547-8675-C9ACDD551AE3}" dt="2024-09-03T12:35:07.095" v="1347" actId="478"/>
          <ac:cxnSpMkLst>
            <pc:docMk/>
            <pc:sldMk cId="1271401145" sldId="2147472128"/>
            <ac:cxnSpMk id="7" creationId="{D3ED350E-94C2-75CA-971A-3B8F404ADE05}"/>
          </ac:cxnSpMkLst>
        </pc:cxnChg>
      </pc:sldChg>
      <pc:sldChg chg="addSp modSp del mod modTransition">
        <pc:chgData name="Nicole Duyzers" userId="31f0efc2-85cf-4cd2-861c-931ad9f86626" providerId="ADAL" clId="{EC4884C5-7839-2547-8675-C9ACDD551AE3}" dt="2024-09-05T10:37:17.375" v="1948" actId="2696"/>
        <pc:sldMkLst>
          <pc:docMk/>
          <pc:sldMk cId="3173899262" sldId="2147472155"/>
        </pc:sldMkLst>
        <pc:spChg chg="mod">
          <ac:chgData name="Nicole Duyzers" userId="31f0efc2-85cf-4cd2-861c-931ad9f86626" providerId="ADAL" clId="{EC4884C5-7839-2547-8675-C9ACDD551AE3}" dt="2024-09-03T12:35:37.740" v="1349" actId="113"/>
          <ac:spMkLst>
            <pc:docMk/>
            <pc:sldMk cId="3173899262" sldId="2147472155"/>
            <ac:spMk id="2" creationId="{3ECD5AD6-71BF-44E2-1F73-D7D8A194D418}"/>
          </ac:spMkLst>
        </pc:spChg>
        <pc:spChg chg="mod">
          <ac:chgData name="Nicole Duyzers" userId="31f0efc2-85cf-4cd2-861c-931ad9f86626" providerId="ADAL" clId="{EC4884C5-7839-2547-8675-C9ACDD551AE3}" dt="2024-09-03T12:34:31.520" v="1342" actId="1076"/>
          <ac:spMkLst>
            <pc:docMk/>
            <pc:sldMk cId="3173899262" sldId="2147472155"/>
            <ac:spMk id="4" creationId="{F4F1AC7B-3538-088A-B1E1-B7AD49C9B43E}"/>
          </ac:spMkLst>
        </pc:spChg>
        <pc:spChg chg="mod">
          <ac:chgData name="Nicole Duyzers" userId="31f0efc2-85cf-4cd2-861c-931ad9f86626" providerId="ADAL" clId="{EC4884C5-7839-2547-8675-C9ACDD551AE3}" dt="2024-09-05T10:33:39.718" v="1896" actId="2711"/>
          <ac:spMkLst>
            <pc:docMk/>
            <pc:sldMk cId="3173899262" sldId="2147472155"/>
            <ac:spMk id="7" creationId="{A039278B-8BDE-4D87-96B7-17FCF4A43F8B}"/>
          </ac:spMkLst>
        </pc:spChg>
        <pc:spChg chg="mod">
          <ac:chgData name="Nicole Duyzers" userId="31f0efc2-85cf-4cd2-861c-931ad9f86626" providerId="ADAL" clId="{EC4884C5-7839-2547-8675-C9ACDD551AE3}" dt="2024-09-05T10:33:33.197" v="1895" actId="2711"/>
          <ac:spMkLst>
            <pc:docMk/>
            <pc:sldMk cId="3173899262" sldId="2147472155"/>
            <ac:spMk id="8" creationId="{DD977C98-FD6C-BC21-6406-D6DDF65A5CE8}"/>
          </ac:spMkLst>
        </pc:spChg>
        <pc:spChg chg="mod">
          <ac:chgData name="Nicole Duyzers" userId="31f0efc2-85cf-4cd2-861c-931ad9f86626" providerId="ADAL" clId="{EC4884C5-7839-2547-8675-C9ACDD551AE3}" dt="2024-09-05T10:33:27.512" v="1894" actId="2711"/>
          <ac:spMkLst>
            <pc:docMk/>
            <pc:sldMk cId="3173899262" sldId="2147472155"/>
            <ac:spMk id="9" creationId="{85E9FA25-011D-E269-DA94-5AB06CD42712}"/>
          </ac:spMkLst>
        </pc:spChg>
        <pc:spChg chg="mod">
          <ac:chgData name="Nicole Duyzers" userId="31f0efc2-85cf-4cd2-861c-931ad9f86626" providerId="ADAL" clId="{EC4884C5-7839-2547-8675-C9ACDD551AE3}" dt="2024-09-05T10:33:22.455" v="1893" actId="2711"/>
          <ac:spMkLst>
            <pc:docMk/>
            <pc:sldMk cId="3173899262" sldId="2147472155"/>
            <ac:spMk id="10" creationId="{DEA15478-0E53-2EE9-6345-895057437149}"/>
          </ac:spMkLst>
        </pc:spChg>
        <pc:spChg chg="mod">
          <ac:chgData name="Nicole Duyzers" userId="31f0efc2-85cf-4cd2-861c-931ad9f86626" providerId="ADAL" clId="{EC4884C5-7839-2547-8675-C9ACDD551AE3}" dt="2024-09-05T10:33:44.477" v="1897" actId="2711"/>
          <ac:spMkLst>
            <pc:docMk/>
            <pc:sldMk cId="3173899262" sldId="2147472155"/>
            <ac:spMk id="19" creationId="{02FCEC5F-305A-295C-F9DB-D9F892485D54}"/>
          </ac:spMkLst>
        </pc:spChg>
        <pc:spChg chg="mod">
          <ac:chgData name="Nicole Duyzers" userId="31f0efc2-85cf-4cd2-861c-931ad9f86626" providerId="ADAL" clId="{EC4884C5-7839-2547-8675-C9ACDD551AE3}" dt="2024-09-05T10:34:29.297" v="1904" actId="2711"/>
          <ac:spMkLst>
            <pc:docMk/>
            <pc:sldMk cId="3173899262" sldId="2147472155"/>
            <ac:spMk id="20" creationId="{36E6D3AB-2667-3EAB-8561-286F554FF1ED}"/>
          </ac:spMkLst>
        </pc:spChg>
        <pc:spChg chg="mod">
          <ac:chgData name="Nicole Duyzers" userId="31f0efc2-85cf-4cd2-861c-931ad9f86626" providerId="ADAL" clId="{EC4884C5-7839-2547-8675-C9ACDD551AE3}" dt="2024-09-05T10:33:58.229" v="1899" actId="2711"/>
          <ac:spMkLst>
            <pc:docMk/>
            <pc:sldMk cId="3173899262" sldId="2147472155"/>
            <ac:spMk id="21" creationId="{07F4C82C-BD62-3F45-903A-7AFA60C63901}"/>
          </ac:spMkLst>
        </pc:spChg>
        <pc:spChg chg="mod">
          <ac:chgData name="Nicole Duyzers" userId="31f0efc2-85cf-4cd2-861c-931ad9f86626" providerId="ADAL" clId="{EC4884C5-7839-2547-8675-C9ACDD551AE3}" dt="2024-09-05T10:34:16.356" v="1902" actId="20577"/>
          <ac:spMkLst>
            <pc:docMk/>
            <pc:sldMk cId="3173899262" sldId="2147472155"/>
            <ac:spMk id="22" creationId="{6C6C2C03-FDE4-1AD7-13F2-834E7C5F3A60}"/>
          </ac:spMkLst>
        </pc:spChg>
        <pc:spChg chg="mod">
          <ac:chgData name="Nicole Duyzers" userId="31f0efc2-85cf-4cd2-861c-931ad9f86626" providerId="ADAL" clId="{EC4884C5-7839-2547-8675-C9ACDD551AE3}" dt="2024-09-05T10:33:50.644" v="1898" actId="2711"/>
          <ac:spMkLst>
            <pc:docMk/>
            <pc:sldMk cId="3173899262" sldId="2147472155"/>
            <ac:spMk id="23" creationId="{F8EE1926-F0E7-BC24-761C-EC9EACB2C3D0}"/>
          </ac:spMkLst>
        </pc:spChg>
        <pc:spChg chg="add mod">
          <ac:chgData name="Nicole Duyzers" userId="31f0efc2-85cf-4cd2-861c-931ad9f86626" providerId="ADAL" clId="{EC4884C5-7839-2547-8675-C9ACDD551AE3}" dt="2024-09-03T12:34:10.514" v="1340" actId="27636"/>
          <ac:spMkLst>
            <pc:docMk/>
            <pc:sldMk cId="3173899262" sldId="2147472155"/>
            <ac:spMk id="25" creationId="{8A93D4D8-43AD-C6EC-DAC7-CB7B109A7D0D}"/>
          </ac:spMkLst>
        </pc:spChg>
        <pc:spChg chg="add mod">
          <ac:chgData name="Nicole Duyzers" userId="31f0efc2-85cf-4cd2-861c-931ad9f86626" providerId="ADAL" clId="{EC4884C5-7839-2547-8675-C9ACDD551AE3}" dt="2024-09-03T12:34:53.058" v="1346" actId="167"/>
          <ac:spMkLst>
            <pc:docMk/>
            <pc:sldMk cId="3173899262" sldId="2147472155"/>
            <ac:spMk id="26" creationId="{C11EDA28-31D2-4163-C1F8-E91288F55369}"/>
          </ac:spMkLst>
        </pc:spChg>
        <pc:grpChg chg="mod">
          <ac:chgData name="Nicole Duyzers" userId="31f0efc2-85cf-4cd2-861c-931ad9f86626" providerId="ADAL" clId="{EC4884C5-7839-2547-8675-C9ACDD551AE3}" dt="2024-09-03T12:34:23.220" v="1341" actId="1076"/>
          <ac:grpSpMkLst>
            <pc:docMk/>
            <pc:sldMk cId="3173899262" sldId="2147472155"/>
            <ac:grpSpMk id="5" creationId="{F98B905D-BB50-C2E1-9938-A4D97079DCB2}"/>
          </ac:grpSpMkLst>
        </pc:grpChg>
        <pc:picChg chg="mod">
          <ac:chgData name="Nicole Duyzers" userId="31f0efc2-85cf-4cd2-861c-931ad9f86626" providerId="ADAL" clId="{EC4884C5-7839-2547-8675-C9ACDD551AE3}" dt="2024-09-03T12:35:43.620" v="1350" actId="1076"/>
          <ac:picMkLst>
            <pc:docMk/>
            <pc:sldMk cId="3173899262" sldId="2147472155"/>
            <ac:picMk id="3" creationId="{9ADC4260-F177-9EF7-1958-94A531E860D8}"/>
          </ac:picMkLst>
        </pc:picChg>
        <pc:cxnChg chg="mod">
          <ac:chgData name="Nicole Duyzers" userId="31f0efc2-85cf-4cd2-861c-931ad9f86626" providerId="ADAL" clId="{EC4884C5-7839-2547-8675-C9ACDD551AE3}" dt="2024-09-03T12:34:08.917" v="1338" actId="208"/>
          <ac:cxnSpMkLst>
            <pc:docMk/>
            <pc:sldMk cId="3173899262" sldId="2147472155"/>
            <ac:cxnSpMk id="13" creationId="{EDBCC0D2-374F-30DB-01FD-2175B1A57724}"/>
          </ac:cxnSpMkLst>
        </pc:cxnChg>
        <pc:cxnChg chg="mod">
          <ac:chgData name="Nicole Duyzers" userId="31f0efc2-85cf-4cd2-861c-931ad9f86626" providerId="ADAL" clId="{EC4884C5-7839-2547-8675-C9ACDD551AE3}" dt="2024-09-05T10:34:47.282" v="1905" actId="14100"/>
          <ac:cxnSpMkLst>
            <pc:docMk/>
            <pc:sldMk cId="3173899262" sldId="2147472155"/>
            <ac:cxnSpMk id="17" creationId="{3A282C8A-C29C-DD94-1C13-8A46BE512FDF}"/>
          </ac:cxnSpMkLst>
        </pc:cxnChg>
        <pc:cxnChg chg="mod">
          <ac:chgData name="Nicole Duyzers" userId="31f0efc2-85cf-4cd2-861c-931ad9f86626" providerId="ADAL" clId="{EC4884C5-7839-2547-8675-C9ACDD551AE3}" dt="2024-09-03T12:34:08.917" v="1338" actId="208"/>
          <ac:cxnSpMkLst>
            <pc:docMk/>
            <pc:sldMk cId="3173899262" sldId="2147472155"/>
            <ac:cxnSpMk id="18" creationId="{266654ED-FAE0-F212-FC24-910A725FA10B}"/>
          </ac:cxnSpMkLst>
        </pc:cxnChg>
      </pc:sldChg>
      <pc:sldChg chg="del modTransition">
        <pc:chgData name="Nicole Duyzers" userId="31f0efc2-85cf-4cd2-861c-931ad9f86626" providerId="ADAL" clId="{EC4884C5-7839-2547-8675-C9ACDD551AE3}" dt="2024-09-05T12:18:08.504" v="2195" actId="2696"/>
        <pc:sldMkLst>
          <pc:docMk/>
          <pc:sldMk cId="3868702827" sldId="2147472156"/>
        </pc:sldMkLst>
      </pc:sldChg>
      <pc:sldChg chg="addSp delSp modSp new del mod">
        <pc:chgData name="Nicole Duyzers" userId="31f0efc2-85cf-4cd2-861c-931ad9f86626" providerId="ADAL" clId="{EC4884C5-7839-2547-8675-C9ACDD551AE3}" dt="2024-09-03T12:53:02.530" v="1579" actId="2696"/>
        <pc:sldMkLst>
          <pc:docMk/>
          <pc:sldMk cId="2918108863" sldId="2147472157"/>
        </pc:sldMkLst>
        <pc:spChg chg="mod">
          <ac:chgData name="Nicole Duyzers" userId="31f0efc2-85cf-4cd2-861c-931ad9f86626" providerId="ADAL" clId="{EC4884C5-7839-2547-8675-C9ACDD551AE3}" dt="2024-09-03T11:37:13.090" v="777" actId="1076"/>
          <ac:spMkLst>
            <pc:docMk/>
            <pc:sldMk cId="2918108863" sldId="2147472157"/>
            <ac:spMk id="2" creationId="{2A80961C-3F99-1536-C92B-6E1D8590B2F0}"/>
          </ac:spMkLst>
        </pc:spChg>
        <pc:spChg chg="add del">
          <ac:chgData name="Nicole Duyzers" userId="31f0efc2-85cf-4cd2-861c-931ad9f86626" providerId="ADAL" clId="{EC4884C5-7839-2547-8675-C9ACDD551AE3}" dt="2024-09-03T10:20:15.800" v="728" actId="478"/>
          <ac:spMkLst>
            <pc:docMk/>
            <pc:sldMk cId="2918108863" sldId="2147472157"/>
            <ac:spMk id="3" creationId="{29310A36-53FA-CEA5-F5AE-88515B90A893}"/>
          </ac:spMkLst>
        </pc:spChg>
        <pc:spChg chg="add mod">
          <ac:chgData name="Nicole Duyzers" userId="31f0efc2-85cf-4cd2-861c-931ad9f86626" providerId="ADAL" clId="{EC4884C5-7839-2547-8675-C9ACDD551AE3}" dt="2024-09-03T11:49:10.354" v="792" actId="207"/>
          <ac:spMkLst>
            <pc:docMk/>
            <pc:sldMk cId="2918108863" sldId="2147472157"/>
            <ac:spMk id="3" creationId="{98ABFCA7-A631-034B-484F-DE7E27CC55F5}"/>
          </ac:spMkLst>
        </pc:spChg>
        <pc:spChg chg="add mod">
          <ac:chgData name="Nicole Duyzers" userId="31f0efc2-85cf-4cd2-861c-931ad9f86626" providerId="ADAL" clId="{EC4884C5-7839-2547-8675-C9ACDD551AE3}" dt="2024-09-03T11:34:55.899" v="750" actId="1076"/>
          <ac:spMkLst>
            <pc:docMk/>
            <pc:sldMk cId="2918108863" sldId="2147472157"/>
            <ac:spMk id="4" creationId="{646B2AE8-C749-2A99-FE6C-ADDABC63D831}"/>
          </ac:spMkLst>
        </pc:spChg>
        <pc:spChg chg="add mod">
          <ac:chgData name="Nicole Duyzers" userId="31f0efc2-85cf-4cd2-861c-931ad9f86626" providerId="ADAL" clId="{EC4884C5-7839-2547-8675-C9ACDD551AE3}" dt="2024-09-03T11:34:38.305" v="746" actId="207"/>
          <ac:spMkLst>
            <pc:docMk/>
            <pc:sldMk cId="2918108863" sldId="2147472157"/>
            <ac:spMk id="5" creationId="{E67D660D-1562-6912-98F4-2AE10EF6EBC4}"/>
          </ac:spMkLst>
        </pc:spChg>
        <pc:spChg chg="mod">
          <ac:chgData name="Nicole Duyzers" userId="31f0efc2-85cf-4cd2-861c-931ad9f86626" providerId="ADAL" clId="{EC4884C5-7839-2547-8675-C9ACDD551AE3}" dt="2024-09-03T11:35:37.676" v="753"/>
          <ac:spMkLst>
            <pc:docMk/>
            <pc:sldMk cId="2918108863" sldId="2147472157"/>
            <ac:spMk id="8" creationId="{24869A4F-8E81-74EE-37AC-35E09DC63F45}"/>
          </ac:spMkLst>
        </pc:spChg>
        <pc:spChg chg="mod">
          <ac:chgData name="Nicole Duyzers" userId="31f0efc2-85cf-4cd2-861c-931ad9f86626" providerId="ADAL" clId="{EC4884C5-7839-2547-8675-C9ACDD551AE3}" dt="2024-09-03T11:35:37.676" v="753"/>
          <ac:spMkLst>
            <pc:docMk/>
            <pc:sldMk cId="2918108863" sldId="2147472157"/>
            <ac:spMk id="9" creationId="{9429DCCC-F63F-6E57-4782-32CFE3478171}"/>
          </ac:spMkLst>
        </pc:spChg>
        <pc:spChg chg="mod">
          <ac:chgData name="Nicole Duyzers" userId="31f0efc2-85cf-4cd2-861c-931ad9f86626" providerId="ADAL" clId="{EC4884C5-7839-2547-8675-C9ACDD551AE3}" dt="2024-09-03T11:35:42.529" v="755"/>
          <ac:spMkLst>
            <pc:docMk/>
            <pc:sldMk cId="2918108863" sldId="2147472157"/>
            <ac:spMk id="11" creationId="{02F3D5C6-98D3-7786-BD06-AE8E477AA4B1}"/>
          </ac:spMkLst>
        </pc:spChg>
        <pc:spChg chg="mod">
          <ac:chgData name="Nicole Duyzers" userId="31f0efc2-85cf-4cd2-861c-931ad9f86626" providerId="ADAL" clId="{EC4884C5-7839-2547-8675-C9ACDD551AE3}" dt="2024-09-03T11:35:42.529" v="755"/>
          <ac:spMkLst>
            <pc:docMk/>
            <pc:sldMk cId="2918108863" sldId="2147472157"/>
            <ac:spMk id="12" creationId="{44647D90-7FFC-5FE2-2B06-48345B867E06}"/>
          </ac:spMkLst>
        </pc:spChg>
        <pc:spChg chg="mod">
          <ac:chgData name="Nicole Duyzers" userId="31f0efc2-85cf-4cd2-861c-931ad9f86626" providerId="ADAL" clId="{EC4884C5-7839-2547-8675-C9ACDD551AE3}" dt="2024-09-03T11:35:46.555" v="757"/>
          <ac:spMkLst>
            <pc:docMk/>
            <pc:sldMk cId="2918108863" sldId="2147472157"/>
            <ac:spMk id="14" creationId="{DBD7C3D3-3A99-95B9-700E-BF219DDE2801}"/>
          </ac:spMkLst>
        </pc:spChg>
        <pc:spChg chg="mod">
          <ac:chgData name="Nicole Duyzers" userId="31f0efc2-85cf-4cd2-861c-931ad9f86626" providerId="ADAL" clId="{EC4884C5-7839-2547-8675-C9ACDD551AE3}" dt="2024-09-03T11:35:46.555" v="757"/>
          <ac:spMkLst>
            <pc:docMk/>
            <pc:sldMk cId="2918108863" sldId="2147472157"/>
            <ac:spMk id="15" creationId="{B5A51F3F-E0D6-6D81-AED6-69A741B96609}"/>
          </ac:spMkLst>
        </pc:spChg>
        <pc:spChg chg="mod">
          <ac:chgData name="Nicole Duyzers" userId="31f0efc2-85cf-4cd2-861c-931ad9f86626" providerId="ADAL" clId="{EC4884C5-7839-2547-8675-C9ACDD551AE3}" dt="2024-09-03T11:49:39.771" v="797"/>
          <ac:spMkLst>
            <pc:docMk/>
            <pc:sldMk cId="2918108863" sldId="2147472157"/>
            <ac:spMk id="17" creationId="{AAF22E1A-C9E6-C687-8340-A209BF3DE2B7}"/>
          </ac:spMkLst>
        </pc:spChg>
        <pc:spChg chg="mod">
          <ac:chgData name="Nicole Duyzers" userId="31f0efc2-85cf-4cd2-861c-931ad9f86626" providerId="ADAL" clId="{EC4884C5-7839-2547-8675-C9ACDD551AE3}" dt="2024-09-03T11:49:39.771" v="797"/>
          <ac:spMkLst>
            <pc:docMk/>
            <pc:sldMk cId="2918108863" sldId="2147472157"/>
            <ac:spMk id="18" creationId="{7FB3750C-510D-1873-8101-44AAC6E7FE16}"/>
          </ac:spMkLst>
        </pc:spChg>
        <pc:spChg chg="add mod">
          <ac:chgData name="Nicole Duyzers" userId="31f0efc2-85cf-4cd2-861c-931ad9f86626" providerId="ADAL" clId="{EC4884C5-7839-2547-8675-C9ACDD551AE3}" dt="2024-09-03T11:51:49.677" v="850" actId="3064"/>
          <ac:spMkLst>
            <pc:docMk/>
            <pc:sldMk cId="2918108863" sldId="2147472157"/>
            <ac:spMk id="19" creationId="{7270535A-6CF8-9FC2-CE33-06334A3468D8}"/>
          </ac:spMkLst>
        </pc:spChg>
        <pc:spChg chg="mod">
          <ac:chgData name="Nicole Duyzers" userId="31f0efc2-85cf-4cd2-861c-931ad9f86626" providerId="ADAL" clId="{EC4884C5-7839-2547-8675-C9ACDD551AE3}" dt="2024-09-03T11:49:47.007" v="799"/>
          <ac:spMkLst>
            <pc:docMk/>
            <pc:sldMk cId="2918108863" sldId="2147472157"/>
            <ac:spMk id="21" creationId="{CDBDA371-5742-A015-0E10-9586FAB8393C}"/>
          </ac:spMkLst>
        </pc:spChg>
        <pc:spChg chg="mod">
          <ac:chgData name="Nicole Duyzers" userId="31f0efc2-85cf-4cd2-861c-931ad9f86626" providerId="ADAL" clId="{EC4884C5-7839-2547-8675-C9ACDD551AE3}" dt="2024-09-03T11:49:47.007" v="799"/>
          <ac:spMkLst>
            <pc:docMk/>
            <pc:sldMk cId="2918108863" sldId="2147472157"/>
            <ac:spMk id="22" creationId="{A69422A4-95B2-6E3C-E123-296C44CC412A}"/>
          </ac:spMkLst>
        </pc:spChg>
        <pc:spChg chg="add mod">
          <ac:chgData name="Nicole Duyzers" userId="31f0efc2-85cf-4cd2-861c-931ad9f86626" providerId="ADAL" clId="{EC4884C5-7839-2547-8675-C9ACDD551AE3}" dt="2024-09-03T11:51:38.286" v="845" actId="404"/>
          <ac:spMkLst>
            <pc:docMk/>
            <pc:sldMk cId="2918108863" sldId="2147472157"/>
            <ac:spMk id="23" creationId="{45BD7E2D-621E-8500-6DFF-A883469C7751}"/>
          </ac:spMkLst>
        </pc:spChg>
        <pc:spChg chg="mod">
          <ac:chgData name="Nicole Duyzers" userId="31f0efc2-85cf-4cd2-861c-931ad9f86626" providerId="ADAL" clId="{EC4884C5-7839-2547-8675-C9ACDD551AE3}" dt="2024-09-03T11:49:51.088" v="801"/>
          <ac:spMkLst>
            <pc:docMk/>
            <pc:sldMk cId="2918108863" sldId="2147472157"/>
            <ac:spMk id="25" creationId="{CEA7F688-18BF-7479-6278-8693ABFF6859}"/>
          </ac:spMkLst>
        </pc:spChg>
        <pc:spChg chg="mod">
          <ac:chgData name="Nicole Duyzers" userId="31f0efc2-85cf-4cd2-861c-931ad9f86626" providerId="ADAL" clId="{EC4884C5-7839-2547-8675-C9ACDD551AE3}" dt="2024-09-03T11:49:51.088" v="801"/>
          <ac:spMkLst>
            <pc:docMk/>
            <pc:sldMk cId="2918108863" sldId="2147472157"/>
            <ac:spMk id="26" creationId="{1F11428C-78C1-9BA3-1253-A75C8491E4E2}"/>
          </ac:spMkLst>
        </pc:spChg>
        <pc:spChg chg="add mod">
          <ac:chgData name="Nicole Duyzers" userId="31f0efc2-85cf-4cd2-861c-931ad9f86626" providerId="ADAL" clId="{EC4884C5-7839-2547-8675-C9ACDD551AE3}" dt="2024-09-03T11:52:13.086" v="853" actId="108"/>
          <ac:spMkLst>
            <pc:docMk/>
            <pc:sldMk cId="2918108863" sldId="2147472157"/>
            <ac:spMk id="27" creationId="{3376105B-A6CB-259E-A516-E1B3AF782A8E}"/>
          </ac:spMkLst>
        </pc:spChg>
        <pc:spChg chg="add mod">
          <ac:chgData name="Nicole Duyzers" userId="31f0efc2-85cf-4cd2-861c-931ad9f86626" providerId="ADAL" clId="{EC4884C5-7839-2547-8675-C9ACDD551AE3}" dt="2024-09-03T11:51:45.086" v="847" actId="3064"/>
          <ac:spMkLst>
            <pc:docMk/>
            <pc:sldMk cId="2918108863" sldId="2147472157"/>
            <ac:spMk id="28" creationId="{06C34CA4-FBD5-6FC0-EF85-0FB6F672319F}"/>
          </ac:spMkLst>
        </pc:spChg>
        <pc:grpChg chg="add del mod">
          <ac:chgData name="Nicole Duyzers" userId="31f0efc2-85cf-4cd2-861c-931ad9f86626" providerId="ADAL" clId="{EC4884C5-7839-2547-8675-C9ACDD551AE3}" dt="2024-09-03T11:49:35.843" v="796" actId="478"/>
          <ac:grpSpMkLst>
            <pc:docMk/>
            <pc:sldMk cId="2918108863" sldId="2147472157"/>
            <ac:grpSpMk id="6" creationId="{AE98DF2E-59A5-44CA-5EB3-27C1B4DCCCC7}"/>
          </ac:grpSpMkLst>
        </pc:grpChg>
        <pc:grpChg chg="add del mod">
          <ac:chgData name="Nicole Duyzers" userId="31f0efc2-85cf-4cd2-861c-931ad9f86626" providerId="ADAL" clId="{EC4884C5-7839-2547-8675-C9ACDD551AE3}" dt="2024-09-03T11:49:35.290" v="795" actId="478"/>
          <ac:grpSpMkLst>
            <pc:docMk/>
            <pc:sldMk cId="2918108863" sldId="2147472157"/>
            <ac:grpSpMk id="7" creationId="{55493697-90E9-2118-6102-7745EC069958}"/>
          </ac:grpSpMkLst>
        </pc:grpChg>
        <pc:grpChg chg="add del mod">
          <ac:chgData name="Nicole Duyzers" userId="31f0efc2-85cf-4cd2-861c-931ad9f86626" providerId="ADAL" clId="{EC4884C5-7839-2547-8675-C9ACDD551AE3}" dt="2024-09-03T11:49:34.715" v="794" actId="478"/>
          <ac:grpSpMkLst>
            <pc:docMk/>
            <pc:sldMk cId="2918108863" sldId="2147472157"/>
            <ac:grpSpMk id="10" creationId="{7B987997-8CF8-6CA6-D22F-C46C0D5AE60B}"/>
          </ac:grpSpMkLst>
        </pc:grpChg>
        <pc:grpChg chg="add mod">
          <ac:chgData name="Nicole Duyzers" userId="31f0efc2-85cf-4cd2-861c-931ad9f86626" providerId="ADAL" clId="{EC4884C5-7839-2547-8675-C9ACDD551AE3}" dt="2024-09-03T11:50:27.594" v="810" actId="1076"/>
          <ac:grpSpMkLst>
            <pc:docMk/>
            <pc:sldMk cId="2918108863" sldId="2147472157"/>
            <ac:grpSpMk id="13" creationId="{296E85E0-31DA-771F-517E-87EBDFB6B8F8}"/>
          </ac:grpSpMkLst>
        </pc:grpChg>
        <pc:grpChg chg="add mod">
          <ac:chgData name="Nicole Duyzers" userId="31f0efc2-85cf-4cd2-861c-931ad9f86626" providerId="ADAL" clId="{EC4884C5-7839-2547-8675-C9ACDD551AE3}" dt="2024-09-03T11:50:00.553" v="803" actId="1076"/>
          <ac:grpSpMkLst>
            <pc:docMk/>
            <pc:sldMk cId="2918108863" sldId="2147472157"/>
            <ac:grpSpMk id="16" creationId="{C2CB0896-E678-D9E2-4202-D51B2DE165E3}"/>
          </ac:grpSpMkLst>
        </pc:grpChg>
        <pc:grpChg chg="add mod">
          <ac:chgData name="Nicole Duyzers" userId="31f0efc2-85cf-4cd2-861c-931ad9f86626" providerId="ADAL" clId="{EC4884C5-7839-2547-8675-C9ACDD551AE3}" dt="2024-09-03T11:49:49.871" v="800" actId="1076"/>
          <ac:grpSpMkLst>
            <pc:docMk/>
            <pc:sldMk cId="2918108863" sldId="2147472157"/>
            <ac:grpSpMk id="20" creationId="{E7488AE9-BFFD-2344-5B54-85213B3E8423}"/>
          </ac:grpSpMkLst>
        </pc:grpChg>
        <pc:grpChg chg="add mod">
          <ac:chgData name="Nicole Duyzers" userId="31f0efc2-85cf-4cd2-861c-931ad9f86626" providerId="ADAL" clId="{EC4884C5-7839-2547-8675-C9ACDD551AE3}" dt="2024-09-03T11:49:55.964" v="802" actId="1076"/>
          <ac:grpSpMkLst>
            <pc:docMk/>
            <pc:sldMk cId="2918108863" sldId="2147472157"/>
            <ac:grpSpMk id="24" creationId="{7BDFC72C-3B9C-4842-FAC1-2EFB9BC00C44}"/>
          </ac:grpSpMkLst>
        </pc:grpChg>
      </pc:sldChg>
      <pc:sldChg chg="modSp new del mod modTransition">
        <pc:chgData name="Nicole Duyzers" userId="31f0efc2-85cf-4cd2-861c-931ad9f86626" providerId="ADAL" clId="{EC4884C5-7839-2547-8675-C9ACDD551AE3}" dt="2024-09-05T10:39:14.598" v="1954" actId="2696"/>
        <pc:sldMkLst>
          <pc:docMk/>
          <pc:sldMk cId="1585399173" sldId="2147472158"/>
        </pc:sldMkLst>
        <pc:spChg chg="mod">
          <ac:chgData name="Nicole Duyzers" userId="31f0efc2-85cf-4cd2-861c-931ad9f86626" providerId="ADAL" clId="{EC4884C5-7839-2547-8675-C9ACDD551AE3}" dt="2024-09-03T11:55:01.767" v="888" actId="27636"/>
          <ac:spMkLst>
            <pc:docMk/>
            <pc:sldMk cId="1585399173" sldId="2147472158"/>
            <ac:spMk id="2" creationId="{E24380C4-9EB2-C178-FBEC-736CED94E63D}"/>
          </ac:spMkLst>
        </pc:spChg>
        <pc:spChg chg="mod">
          <ac:chgData name="Nicole Duyzers" userId="31f0efc2-85cf-4cd2-861c-931ad9f86626" providerId="ADAL" clId="{EC4884C5-7839-2547-8675-C9ACDD551AE3}" dt="2024-09-03T11:55:44.468" v="897" actId="20577"/>
          <ac:spMkLst>
            <pc:docMk/>
            <pc:sldMk cId="1585399173" sldId="2147472158"/>
            <ac:spMk id="3" creationId="{14490E27-FE9E-B74E-14D3-66FC1BC2C5ED}"/>
          </ac:spMkLst>
        </pc:spChg>
      </pc:sldChg>
      <pc:sldChg chg="modTransition">
        <pc:chgData name="Nicole Duyzers" userId="31f0efc2-85cf-4cd2-861c-931ad9f86626" providerId="ADAL" clId="{EC4884C5-7839-2547-8675-C9ACDD551AE3}" dt="2024-09-13T13:49:40.050" v="2419"/>
        <pc:sldMkLst>
          <pc:docMk/>
          <pc:sldMk cId="3840537329" sldId="2147472158"/>
        </pc:sldMkLst>
      </pc:sldChg>
      <pc:sldChg chg="new del">
        <pc:chgData name="Nicole Duyzers" userId="31f0efc2-85cf-4cd2-861c-931ad9f86626" providerId="ADAL" clId="{EC4884C5-7839-2547-8675-C9ACDD551AE3}" dt="2024-09-03T12:11:12.907" v="1249" actId="2696"/>
        <pc:sldMkLst>
          <pc:docMk/>
          <pc:sldMk cId="992035881" sldId="2147472159"/>
        </pc:sldMkLst>
      </pc:sldChg>
      <pc:sldChg chg="del">
        <pc:chgData name="Nicole Duyzers" userId="31f0efc2-85cf-4cd2-861c-931ad9f86626" providerId="ADAL" clId="{EC4884C5-7839-2547-8675-C9ACDD551AE3}" dt="2024-09-13T13:49:45.752" v="2420" actId="2696"/>
        <pc:sldMkLst>
          <pc:docMk/>
          <pc:sldMk cId="4235991976" sldId="2147472159"/>
        </pc:sldMkLst>
      </pc:sldChg>
      <pc:sldChg chg="addSp delSp modSp new mod modTransition">
        <pc:chgData name="Nicole Duyzers" userId="31f0efc2-85cf-4cd2-861c-931ad9f86626" providerId="ADAL" clId="{EC4884C5-7839-2547-8675-C9ACDD551AE3}" dt="2024-09-17T13:06:38.184" v="2792" actId="113"/>
        <pc:sldMkLst>
          <pc:docMk/>
          <pc:sldMk cId="1066485523" sldId="2147472160"/>
        </pc:sldMkLst>
        <pc:spChg chg="del mod">
          <ac:chgData name="Nicole Duyzers" userId="31f0efc2-85cf-4cd2-861c-931ad9f86626" providerId="ADAL" clId="{EC4884C5-7839-2547-8675-C9ACDD551AE3}" dt="2024-09-13T13:47:12.689" v="2392" actId="478"/>
          <ac:spMkLst>
            <pc:docMk/>
            <pc:sldMk cId="1066485523" sldId="2147472160"/>
            <ac:spMk id="2" creationId="{169365E1-8550-D9D6-F06D-1A53923E372D}"/>
          </ac:spMkLst>
        </pc:spChg>
        <pc:spChg chg="add mod">
          <ac:chgData name="Nicole Duyzers" userId="31f0efc2-85cf-4cd2-861c-931ad9f86626" providerId="ADAL" clId="{EC4884C5-7839-2547-8675-C9ACDD551AE3}" dt="2024-09-17T13:05:46.972" v="2753" actId="27636"/>
          <ac:spMkLst>
            <pc:docMk/>
            <pc:sldMk cId="1066485523" sldId="2147472160"/>
            <ac:spMk id="2" creationId="{83164933-218E-3701-AA97-00993B29D11C}"/>
          </ac:spMkLst>
        </pc:spChg>
        <pc:spChg chg="del">
          <ac:chgData name="Nicole Duyzers" userId="31f0efc2-85cf-4cd2-861c-931ad9f86626" providerId="ADAL" clId="{EC4884C5-7839-2547-8675-C9ACDD551AE3}" dt="2024-09-03T12:02:06.827" v="1039" actId="478"/>
          <ac:spMkLst>
            <pc:docMk/>
            <pc:sldMk cId="1066485523" sldId="2147472160"/>
            <ac:spMk id="3" creationId="{159878D0-282D-0786-DA60-3D859A3DF08A}"/>
          </ac:spMkLst>
        </pc:spChg>
        <pc:spChg chg="del">
          <ac:chgData name="Nicole Duyzers" userId="31f0efc2-85cf-4cd2-861c-931ad9f86626" providerId="ADAL" clId="{EC4884C5-7839-2547-8675-C9ACDD551AE3}" dt="2024-09-03T12:00:40.174" v="949" actId="478"/>
          <ac:spMkLst>
            <pc:docMk/>
            <pc:sldMk cId="1066485523" sldId="2147472160"/>
            <ac:spMk id="4" creationId="{CD6153CB-B839-22E2-AB29-6C77B91F9B73}"/>
          </ac:spMkLst>
        </pc:spChg>
        <pc:spChg chg="mod">
          <ac:chgData name="Nicole Duyzers" userId="31f0efc2-85cf-4cd2-861c-931ad9f86626" providerId="ADAL" clId="{EC4884C5-7839-2547-8675-C9ACDD551AE3}" dt="2024-09-17T13:06:20.797" v="2790" actId="404"/>
          <ac:spMkLst>
            <pc:docMk/>
            <pc:sldMk cId="1066485523" sldId="2147472160"/>
            <ac:spMk id="5" creationId="{95B0FDC1-5402-6482-B05B-D30E79C16A95}"/>
          </ac:spMkLst>
        </pc:spChg>
        <pc:spChg chg="del">
          <ac:chgData name="Nicole Duyzers" userId="31f0efc2-85cf-4cd2-861c-931ad9f86626" providerId="ADAL" clId="{EC4884C5-7839-2547-8675-C9ACDD551AE3}" dt="2024-09-03T12:02:04.067" v="1038" actId="478"/>
          <ac:spMkLst>
            <pc:docMk/>
            <pc:sldMk cId="1066485523" sldId="2147472160"/>
            <ac:spMk id="6" creationId="{4B557E00-D77E-D58B-78AB-88E03B9D01C6}"/>
          </ac:spMkLst>
        </pc:spChg>
        <pc:spChg chg="add mod">
          <ac:chgData name="Nicole Duyzers" userId="31f0efc2-85cf-4cd2-861c-931ad9f86626" providerId="ADAL" clId="{EC4884C5-7839-2547-8675-C9ACDD551AE3}" dt="2024-09-17T13:06:38.184" v="2792" actId="113"/>
          <ac:spMkLst>
            <pc:docMk/>
            <pc:sldMk cId="1066485523" sldId="2147472160"/>
            <ac:spMk id="7" creationId="{2B450274-A7BF-8C47-0929-E49950F5359C}"/>
          </ac:spMkLst>
        </pc:spChg>
        <pc:spChg chg="add del mod">
          <ac:chgData name="Nicole Duyzers" userId="31f0efc2-85cf-4cd2-861c-931ad9f86626" providerId="ADAL" clId="{EC4884C5-7839-2547-8675-C9ACDD551AE3}" dt="2024-09-17T13:05:41.683" v="2750" actId="478"/>
          <ac:spMkLst>
            <pc:docMk/>
            <pc:sldMk cId="1066485523" sldId="2147472160"/>
            <ac:spMk id="8" creationId="{E5AB887D-D3FA-29A0-776E-F73A946867C6}"/>
          </ac:spMkLst>
        </pc:spChg>
        <pc:spChg chg="add del mod">
          <ac:chgData name="Nicole Duyzers" userId="31f0efc2-85cf-4cd2-861c-931ad9f86626" providerId="ADAL" clId="{EC4884C5-7839-2547-8675-C9ACDD551AE3}" dt="2024-09-17T13:05:41.683" v="2750" actId="478"/>
          <ac:spMkLst>
            <pc:docMk/>
            <pc:sldMk cId="1066485523" sldId="2147472160"/>
            <ac:spMk id="9" creationId="{F692FC38-F038-A5A4-B2A5-32106B4AE828}"/>
          </ac:spMkLst>
        </pc:spChg>
        <pc:spChg chg="add del mod">
          <ac:chgData name="Nicole Duyzers" userId="31f0efc2-85cf-4cd2-861c-931ad9f86626" providerId="ADAL" clId="{EC4884C5-7839-2547-8675-C9ACDD551AE3}" dt="2024-09-17T13:05:41.683" v="2750" actId="478"/>
          <ac:spMkLst>
            <pc:docMk/>
            <pc:sldMk cId="1066485523" sldId="2147472160"/>
            <ac:spMk id="10" creationId="{29F77C7A-C710-8FCA-677D-8DA69FADC084}"/>
          </ac:spMkLst>
        </pc:spChg>
        <pc:spChg chg="add del mod">
          <ac:chgData name="Nicole Duyzers" userId="31f0efc2-85cf-4cd2-861c-931ad9f86626" providerId="ADAL" clId="{EC4884C5-7839-2547-8675-C9ACDD551AE3}" dt="2024-09-17T13:05:41.683" v="2750" actId="478"/>
          <ac:spMkLst>
            <pc:docMk/>
            <pc:sldMk cId="1066485523" sldId="2147472160"/>
            <ac:spMk id="11" creationId="{2AD99313-F69F-78A7-B381-5C69E32684DB}"/>
          </ac:spMkLst>
        </pc:spChg>
        <pc:spChg chg="add del mod">
          <ac:chgData name="Nicole Duyzers" userId="31f0efc2-85cf-4cd2-861c-931ad9f86626" providerId="ADAL" clId="{EC4884C5-7839-2547-8675-C9ACDD551AE3}" dt="2024-09-17T13:05:41.683" v="2750" actId="478"/>
          <ac:spMkLst>
            <pc:docMk/>
            <pc:sldMk cId="1066485523" sldId="2147472160"/>
            <ac:spMk id="12" creationId="{380D78EC-37CF-3554-9840-B1B596A6593D}"/>
          </ac:spMkLst>
        </pc:spChg>
        <pc:spChg chg="add del mod">
          <ac:chgData name="Nicole Duyzers" userId="31f0efc2-85cf-4cd2-861c-931ad9f86626" providerId="ADAL" clId="{EC4884C5-7839-2547-8675-C9ACDD551AE3}" dt="2024-09-17T13:05:41.683" v="2750" actId="478"/>
          <ac:spMkLst>
            <pc:docMk/>
            <pc:sldMk cId="1066485523" sldId="2147472160"/>
            <ac:spMk id="13" creationId="{6B8339C0-5B62-3089-4E77-35309E01A24B}"/>
          </ac:spMkLst>
        </pc:spChg>
      </pc:sldChg>
      <pc:sldChg chg="modSp new del mod">
        <pc:chgData name="Nicole Duyzers" userId="31f0efc2-85cf-4cd2-861c-931ad9f86626" providerId="ADAL" clId="{EC4884C5-7839-2547-8675-C9ACDD551AE3}" dt="2024-09-03T12:04:44.074" v="1083" actId="2696"/>
        <pc:sldMkLst>
          <pc:docMk/>
          <pc:sldMk cId="962620369" sldId="2147472161"/>
        </pc:sldMkLst>
        <pc:spChg chg="mod">
          <ac:chgData name="Nicole Duyzers" userId="31f0efc2-85cf-4cd2-861c-931ad9f86626" providerId="ADAL" clId="{EC4884C5-7839-2547-8675-C9ACDD551AE3}" dt="2024-09-03T12:04:11.718" v="1065" actId="313"/>
          <ac:spMkLst>
            <pc:docMk/>
            <pc:sldMk cId="962620369" sldId="2147472161"/>
            <ac:spMk id="14" creationId="{1EDBD311-B1E7-B251-C8A3-97B1F01D454B}"/>
          </ac:spMkLst>
        </pc:spChg>
      </pc:sldChg>
      <pc:sldChg chg="addSp delSp modSp new mod modTransition">
        <pc:chgData name="Nicole Duyzers" userId="31f0efc2-85cf-4cd2-861c-931ad9f86626" providerId="ADAL" clId="{EC4884C5-7839-2547-8675-C9ACDD551AE3}" dt="2024-09-13T13:35:36.400" v="2369" actId="962"/>
        <pc:sldMkLst>
          <pc:docMk/>
          <pc:sldMk cId="3220104553" sldId="2147472162"/>
        </pc:sldMkLst>
        <pc:spChg chg="del">
          <ac:chgData name="Nicole Duyzers" userId="31f0efc2-85cf-4cd2-861c-931ad9f86626" providerId="ADAL" clId="{EC4884C5-7839-2547-8675-C9ACDD551AE3}" dt="2024-09-13T13:35:33.800" v="2367"/>
          <ac:spMkLst>
            <pc:docMk/>
            <pc:sldMk cId="3220104553" sldId="2147472162"/>
            <ac:spMk id="2" creationId="{E61B799E-B96D-5A8A-A11E-63F4185CA711}"/>
          </ac:spMkLst>
        </pc:spChg>
        <pc:spChg chg="mod">
          <ac:chgData name="Nicole Duyzers" userId="31f0efc2-85cf-4cd2-861c-931ad9f86626" providerId="ADAL" clId="{EC4884C5-7839-2547-8675-C9ACDD551AE3}" dt="2024-09-03T12:08:46.080" v="1243" actId="14100"/>
          <ac:spMkLst>
            <pc:docMk/>
            <pc:sldMk cId="3220104553" sldId="2147472162"/>
            <ac:spMk id="3" creationId="{595C0594-AFF0-C8B3-3F61-AC9883DE8C2B}"/>
          </ac:spMkLst>
        </pc:spChg>
        <pc:spChg chg="mod">
          <ac:chgData name="Nicole Duyzers" userId="31f0efc2-85cf-4cd2-861c-931ad9f86626" providerId="ADAL" clId="{EC4884C5-7839-2547-8675-C9ACDD551AE3}" dt="2024-09-03T12:05:10.626" v="1097" actId="20577"/>
          <ac:spMkLst>
            <pc:docMk/>
            <pc:sldMk cId="3220104553" sldId="2147472162"/>
            <ac:spMk id="4" creationId="{4921D678-CCDE-5936-B415-A6D75D555CDA}"/>
          </ac:spMkLst>
        </pc:spChg>
        <pc:picChg chg="add mod">
          <ac:chgData name="Nicole Duyzers" userId="31f0efc2-85cf-4cd2-861c-931ad9f86626" providerId="ADAL" clId="{EC4884C5-7839-2547-8675-C9ACDD551AE3}" dt="2024-09-13T13:35:36.400" v="2369" actId="962"/>
          <ac:picMkLst>
            <pc:docMk/>
            <pc:sldMk cId="3220104553" sldId="2147472162"/>
            <ac:picMk id="6" creationId="{C197A44A-FB7F-0593-4468-CBCD1D02F52F}"/>
          </ac:picMkLst>
        </pc:picChg>
      </pc:sldChg>
      <pc:sldChg chg="modSp new del mod modTransition">
        <pc:chgData name="Nicole Duyzers" userId="31f0efc2-85cf-4cd2-861c-931ad9f86626" providerId="ADAL" clId="{EC4884C5-7839-2547-8675-C9ACDD551AE3}" dt="2024-09-17T12:11:37.070" v="2564" actId="2696"/>
        <pc:sldMkLst>
          <pc:docMk/>
          <pc:sldMk cId="328571469" sldId="2147472163"/>
        </pc:sldMkLst>
        <pc:spChg chg="mod">
          <ac:chgData name="Nicole Duyzers" userId="31f0efc2-85cf-4cd2-861c-931ad9f86626" providerId="ADAL" clId="{EC4884C5-7839-2547-8675-C9ACDD551AE3}" dt="2024-09-03T12:04:39.759" v="1082" actId="20577"/>
          <ac:spMkLst>
            <pc:docMk/>
            <pc:sldMk cId="328571469" sldId="2147472163"/>
            <ac:spMk id="4" creationId="{E4C79C12-62DE-C4AD-1743-DF0F27221E1F}"/>
          </ac:spMkLst>
        </pc:spChg>
      </pc:sldChg>
      <pc:sldChg chg="modSp new mod modTransition">
        <pc:chgData name="Nicole Duyzers" userId="31f0efc2-85cf-4cd2-861c-931ad9f86626" providerId="ADAL" clId="{EC4884C5-7839-2547-8675-C9ACDD551AE3}" dt="2024-09-05T10:38:09.836" v="1952"/>
        <pc:sldMkLst>
          <pc:docMk/>
          <pc:sldMk cId="2771974959" sldId="2147472164"/>
        </pc:sldMkLst>
        <pc:spChg chg="mod">
          <ac:chgData name="Nicole Duyzers" userId="31f0efc2-85cf-4cd2-861c-931ad9f86626" providerId="ADAL" clId="{EC4884C5-7839-2547-8675-C9ACDD551AE3}" dt="2024-09-03T12:17:24.527" v="1253" actId="20577"/>
          <ac:spMkLst>
            <pc:docMk/>
            <pc:sldMk cId="2771974959" sldId="2147472164"/>
            <ac:spMk id="2" creationId="{57EF3F79-DA30-89A3-6939-3B8DADC2688B}"/>
          </ac:spMkLst>
        </pc:spChg>
      </pc:sldChg>
      <pc:sldChg chg="addSp delSp modSp new mod modTransition">
        <pc:chgData name="Nicole Duyzers" userId="31f0efc2-85cf-4cd2-861c-931ad9f86626" providerId="ADAL" clId="{EC4884C5-7839-2547-8675-C9ACDD551AE3}" dt="2024-09-13T12:30:00.895" v="2340" actId="18131"/>
        <pc:sldMkLst>
          <pc:docMk/>
          <pc:sldMk cId="855138816" sldId="2147472165"/>
        </pc:sldMkLst>
        <pc:spChg chg="del">
          <ac:chgData name="Nicole Duyzers" userId="31f0efc2-85cf-4cd2-861c-931ad9f86626" providerId="ADAL" clId="{EC4884C5-7839-2547-8675-C9ACDD551AE3}" dt="2024-09-13T12:29:45.138" v="2337"/>
          <ac:spMkLst>
            <pc:docMk/>
            <pc:sldMk cId="855138816" sldId="2147472165"/>
            <ac:spMk id="2" creationId="{5B4D462E-4EA0-0D3A-6351-763668491BFA}"/>
          </ac:spMkLst>
        </pc:spChg>
        <pc:spChg chg="mod">
          <ac:chgData name="Nicole Duyzers" userId="31f0efc2-85cf-4cd2-861c-931ad9f86626" providerId="ADAL" clId="{EC4884C5-7839-2547-8675-C9ACDD551AE3}" dt="2024-09-13T12:14:38.767" v="2336" actId="20577"/>
          <ac:spMkLst>
            <pc:docMk/>
            <pc:sldMk cId="855138816" sldId="2147472165"/>
            <ac:spMk id="3" creationId="{4B01C541-7580-0AB8-41BE-48814642245E}"/>
          </ac:spMkLst>
        </pc:spChg>
        <pc:spChg chg="mod">
          <ac:chgData name="Nicole Duyzers" userId="31f0efc2-85cf-4cd2-861c-931ad9f86626" providerId="ADAL" clId="{EC4884C5-7839-2547-8675-C9ACDD551AE3}" dt="2024-09-03T12:17:39.626" v="1267" actId="20577"/>
          <ac:spMkLst>
            <pc:docMk/>
            <pc:sldMk cId="855138816" sldId="2147472165"/>
            <ac:spMk id="4" creationId="{DE2D307C-B889-026C-2B44-79D082A7D2EB}"/>
          </ac:spMkLst>
        </pc:spChg>
        <pc:picChg chg="add mod modCrop">
          <ac:chgData name="Nicole Duyzers" userId="31f0efc2-85cf-4cd2-861c-931ad9f86626" providerId="ADAL" clId="{EC4884C5-7839-2547-8675-C9ACDD551AE3}" dt="2024-09-13T12:30:00.895" v="2340" actId="18131"/>
          <ac:picMkLst>
            <pc:docMk/>
            <pc:sldMk cId="855138816" sldId="2147472165"/>
            <ac:picMk id="6" creationId="{32B7416A-BE39-ECC6-DE6B-F480938C3A70}"/>
          </ac:picMkLst>
        </pc:picChg>
      </pc:sldChg>
      <pc:sldChg chg="modSp new del mod">
        <pc:chgData name="Nicole Duyzers" userId="31f0efc2-85cf-4cd2-861c-931ad9f86626" providerId="ADAL" clId="{EC4884C5-7839-2547-8675-C9ACDD551AE3}" dt="2024-09-05T12:18:58.539" v="2205" actId="2696"/>
        <pc:sldMkLst>
          <pc:docMk/>
          <pc:sldMk cId="505165419" sldId="2147472166"/>
        </pc:sldMkLst>
        <pc:spChg chg="mod">
          <ac:chgData name="Nicole Duyzers" userId="31f0efc2-85cf-4cd2-861c-931ad9f86626" providerId="ADAL" clId="{EC4884C5-7839-2547-8675-C9ACDD551AE3}" dt="2024-09-03T12:19:26.287" v="1334" actId="14100"/>
          <ac:spMkLst>
            <pc:docMk/>
            <pc:sldMk cId="505165419" sldId="2147472166"/>
            <ac:spMk id="2" creationId="{7A5BA987-30F0-0562-FA59-38A6C8A4F9F5}"/>
          </ac:spMkLst>
        </pc:spChg>
      </pc:sldChg>
      <pc:sldChg chg="new del">
        <pc:chgData name="Nicole Duyzers" userId="31f0efc2-85cf-4cd2-861c-931ad9f86626" providerId="ADAL" clId="{EC4884C5-7839-2547-8675-C9ACDD551AE3}" dt="2024-09-03T12:18:24.198" v="1277" actId="2696"/>
        <pc:sldMkLst>
          <pc:docMk/>
          <pc:sldMk cId="1818415756" sldId="2147472166"/>
        </pc:sldMkLst>
      </pc:sldChg>
      <pc:sldChg chg="addSp delSp modSp new del mod">
        <pc:chgData name="Nicole Duyzers" userId="31f0efc2-85cf-4cd2-861c-931ad9f86626" providerId="ADAL" clId="{EC4884C5-7839-2547-8675-C9ACDD551AE3}" dt="2024-09-13T13:54:25.056" v="2468" actId="2696"/>
        <pc:sldMkLst>
          <pc:docMk/>
          <pc:sldMk cId="247548112" sldId="2147472167"/>
        </pc:sldMkLst>
        <pc:spChg chg="mod">
          <ac:chgData name="Nicole Duyzers" userId="31f0efc2-85cf-4cd2-861c-931ad9f86626" providerId="ADAL" clId="{EC4884C5-7839-2547-8675-C9ACDD551AE3}" dt="2024-09-03T12:44:36.634" v="1535"/>
          <ac:spMkLst>
            <pc:docMk/>
            <pc:sldMk cId="247548112" sldId="2147472167"/>
            <ac:spMk id="2" creationId="{3651F279-834D-3E71-6945-3C5D1EE634D4}"/>
          </ac:spMkLst>
        </pc:spChg>
        <pc:spChg chg="del mod">
          <ac:chgData name="Nicole Duyzers" userId="31f0efc2-85cf-4cd2-861c-931ad9f86626" providerId="ADAL" clId="{EC4884C5-7839-2547-8675-C9ACDD551AE3}" dt="2024-09-05T10:23:30.317" v="1648" actId="478"/>
          <ac:spMkLst>
            <pc:docMk/>
            <pc:sldMk cId="247548112" sldId="2147472167"/>
            <ac:spMk id="3" creationId="{0AD989F4-F109-26D0-F836-1D57FAE9A1BB}"/>
          </ac:spMkLst>
        </pc:spChg>
        <pc:spChg chg="add del mod">
          <ac:chgData name="Nicole Duyzers" userId="31f0efc2-85cf-4cd2-861c-931ad9f86626" providerId="ADAL" clId="{EC4884C5-7839-2547-8675-C9ACDD551AE3}" dt="2024-09-05T10:23:32.265" v="1649" actId="478"/>
          <ac:spMkLst>
            <pc:docMk/>
            <pc:sldMk cId="247548112" sldId="2147472167"/>
            <ac:spMk id="5" creationId="{83566E9B-0917-B647-183E-1351F0FB3CF3}"/>
          </ac:spMkLst>
        </pc:spChg>
        <pc:graphicFrameChg chg="add del modGraphic">
          <ac:chgData name="Nicole Duyzers" userId="31f0efc2-85cf-4cd2-861c-931ad9f86626" providerId="ADAL" clId="{EC4884C5-7839-2547-8675-C9ACDD551AE3}" dt="2024-09-05T10:25:07.287" v="1660" actId="478"/>
          <ac:graphicFrameMkLst>
            <pc:docMk/>
            <pc:sldMk cId="247548112" sldId="2147472167"/>
            <ac:graphicFrameMk id="6" creationId="{8108B100-B12D-E990-C834-3022C0EE667F}"/>
          </ac:graphicFrameMkLst>
        </pc:graphicFrameChg>
        <pc:graphicFrameChg chg="add mod modGraphic">
          <ac:chgData name="Nicole Duyzers" userId="31f0efc2-85cf-4cd2-861c-931ad9f86626" providerId="ADAL" clId="{EC4884C5-7839-2547-8675-C9ACDD551AE3}" dt="2024-09-05T10:32:54.065" v="1891" actId="1076"/>
          <ac:graphicFrameMkLst>
            <pc:docMk/>
            <pc:sldMk cId="247548112" sldId="2147472167"/>
            <ac:graphicFrameMk id="7" creationId="{BA4C7819-93CA-4A2F-ACEA-B16C92DF7CDE}"/>
          </ac:graphicFrameMkLst>
        </pc:graphicFrameChg>
      </pc:sldChg>
      <pc:sldChg chg="new del">
        <pc:chgData name="Nicole Duyzers" userId="31f0efc2-85cf-4cd2-861c-931ad9f86626" providerId="ADAL" clId="{EC4884C5-7839-2547-8675-C9ACDD551AE3}" dt="2024-09-03T12:18:22.885" v="1276" actId="2696"/>
        <pc:sldMkLst>
          <pc:docMk/>
          <pc:sldMk cId="1617275326" sldId="2147472167"/>
        </pc:sldMkLst>
      </pc:sldChg>
      <pc:sldChg chg="addSp modSp new del mod">
        <pc:chgData name="Nicole Duyzers" userId="31f0efc2-85cf-4cd2-861c-931ad9f86626" providerId="ADAL" clId="{EC4884C5-7839-2547-8675-C9ACDD551AE3}" dt="2024-09-13T13:52:42.803" v="2448" actId="2696"/>
        <pc:sldMkLst>
          <pc:docMk/>
          <pc:sldMk cId="4025686731" sldId="2147472168"/>
        </pc:sldMkLst>
        <pc:spChg chg="mod">
          <ac:chgData name="Nicole Duyzers" userId="31f0efc2-85cf-4cd2-861c-931ad9f86626" providerId="ADAL" clId="{EC4884C5-7839-2547-8675-C9ACDD551AE3}" dt="2024-09-03T12:37:42.142" v="1416" actId="3064"/>
          <ac:spMkLst>
            <pc:docMk/>
            <pc:sldMk cId="4025686731" sldId="2147472168"/>
            <ac:spMk id="2" creationId="{36C6AF24-87C7-6C86-2F17-3A09A853A186}"/>
          </ac:spMkLst>
        </pc:spChg>
        <pc:spChg chg="mod">
          <ac:chgData name="Nicole Duyzers" userId="31f0efc2-85cf-4cd2-861c-931ad9f86626" providerId="ADAL" clId="{EC4884C5-7839-2547-8675-C9ACDD551AE3}" dt="2024-09-05T12:20:33.317" v="2217" actId="14100"/>
          <ac:spMkLst>
            <pc:docMk/>
            <pc:sldMk cId="4025686731" sldId="2147472168"/>
            <ac:spMk id="3" creationId="{4B45D781-BF40-B5F3-8C65-A571A767931F}"/>
          </ac:spMkLst>
        </pc:spChg>
        <pc:spChg chg="mod">
          <ac:chgData name="Nicole Duyzers" userId="31f0efc2-85cf-4cd2-861c-931ad9f86626" providerId="ADAL" clId="{EC4884C5-7839-2547-8675-C9ACDD551AE3}" dt="2024-09-03T12:42:10.059" v="1486"/>
          <ac:spMkLst>
            <pc:docMk/>
            <pc:sldMk cId="4025686731" sldId="2147472168"/>
            <ac:spMk id="5" creationId="{0EAF01FD-DE39-97F4-91A2-44BC204FA34C}"/>
          </ac:spMkLst>
        </pc:spChg>
        <pc:grpChg chg="add mod">
          <ac:chgData name="Nicole Duyzers" userId="31f0efc2-85cf-4cd2-861c-931ad9f86626" providerId="ADAL" clId="{EC4884C5-7839-2547-8675-C9ACDD551AE3}" dt="2024-09-03T12:43:40.649" v="1499" actId="14100"/>
          <ac:grpSpMkLst>
            <pc:docMk/>
            <pc:sldMk cId="4025686731" sldId="2147472168"/>
            <ac:grpSpMk id="4" creationId="{89D3610F-7E7D-1D31-04A0-32BBA809B903}"/>
          </ac:grpSpMkLst>
        </pc:grpChg>
        <pc:picChg chg="mod">
          <ac:chgData name="Nicole Duyzers" userId="31f0efc2-85cf-4cd2-861c-931ad9f86626" providerId="ADAL" clId="{EC4884C5-7839-2547-8675-C9ACDD551AE3}" dt="2024-09-03T12:42:10.059" v="1486"/>
          <ac:picMkLst>
            <pc:docMk/>
            <pc:sldMk cId="4025686731" sldId="2147472168"/>
            <ac:picMk id="6" creationId="{66F05EC1-1E39-6B16-67B9-C000B3DF73D9}"/>
          </ac:picMkLst>
        </pc:picChg>
      </pc:sldChg>
      <pc:sldChg chg="addSp delSp modSp new del mod">
        <pc:chgData name="Nicole Duyzers" userId="31f0efc2-85cf-4cd2-861c-931ad9f86626" providerId="ADAL" clId="{EC4884C5-7839-2547-8675-C9ACDD551AE3}" dt="2024-09-13T13:51:16.864" v="2428" actId="2696"/>
        <pc:sldMkLst>
          <pc:docMk/>
          <pc:sldMk cId="1038994433" sldId="2147472169"/>
        </pc:sldMkLst>
        <pc:spChg chg="mod">
          <ac:chgData name="Nicole Duyzers" userId="31f0efc2-85cf-4cd2-861c-931ad9f86626" providerId="ADAL" clId="{EC4884C5-7839-2547-8675-C9ACDD551AE3}" dt="2024-09-03T12:39:30.020" v="1430"/>
          <ac:spMkLst>
            <pc:docMk/>
            <pc:sldMk cId="1038994433" sldId="2147472169"/>
            <ac:spMk id="2" creationId="{2734C1C0-6867-EF42-78BC-39D1D2341AD0}"/>
          </ac:spMkLst>
        </pc:spChg>
        <pc:spChg chg="del">
          <ac:chgData name="Nicole Duyzers" userId="31f0efc2-85cf-4cd2-861c-931ad9f86626" providerId="ADAL" clId="{EC4884C5-7839-2547-8675-C9ACDD551AE3}" dt="2024-09-03T12:39:53.295" v="1432" actId="478"/>
          <ac:spMkLst>
            <pc:docMk/>
            <pc:sldMk cId="1038994433" sldId="2147472169"/>
            <ac:spMk id="3" creationId="{9F061339-F78D-4361-0BD4-58317C9E4632}"/>
          </ac:spMkLst>
        </pc:spChg>
        <pc:spChg chg="add del">
          <ac:chgData name="Nicole Duyzers" userId="31f0efc2-85cf-4cd2-861c-931ad9f86626" providerId="ADAL" clId="{EC4884C5-7839-2547-8675-C9ACDD551AE3}" dt="2024-09-05T12:00:35.338" v="2059" actId="478"/>
          <ac:spMkLst>
            <pc:docMk/>
            <pc:sldMk cId="1038994433" sldId="2147472169"/>
            <ac:spMk id="3" creationId="{FDD46F8D-23A2-39A8-9B21-A819ADF598EB}"/>
          </ac:spMkLst>
        </pc:spChg>
        <pc:spChg chg="mod topLvl">
          <ac:chgData name="Nicole Duyzers" userId="31f0efc2-85cf-4cd2-861c-931ad9f86626" providerId="ADAL" clId="{EC4884C5-7839-2547-8675-C9ACDD551AE3}" dt="2024-09-05T12:01:42.549" v="2082" actId="207"/>
          <ac:spMkLst>
            <pc:docMk/>
            <pc:sldMk cId="1038994433" sldId="2147472169"/>
            <ac:spMk id="5" creationId="{858AE7B7-7647-BCFB-5410-514D70E9558A}"/>
          </ac:spMkLst>
        </pc:spChg>
        <pc:spChg chg="del mod topLvl">
          <ac:chgData name="Nicole Duyzers" userId="31f0efc2-85cf-4cd2-861c-931ad9f86626" providerId="ADAL" clId="{EC4884C5-7839-2547-8675-C9ACDD551AE3}" dt="2024-09-05T11:59:55.162" v="2053" actId="478"/>
          <ac:spMkLst>
            <pc:docMk/>
            <pc:sldMk cId="1038994433" sldId="2147472169"/>
            <ac:spMk id="6" creationId="{BED2056C-F35F-3242-015F-CCDB2E1F9FF5}"/>
          </ac:spMkLst>
        </pc:spChg>
        <pc:spChg chg="mod topLvl">
          <ac:chgData name="Nicole Duyzers" userId="31f0efc2-85cf-4cd2-861c-931ad9f86626" providerId="ADAL" clId="{EC4884C5-7839-2547-8675-C9ACDD551AE3}" dt="2024-09-05T12:02:29.234" v="2094" actId="167"/>
          <ac:spMkLst>
            <pc:docMk/>
            <pc:sldMk cId="1038994433" sldId="2147472169"/>
            <ac:spMk id="8" creationId="{85FF62EB-1371-39EC-9AB9-FD50F0B500D6}"/>
          </ac:spMkLst>
        </pc:spChg>
        <pc:spChg chg="del mod topLvl">
          <ac:chgData name="Nicole Duyzers" userId="31f0efc2-85cf-4cd2-861c-931ad9f86626" providerId="ADAL" clId="{EC4884C5-7839-2547-8675-C9ACDD551AE3}" dt="2024-09-05T11:59:49.543" v="2051" actId="478"/>
          <ac:spMkLst>
            <pc:docMk/>
            <pc:sldMk cId="1038994433" sldId="2147472169"/>
            <ac:spMk id="9" creationId="{77061F7B-580E-A598-75B2-E5F7F8C956E8}"/>
          </ac:spMkLst>
        </pc:spChg>
        <pc:spChg chg="add mod">
          <ac:chgData name="Nicole Duyzers" userId="31f0efc2-85cf-4cd2-861c-931ad9f86626" providerId="ADAL" clId="{EC4884C5-7839-2547-8675-C9ACDD551AE3}" dt="2024-09-05T12:01:29.619" v="2079" actId="20577"/>
          <ac:spMkLst>
            <pc:docMk/>
            <pc:sldMk cId="1038994433" sldId="2147472169"/>
            <ac:spMk id="10" creationId="{E9FDC5A1-535B-AA8B-74BF-9780469C4AA0}"/>
          </ac:spMkLst>
        </pc:spChg>
        <pc:spChg chg="mod topLvl">
          <ac:chgData name="Nicole Duyzers" userId="31f0efc2-85cf-4cd2-861c-931ad9f86626" providerId="ADAL" clId="{EC4884C5-7839-2547-8675-C9ACDD551AE3}" dt="2024-09-05T12:01:55.371" v="2086" actId="207"/>
          <ac:spMkLst>
            <pc:docMk/>
            <pc:sldMk cId="1038994433" sldId="2147472169"/>
            <ac:spMk id="12" creationId="{0326BA34-74D3-8A0D-9719-A3FB3C2F9E5C}"/>
          </ac:spMkLst>
        </pc:spChg>
        <pc:spChg chg="del mod topLvl">
          <ac:chgData name="Nicole Duyzers" userId="31f0efc2-85cf-4cd2-861c-931ad9f86626" providerId="ADAL" clId="{EC4884C5-7839-2547-8675-C9ACDD551AE3}" dt="2024-09-05T11:59:59.998" v="2055" actId="478"/>
          <ac:spMkLst>
            <pc:docMk/>
            <pc:sldMk cId="1038994433" sldId="2147472169"/>
            <ac:spMk id="13" creationId="{7C624AF4-9559-C79F-5B35-C6B2DA5BA458}"/>
          </ac:spMkLst>
        </pc:spChg>
        <pc:spChg chg="add mod">
          <ac:chgData name="Nicole Duyzers" userId="31f0efc2-85cf-4cd2-861c-931ad9f86626" providerId="ADAL" clId="{EC4884C5-7839-2547-8675-C9ACDD551AE3}" dt="2024-09-05T11:59:23.120" v="2044" actId="14100"/>
          <ac:spMkLst>
            <pc:docMk/>
            <pc:sldMk cId="1038994433" sldId="2147472169"/>
            <ac:spMk id="14" creationId="{F24B50F5-E87B-7FF0-5733-A378BDD603D3}"/>
          </ac:spMkLst>
        </pc:spChg>
        <pc:spChg chg="del mod topLvl">
          <ac:chgData name="Nicole Duyzers" userId="31f0efc2-85cf-4cd2-861c-931ad9f86626" providerId="ADAL" clId="{EC4884C5-7839-2547-8675-C9ACDD551AE3}" dt="2024-09-05T12:02:46.343" v="2097" actId="478"/>
          <ac:spMkLst>
            <pc:docMk/>
            <pc:sldMk cId="1038994433" sldId="2147472169"/>
            <ac:spMk id="16" creationId="{C2A6731C-67C4-F324-E77E-FE8932815727}"/>
          </ac:spMkLst>
        </pc:spChg>
        <pc:spChg chg="del mod topLvl">
          <ac:chgData name="Nicole Duyzers" userId="31f0efc2-85cf-4cd2-861c-931ad9f86626" providerId="ADAL" clId="{EC4884C5-7839-2547-8675-C9ACDD551AE3}" dt="2024-09-05T12:00:04.218" v="2057" actId="478"/>
          <ac:spMkLst>
            <pc:docMk/>
            <pc:sldMk cId="1038994433" sldId="2147472169"/>
            <ac:spMk id="17" creationId="{1EC4CAC8-097F-6BA8-375D-3B175C37FB50}"/>
          </ac:spMkLst>
        </pc:spChg>
        <pc:spChg chg="add mod">
          <ac:chgData name="Nicole Duyzers" userId="31f0efc2-85cf-4cd2-861c-931ad9f86626" providerId="ADAL" clId="{EC4884C5-7839-2547-8675-C9ACDD551AE3}" dt="2024-09-05T11:59:31.684" v="2045" actId="14100"/>
          <ac:spMkLst>
            <pc:docMk/>
            <pc:sldMk cId="1038994433" sldId="2147472169"/>
            <ac:spMk id="18" creationId="{82E20ABD-8BD6-3321-7D52-1A4024665D55}"/>
          </ac:spMkLst>
        </pc:spChg>
        <pc:spChg chg="add mod">
          <ac:chgData name="Nicole Duyzers" userId="31f0efc2-85cf-4cd2-861c-931ad9f86626" providerId="ADAL" clId="{EC4884C5-7839-2547-8675-C9ACDD551AE3}" dt="2024-09-05T11:58:53.671" v="2038" actId="14100"/>
          <ac:spMkLst>
            <pc:docMk/>
            <pc:sldMk cId="1038994433" sldId="2147472169"/>
            <ac:spMk id="19" creationId="{7B131D17-4E50-9543-D7D0-C3BD9ED608A9}"/>
          </ac:spMkLst>
        </pc:spChg>
        <pc:spChg chg="add mod">
          <ac:chgData name="Nicole Duyzers" userId="31f0efc2-85cf-4cd2-861c-931ad9f86626" providerId="ADAL" clId="{EC4884C5-7839-2547-8675-C9ACDD551AE3}" dt="2024-09-05T13:24:20.793" v="2299" actId="20577"/>
          <ac:spMkLst>
            <pc:docMk/>
            <pc:sldMk cId="1038994433" sldId="2147472169"/>
            <ac:spMk id="20" creationId="{41FF01D3-C19A-CEDD-1321-CD90124AF99B}"/>
          </ac:spMkLst>
        </pc:spChg>
        <pc:spChg chg="add mod">
          <ac:chgData name="Nicole Duyzers" userId="31f0efc2-85cf-4cd2-861c-931ad9f86626" providerId="ADAL" clId="{EC4884C5-7839-2547-8675-C9ACDD551AE3}" dt="2024-09-05T12:01:05.313" v="2064" actId="207"/>
          <ac:spMkLst>
            <pc:docMk/>
            <pc:sldMk cId="1038994433" sldId="2147472169"/>
            <ac:spMk id="21" creationId="{51C47CBF-ACB0-8126-3FB4-229C0DF25400}"/>
          </ac:spMkLst>
        </pc:spChg>
        <pc:spChg chg="add mod">
          <ac:chgData name="Nicole Duyzers" userId="31f0efc2-85cf-4cd2-861c-931ad9f86626" providerId="ADAL" clId="{EC4884C5-7839-2547-8675-C9ACDD551AE3}" dt="2024-09-05T12:01:40.301" v="2081" actId="1076"/>
          <ac:spMkLst>
            <pc:docMk/>
            <pc:sldMk cId="1038994433" sldId="2147472169"/>
            <ac:spMk id="22" creationId="{3B5F9B55-AC06-F70E-EA2D-D9C0843959CD}"/>
          </ac:spMkLst>
        </pc:spChg>
        <pc:spChg chg="add mod">
          <ac:chgData name="Nicole Duyzers" userId="31f0efc2-85cf-4cd2-861c-931ad9f86626" providerId="ADAL" clId="{EC4884C5-7839-2547-8675-C9ACDD551AE3}" dt="2024-09-05T12:02:02.965" v="2088" actId="167"/>
          <ac:spMkLst>
            <pc:docMk/>
            <pc:sldMk cId="1038994433" sldId="2147472169"/>
            <ac:spMk id="24" creationId="{44ACFAD4-9755-DE37-AAF4-6889D1B1A5D9}"/>
          </ac:spMkLst>
        </pc:spChg>
        <pc:spChg chg="mod">
          <ac:chgData name="Nicole Duyzers" userId="31f0efc2-85cf-4cd2-861c-931ad9f86626" providerId="ADAL" clId="{EC4884C5-7839-2547-8675-C9ACDD551AE3}" dt="2024-09-05T12:02:44.443" v="2096"/>
          <ac:spMkLst>
            <pc:docMk/>
            <pc:sldMk cId="1038994433" sldId="2147472169"/>
            <ac:spMk id="28" creationId="{DE7C58B3-4C27-A330-AD57-4BFCD429F1F2}"/>
          </ac:spMkLst>
        </pc:spChg>
        <pc:spChg chg="mod">
          <ac:chgData name="Nicole Duyzers" userId="31f0efc2-85cf-4cd2-861c-931ad9f86626" providerId="ADAL" clId="{EC4884C5-7839-2547-8675-C9ACDD551AE3}" dt="2024-09-05T12:02:44.443" v="2096"/>
          <ac:spMkLst>
            <pc:docMk/>
            <pc:sldMk cId="1038994433" sldId="2147472169"/>
            <ac:spMk id="29" creationId="{4B1AF0B1-7C3B-6EF1-33CD-D0B1DFD8D024}"/>
          </ac:spMkLst>
        </pc:spChg>
        <pc:grpChg chg="add del mod">
          <ac:chgData name="Nicole Duyzers" userId="31f0efc2-85cf-4cd2-861c-931ad9f86626" providerId="ADAL" clId="{EC4884C5-7839-2547-8675-C9ACDD551AE3}" dt="2024-09-05T11:59:53.893" v="2052" actId="165"/>
          <ac:grpSpMkLst>
            <pc:docMk/>
            <pc:sldMk cId="1038994433" sldId="2147472169"/>
            <ac:grpSpMk id="4" creationId="{DDD535D9-C6A4-DE95-A29F-4C4F17F26D75}"/>
          </ac:grpSpMkLst>
        </pc:grpChg>
        <pc:grpChg chg="add del mod">
          <ac:chgData name="Nicole Duyzers" userId="31f0efc2-85cf-4cd2-861c-931ad9f86626" providerId="ADAL" clId="{EC4884C5-7839-2547-8675-C9ACDD551AE3}" dt="2024-09-05T11:59:48.014" v="2050" actId="165"/>
          <ac:grpSpMkLst>
            <pc:docMk/>
            <pc:sldMk cId="1038994433" sldId="2147472169"/>
            <ac:grpSpMk id="7" creationId="{406406AD-3902-2912-E83E-8468DD897A9C}"/>
          </ac:grpSpMkLst>
        </pc:grpChg>
        <pc:grpChg chg="add del mod">
          <ac:chgData name="Nicole Duyzers" userId="31f0efc2-85cf-4cd2-861c-931ad9f86626" providerId="ADAL" clId="{EC4884C5-7839-2547-8675-C9ACDD551AE3}" dt="2024-09-05T11:59:58.602" v="2054" actId="165"/>
          <ac:grpSpMkLst>
            <pc:docMk/>
            <pc:sldMk cId="1038994433" sldId="2147472169"/>
            <ac:grpSpMk id="11" creationId="{066F3CEC-5B8E-CB03-05FC-A1D1CE4FEC01}"/>
          </ac:grpSpMkLst>
        </pc:grpChg>
        <pc:grpChg chg="add del mod">
          <ac:chgData name="Nicole Duyzers" userId="31f0efc2-85cf-4cd2-861c-931ad9f86626" providerId="ADAL" clId="{EC4884C5-7839-2547-8675-C9ACDD551AE3}" dt="2024-09-05T12:00:03.327" v="2056" actId="165"/>
          <ac:grpSpMkLst>
            <pc:docMk/>
            <pc:sldMk cId="1038994433" sldId="2147472169"/>
            <ac:grpSpMk id="15" creationId="{1A2BF7A8-BCAC-6C0D-F547-5DFE2FCEB2A7}"/>
          </ac:grpSpMkLst>
        </pc:grpChg>
        <pc:grpChg chg="add mod">
          <ac:chgData name="Nicole Duyzers" userId="31f0efc2-85cf-4cd2-861c-931ad9f86626" providerId="ADAL" clId="{EC4884C5-7839-2547-8675-C9ACDD551AE3}" dt="2024-09-05T12:02:38.609" v="2095" actId="167"/>
          <ac:grpSpMkLst>
            <pc:docMk/>
            <pc:sldMk cId="1038994433" sldId="2147472169"/>
            <ac:grpSpMk id="23" creationId="{EE2A3969-8E2D-258D-A917-3C17091CCF63}"/>
          </ac:grpSpMkLst>
        </pc:grpChg>
        <pc:grpChg chg="add mod">
          <ac:chgData name="Nicole Duyzers" userId="31f0efc2-85cf-4cd2-861c-931ad9f86626" providerId="ADAL" clId="{EC4884C5-7839-2547-8675-C9ACDD551AE3}" dt="2024-09-05T12:02:08.883" v="2089" actId="167"/>
          <ac:grpSpMkLst>
            <pc:docMk/>
            <pc:sldMk cId="1038994433" sldId="2147472169"/>
            <ac:grpSpMk id="25" creationId="{9169F29C-0A17-5F18-62CA-B32C227A3866}"/>
          </ac:grpSpMkLst>
        </pc:grpChg>
        <pc:grpChg chg="add mod">
          <ac:chgData name="Nicole Duyzers" userId="31f0efc2-85cf-4cd2-861c-931ad9f86626" providerId="ADAL" clId="{EC4884C5-7839-2547-8675-C9ACDD551AE3}" dt="2024-09-05T12:02:25.445" v="2093" actId="167"/>
          <ac:grpSpMkLst>
            <pc:docMk/>
            <pc:sldMk cId="1038994433" sldId="2147472169"/>
            <ac:grpSpMk id="26" creationId="{6149C91B-6C2D-B8A7-A37B-99B9B2ABFAEF}"/>
          </ac:grpSpMkLst>
        </pc:grpChg>
        <pc:grpChg chg="add mod">
          <ac:chgData name="Nicole Duyzers" userId="31f0efc2-85cf-4cd2-861c-931ad9f86626" providerId="ADAL" clId="{EC4884C5-7839-2547-8675-C9ACDD551AE3}" dt="2024-09-05T12:02:59.703" v="2099" actId="167"/>
          <ac:grpSpMkLst>
            <pc:docMk/>
            <pc:sldMk cId="1038994433" sldId="2147472169"/>
            <ac:grpSpMk id="27" creationId="{61665B2D-8852-63FE-1D03-55F2AB72E602}"/>
          </ac:grpSpMkLst>
        </pc:grpChg>
      </pc:sldChg>
      <pc:sldChg chg="addSp modSp new del mod">
        <pc:chgData name="Nicole Duyzers" userId="31f0efc2-85cf-4cd2-861c-931ad9f86626" providerId="ADAL" clId="{EC4884C5-7839-2547-8675-C9ACDD551AE3}" dt="2024-09-05T10:56:51.475" v="1961" actId="2696"/>
        <pc:sldMkLst>
          <pc:docMk/>
          <pc:sldMk cId="100430857" sldId="2147472170"/>
        </pc:sldMkLst>
        <pc:spChg chg="mod">
          <ac:chgData name="Nicole Duyzers" userId="31f0efc2-85cf-4cd2-861c-931ad9f86626" providerId="ADAL" clId="{EC4884C5-7839-2547-8675-C9ACDD551AE3}" dt="2024-09-03T13:01:52.695" v="1620" actId="2711"/>
          <ac:spMkLst>
            <pc:docMk/>
            <pc:sldMk cId="100430857" sldId="2147472170"/>
            <ac:spMk id="2" creationId="{FE1C14CC-40D8-CDEF-C432-239CB518B432}"/>
          </ac:spMkLst>
        </pc:spChg>
        <pc:spChg chg="add mod">
          <ac:chgData name="Nicole Duyzers" userId="31f0efc2-85cf-4cd2-861c-931ad9f86626" providerId="ADAL" clId="{EC4884C5-7839-2547-8675-C9ACDD551AE3}" dt="2024-09-03T13:01:05.599" v="1617" actId="14100"/>
          <ac:spMkLst>
            <pc:docMk/>
            <pc:sldMk cId="100430857" sldId="2147472170"/>
            <ac:spMk id="3" creationId="{0F6AC8C7-0B1F-8F16-1E71-5FFC6D534983}"/>
          </ac:spMkLst>
        </pc:spChg>
      </pc:sldChg>
      <pc:sldChg chg="new del">
        <pc:chgData name="Nicole Duyzers" userId="31f0efc2-85cf-4cd2-861c-931ad9f86626" providerId="ADAL" clId="{EC4884C5-7839-2547-8675-C9ACDD551AE3}" dt="2024-09-03T12:44:42.891" v="1536" actId="2696"/>
        <pc:sldMkLst>
          <pc:docMk/>
          <pc:sldMk cId="1866482233" sldId="2147472170"/>
        </pc:sldMkLst>
      </pc:sldChg>
      <pc:sldChg chg="addSp delSp modSp new del mod ord modTransition modNotesTx">
        <pc:chgData name="Nicole Duyzers" userId="31f0efc2-85cf-4cd2-861c-931ad9f86626" providerId="ADAL" clId="{EC4884C5-7839-2547-8675-C9ACDD551AE3}" dt="2024-09-05T12:12:29.511" v="2136" actId="2696"/>
        <pc:sldMkLst>
          <pc:docMk/>
          <pc:sldMk cId="99471736" sldId="2147472171"/>
        </pc:sldMkLst>
        <pc:spChg chg="mod">
          <ac:chgData name="Nicole Duyzers" userId="31f0efc2-85cf-4cd2-861c-931ad9f86626" providerId="ADAL" clId="{EC4884C5-7839-2547-8675-C9ACDD551AE3}" dt="2024-09-03T13:01:58.288" v="1621" actId="2711"/>
          <ac:spMkLst>
            <pc:docMk/>
            <pc:sldMk cId="99471736" sldId="2147472171"/>
            <ac:spMk id="2" creationId="{4957A759-2017-B0FF-71A2-50FD1F229264}"/>
          </ac:spMkLst>
        </pc:spChg>
        <pc:spChg chg="add del mod">
          <ac:chgData name="Nicole Duyzers" userId="31f0efc2-85cf-4cd2-861c-931ad9f86626" providerId="ADAL" clId="{EC4884C5-7839-2547-8675-C9ACDD551AE3}" dt="2024-09-05T10:58:04.272" v="1989" actId="478"/>
          <ac:spMkLst>
            <pc:docMk/>
            <pc:sldMk cId="99471736" sldId="2147472171"/>
            <ac:spMk id="3" creationId="{CB8BCEFA-5F2E-9C22-5E39-07B781BE6784}"/>
          </ac:spMkLst>
        </pc:spChg>
        <pc:spChg chg="add del mod">
          <ac:chgData name="Nicole Duyzers" userId="31f0efc2-85cf-4cd2-861c-931ad9f86626" providerId="ADAL" clId="{EC4884C5-7839-2547-8675-C9ACDD551AE3}" dt="2024-09-05T10:44:25.556" v="1960" actId="478"/>
          <ac:spMkLst>
            <pc:docMk/>
            <pc:sldMk cId="99471736" sldId="2147472171"/>
            <ac:spMk id="4" creationId="{B11092D6-1A23-8E8F-3212-8773139F2DD8}"/>
          </ac:spMkLst>
        </pc:spChg>
        <pc:graphicFrameChg chg="add mod modGraphic">
          <ac:chgData name="Nicole Duyzers" userId="31f0efc2-85cf-4cd2-861c-931ad9f86626" providerId="ADAL" clId="{EC4884C5-7839-2547-8675-C9ACDD551AE3}" dt="2024-09-05T11:56:59.591" v="2010" actId="14100"/>
          <ac:graphicFrameMkLst>
            <pc:docMk/>
            <pc:sldMk cId="99471736" sldId="2147472171"/>
            <ac:graphicFrameMk id="5" creationId="{15CC140C-8AE5-DBF6-32D0-DD9980FE057C}"/>
          </ac:graphicFrameMkLst>
        </pc:graphicFrameChg>
      </pc:sldChg>
      <pc:sldChg chg="addSp modSp new del mod">
        <pc:chgData name="Nicole Duyzers" userId="31f0efc2-85cf-4cd2-861c-931ad9f86626" providerId="ADAL" clId="{EC4884C5-7839-2547-8675-C9ACDD551AE3}" dt="2024-09-05T11:57:13.002" v="2011" actId="2696"/>
        <pc:sldMkLst>
          <pc:docMk/>
          <pc:sldMk cId="2237575527" sldId="2147472172"/>
        </pc:sldMkLst>
        <pc:spChg chg="mod">
          <ac:chgData name="Nicole Duyzers" userId="31f0efc2-85cf-4cd2-861c-931ad9f86626" providerId="ADAL" clId="{EC4884C5-7839-2547-8675-C9ACDD551AE3}" dt="2024-09-03T13:02:25.698" v="1624"/>
          <ac:spMkLst>
            <pc:docMk/>
            <pc:sldMk cId="2237575527" sldId="2147472172"/>
            <ac:spMk id="2" creationId="{08C94523-4D9B-1D00-E5E0-AAB98B32F60A}"/>
          </ac:spMkLst>
        </pc:spChg>
        <pc:spChg chg="mod">
          <ac:chgData name="Nicole Duyzers" userId="31f0efc2-85cf-4cd2-861c-931ad9f86626" providerId="ADAL" clId="{EC4884C5-7839-2547-8675-C9ACDD551AE3}" dt="2024-09-03T13:02:49.239" v="1629" actId="3064"/>
          <ac:spMkLst>
            <pc:docMk/>
            <pc:sldMk cId="2237575527" sldId="2147472172"/>
            <ac:spMk id="3" creationId="{75D8DF96-B5C7-2B3A-3165-E4C10BA6E473}"/>
          </ac:spMkLst>
        </pc:spChg>
        <pc:spChg chg="add mod">
          <ac:chgData name="Nicole Duyzers" userId="31f0efc2-85cf-4cd2-861c-931ad9f86626" providerId="ADAL" clId="{EC4884C5-7839-2547-8675-C9ACDD551AE3}" dt="2024-09-03T13:02:32.277" v="1625"/>
          <ac:spMkLst>
            <pc:docMk/>
            <pc:sldMk cId="2237575527" sldId="2147472172"/>
            <ac:spMk id="4" creationId="{CAA9FBC7-9943-4406-6A1B-957E670AA50B}"/>
          </ac:spMkLst>
        </pc:spChg>
      </pc:sldChg>
      <pc:sldChg chg="addSp delSp modSp add del mod modTransition">
        <pc:chgData name="Nicole Duyzers" userId="31f0efc2-85cf-4cd2-861c-931ad9f86626" providerId="ADAL" clId="{EC4884C5-7839-2547-8675-C9ACDD551AE3}" dt="2024-09-05T12:14:38.380" v="2165" actId="2696"/>
        <pc:sldMkLst>
          <pc:docMk/>
          <pc:sldMk cId="207154012" sldId="2147472173"/>
        </pc:sldMkLst>
        <pc:spChg chg="mod">
          <ac:chgData name="Nicole Duyzers" userId="31f0efc2-85cf-4cd2-861c-931ad9f86626" providerId="ADAL" clId="{EC4884C5-7839-2547-8675-C9ACDD551AE3}" dt="2024-09-05T10:35:22.979" v="1908" actId="207"/>
          <ac:spMkLst>
            <pc:docMk/>
            <pc:sldMk cId="207154012" sldId="2147472173"/>
            <ac:spMk id="2" creationId="{F9A71EF2-4C6A-825A-B0AF-29615AEA9745}"/>
          </ac:spMkLst>
        </pc:spChg>
        <pc:spChg chg="del">
          <ac:chgData name="Nicole Duyzers" userId="31f0efc2-85cf-4cd2-861c-931ad9f86626" providerId="ADAL" clId="{EC4884C5-7839-2547-8675-C9ACDD551AE3}" dt="2024-09-05T10:35:26.203" v="1909" actId="478"/>
          <ac:spMkLst>
            <pc:docMk/>
            <pc:sldMk cId="207154012" sldId="2147472173"/>
            <ac:spMk id="3" creationId="{A3DD625A-8122-26F2-64DD-11F21BB4BA2C}"/>
          </ac:spMkLst>
        </pc:spChg>
        <pc:spChg chg="add mod">
          <ac:chgData name="Nicole Duyzers" userId="31f0efc2-85cf-4cd2-861c-931ad9f86626" providerId="ADAL" clId="{EC4884C5-7839-2547-8675-C9ACDD551AE3}" dt="2024-09-05T10:35:30.760" v="1910"/>
          <ac:spMkLst>
            <pc:docMk/>
            <pc:sldMk cId="207154012" sldId="2147472173"/>
            <ac:spMk id="4" creationId="{967DE5C8-5683-BAE7-4762-245A2AD2AFA0}"/>
          </ac:spMkLst>
        </pc:spChg>
        <pc:spChg chg="mod">
          <ac:chgData name="Nicole Duyzers" userId="31f0efc2-85cf-4cd2-861c-931ad9f86626" providerId="ADAL" clId="{EC4884C5-7839-2547-8675-C9ACDD551AE3}" dt="2024-09-05T10:35:35.307" v="1911"/>
          <ac:spMkLst>
            <pc:docMk/>
            <pc:sldMk cId="207154012" sldId="2147472173"/>
            <ac:spMk id="6" creationId="{9F9AB4D0-2B71-27FF-787A-32C1F9A0DFB2}"/>
          </ac:spMkLst>
        </pc:spChg>
        <pc:spChg chg="mod">
          <ac:chgData name="Nicole Duyzers" userId="31f0efc2-85cf-4cd2-861c-931ad9f86626" providerId="ADAL" clId="{EC4884C5-7839-2547-8675-C9ACDD551AE3}" dt="2024-09-05T10:35:35.307" v="1911"/>
          <ac:spMkLst>
            <pc:docMk/>
            <pc:sldMk cId="207154012" sldId="2147472173"/>
            <ac:spMk id="7" creationId="{51802F3B-CC9D-7CFB-902F-7C373EB8D52D}"/>
          </ac:spMkLst>
        </pc:spChg>
        <pc:spChg chg="mod">
          <ac:chgData name="Nicole Duyzers" userId="31f0efc2-85cf-4cd2-861c-931ad9f86626" providerId="ADAL" clId="{EC4884C5-7839-2547-8675-C9ACDD551AE3}" dt="2024-09-05T10:35:35.307" v="1911"/>
          <ac:spMkLst>
            <pc:docMk/>
            <pc:sldMk cId="207154012" sldId="2147472173"/>
            <ac:spMk id="8" creationId="{46F21DD0-73FF-20C9-1EC5-08CF7243085E}"/>
          </ac:spMkLst>
        </pc:spChg>
        <pc:spChg chg="mod">
          <ac:chgData name="Nicole Duyzers" userId="31f0efc2-85cf-4cd2-861c-931ad9f86626" providerId="ADAL" clId="{EC4884C5-7839-2547-8675-C9ACDD551AE3}" dt="2024-09-05T10:35:35.307" v="1911"/>
          <ac:spMkLst>
            <pc:docMk/>
            <pc:sldMk cId="207154012" sldId="2147472173"/>
            <ac:spMk id="9" creationId="{21E8E235-68A5-AF80-9A1B-540B3576E007}"/>
          </ac:spMkLst>
        </pc:spChg>
        <pc:spChg chg="mod">
          <ac:chgData name="Nicole Duyzers" userId="31f0efc2-85cf-4cd2-861c-931ad9f86626" providerId="ADAL" clId="{EC4884C5-7839-2547-8675-C9ACDD551AE3}" dt="2024-09-05T10:35:35.307" v="1911"/>
          <ac:spMkLst>
            <pc:docMk/>
            <pc:sldMk cId="207154012" sldId="2147472173"/>
            <ac:spMk id="10" creationId="{9C39459A-1F9A-6B84-0973-3C51AF2777DE}"/>
          </ac:spMkLst>
        </pc:spChg>
        <pc:spChg chg="mod">
          <ac:chgData name="Nicole Duyzers" userId="31f0efc2-85cf-4cd2-861c-931ad9f86626" providerId="ADAL" clId="{EC4884C5-7839-2547-8675-C9ACDD551AE3}" dt="2024-09-05T10:35:35.307" v="1911"/>
          <ac:spMkLst>
            <pc:docMk/>
            <pc:sldMk cId="207154012" sldId="2147472173"/>
            <ac:spMk id="14" creationId="{3F3D9A76-1FB6-12EA-2FB2-BFD4E9A1C163}"/>
          </ac:spMkLst>
        </pc:spChg>
        <pc:spChg chg="mod">
          <ac:chgData name="Nicole Duyzers" userId="31f0efc2-85cf-4cd2-861c-931ad9f86626" providerId="ADAL" clId="{EC4884C5-7839-2547-8675-C9ACDD551AE3}" dt="2024-09-05T10:35:35.307" v="1911"/>
          <ac:spMkLst>
            <pc:docMk/>
            <pc:sldMk cId="207154012" sldId="2147472173"/>
            <ac:spMk id="15" creationId="{36D9291E-8D3E-1916-7DA8-4212B6646C1D}"/>
          </ac:spMkLst>
        </pc:spChg>
        <pc:spChg chg="mod">
          <ac:chgData name="Nicole Duyzers" userId="31f0efc2-85cf-4cd2-861c-931ad9f86626" providerId="ADAL" clId="{EC4884C5-7839-2547-8675-C9ACDD551AE3}" dt="2024-09-05T10:35:35.307" v="1911"/>
          <ac:spMkLst>
            <pc:docMk/>
            <pc:sldMk cId="207154012" sldId="2147472173"/>
            <ac:spMk id="16" creationId="{3A550CB2-F43E-0808-DF7E-13B4AD50E93E}"/>
          </ac:spMkLst>
        </pc:spChg>
        <pc:spChg chg="mod">
          <ac:chgData name="Nicole Duyzers" userId="31f0efc2-85cf-4cd2-861c-931ad9f86626" providerId="ADAL" clId="{EC4884C5-7839-2547-8675-C9ACDD551AE3}" dt="2024-09-05T10:35:35.307" v="1911"/>
          <ac:spMkLst>
            <pc:docMk/>
            <pc:sldMk cId="207154012" sldId="2147472173"/>
            <ac:spMk id="19" creationId="{36719840-8951-C31D-DD6A-F71A1BC79DA5}"/>
          </ac:spMkLst>
        </pc:spChg>
        <pc:spChg chg="mod">
          <ac:chgData name="Nicole Duyzers" userId="31f0efc2-85cf-4cd2-861c-931ad9f86626" providerId="ADAL" clId="{EC4884C5-7839-2547-8675-C9ACDD551AE3}" dt="2024-09-05T10:35:35.307" v="1911"/>
          <ac:spMkLst>
            <pc:docMk/>
            <pc:sldMk cId="207154012" sldId="2147472173"/>
            <ac:spMk id="20" creationId="{6F8EE767-C61B-D8EB-D2FB-DBE4DDF6A9F0}"/>
          </ac:spMkLst>
        </pc:spChg>
        <pc:spChg chg="mod">
          <ac:chgData name="Nicole Duyzers" userId="31f0efc2-85cf-4cd2-861c-931ad9f86626" providerId="ADAL" clId="{EC4884C5-7839-2547-8675-C9ACDD551AE3}" dt="2024-09-05T10:35:35.307" v="1911"/>
          <ac:spMkLst>
            <pc:docMk/>
            <pc:sldMk cId="207154012" sldId="2147472173"/>
            <ac:spMk id="21" creationId="{FCEFDFB5-97AA-36F9-1C18-6058AE3F7A82}"/>
          </ac:spMkLst>
        </pc:spChg>
        <pc:spChg chg="mod">
          <ac:chgData name="Nicole Duyzers" userId="31f0efc2-85cf-4cd2-861c-931ad9f86626" providerId="ADAL" clId="{EC4884C5-7839-2547-8675-C9ACDD551AE3}" dt="2024-09-05T10:35:35.307" v="1911"/>
          <ac:spMkLst>
            <pc:docMk/>
            <pc:sldMk cId="207154012" sldId="2147472173"/>
            <ac:spMk id="22" creationId="{C367050F-EC1F-1027-E3DE-8500F81169B2}"/>
          </ac:spMkLst>
        </pc:spChg>
        <pc:spChg chg="mod">
          <ac:chgData name="Nicole Duyzers" userId="31f0efc2-85cf-4cd2-861c-931ad9f86626" providerId="ADAL" clId="{EC4884C5-7839-2547-8675-C9ACDD551AE3}" dt="2024-09-05T10:35:35.307" v="1911"/>
          <ac:spMkLst>
            <pc:docMk/>
            <pc:sldMk cId="207154012" sldId="2147472173"/>
            <ac:spMk id="23" creationId="{C85D196E-9D22-0B2B-1170-34A9B521D241}"/>
          </ac:spMkLst>
        </pc:spChg>
        <pc:spChg chg="mod">
          <ac:chgData name="Nicole Duyzers" userId="31f0efc2-85cf-4cd2-861c-931ad9f86626" providerId="ADAL" clId="{EC4884C5-7839-2547-8675-C9ACDD551AE3}" dt="2024-09-05T10:35:35.307" v="1911"/>
          <ac:spMkLst>
            <pc:docMk/>
            <pc:sldMk cId="207154012" sldId="2147472173"/>
            <ac:spMk id="24" creationId="{9FE597B7-489A-F0E9-2249-A1E78BD01C30}"/>
          </ac:spMkLst>
        </pc:spChg>
        <pc:spChg chg="add mod">
          <ac:chgData name="Nicole Duyzers" userId="31f0efc2-85cf-4cd2-861c-931ad9f86626" providerId="ADAL" clId="{EC4884C5-7839-2547-8675-C9ACDD551AE3}" dt="2024-09-05T10:36:32.338" v="1917" actId="167"/>
          <ac:spMkLst>
            <pc:docMk/>
            <pc:sldMk cId="207154012" sldId="2147472173"/>
            <ac:spMk id="28" creationId="{10112311-75F8-AA13-99B3-F1335CD62524}"/>
          </ac:spMkLst>
        </pc:spChg>
        <pc:grpChg chg="add mod">
          <ac:chgData name="Nicole Duyzers" userId="31f0efc2-85cf-4cd2-861c-931ad9f86626" providerId="ADAL" clId="{EC4884C5-7839-2547-8675-C9ACDD551AE3}" dt="2024-09-05T10:36:42.760" v="1945" actId="1035"/>
          <ac:grpSpMkLst>
            <pc:docMk/>
            <pc:sldMk cId="207154012" sldId="2147472173"/>
            <ac:grpSpMk id="5" creationId="{893CC24D-ED96-F88B-74F9-CA58D351D013}"/>
          </ac:grpSpMkLst>
        </pc:grpChg>
        <pc:picChg chg="add mod">
          <ac:chgData name="Nicole Duyzers" userId="31f0efc2-85cf-4cd2-861c-931ad9f86626" providerId="ADAL" clId="{EC4884C5-7839-2547-8675-C9ACDD551AE3}" dt="2024-09-05T10:37:29.998" v="1949" actId="1076"/>
          <ac:picMkLst>
            <pc:docMk/>
            <pc:sldMk cId="207154012" sldId="2147472173"/>
            <ac:picMk id="29" creationId="{A115ED50-7968-8DB6-B043-783DE9567155}"/>
          </ac:picMkLst>
        </pc:picChg>
        <pc:cxnChg chg="mod">
          <ac:chgData name="Nicole Duyzers" userId="31f0efc2-85cf-4cd2-861c-931ad9f86626" providerId="ADAL" clId="{EC4884C5-7839-2547-8675-C9ACDD551AE3}" dt="2024-09-05T10:35:35.307" v="1911"/>
          <ac:cxnSpMkLst>
            <pc:docMk/>
            <pc:sldMk cId="207154012" sldId="2147472173"/>
            <ac:cxnSpMk id="11" creationId="{FDB3030E-A0DE-AEDB-C791-85DE835B56C1}"/>
          </ac:cxnSpMkLst>
        </pc:cxnChg>
        <pc:cxnChg chg="mod">
          <ac:chgData name="Nicole Duyzers" userId="31f0efc2-85cf-4cd2-861c-931ad9f86626" providerId="ADAL" clId="{EC4884C5-7839-2547-8675-C9ACDD551AE3}" dt="2024-09-05T10:35:35.307" v="1911"/>
          <ac:cxnSpMkLst>
            <pc:docMk/>
            <pc:sldMk cId="207154012" sldId="2147472173"/>
            <ac:cxnSpMk id="12" creationId="{9601C289-C405-ABF0-ABCA-128A8CBDEDDC}"/>
          </ac:cxnSpMkLst>
        </pc:cxnChg>
        <pc:cxnChg chg="mod">
          <ac:chgData name="Nicole Duyzers" userId="31f0efc2-85cf-4cd2-861c-931ad9f86626" providerId="ADAL" clId="{EC4884C5-7839-2547-8675-C9ACDD551AE3}" dt="2024-09-05T10:35:35.307" v="1911"/>
          <ac:cxnSpMkLst>
            <pc:docMk/>
            <pc:sldMk cId="207154012" sldId="2147472173"/>
            <ac:cxnSpMk id="13" creationId="{8B7652ED-9A98-1786-ABD3-D777BD593886}"/>
          </ac:cxnSpMkLst>
        </pc:cxnChg>
        <pc:cxnChg chg="mod">
          <ac:chgData name="Nicole Duyzers" userId="31f0efc2-85cf-4cd2-861c-931ad9f86626" providerId="ADAL" clId="{EC4884C5-7839-2547-8675-C9ACDD551AE3}" dt="2024-09-05T10:36:14.292" v="1914" actId="14100"/>
          <ac:cxnSpMkLst>
            <pc:docMk/>
            <pc:sldMk cId="207154012" sldId="2147472173"/>
            <ac:cxnSpMk id="17" creationId="{12E8413D-296A-9C1D-7CF7-A3CC47D3BD74}"/>
          </ac:cxnSpMkLst>
        </pc:cxnChg>
        <pc:cxnChg chg="mod">
          <ac:chgData name="Nicole Duyzers" userId="31f0efc2-85cf-4cd2-861c-931ad9f86626" providerId="ADAL" clId="{EC4884C5-7839-2547-8675-C9ACDD551AE3}" dt="2024-09-05T10:35:35.307" v="1911"/>
          <ac:cxnSpMkLst>
            <pc:docMk/>
            <pc:sldMk cId="207154012" sldId="2147472173"/>
            <ac:cxnSpMk id="18" creationId="{23027394-57C1-8CC0-68BE-AA0EFE4CC168}"/>
          </ac:cxnSpMkLst>
        </pc:cxnChg>
      </pc:sldChg>
      <pc:sldChg chg="addSp delSp modSp new add del mod modNotesTx">
        <pc:chgData name="Nicole Duyzers" userId="31f0efc2-85cf-4cd2-861c-931ad9f86626" providerId="ADAL" clId="{EC4884C5-7839-2547-8675-C9ACDD551AE3}" dt="2024-09-13T13:52:14.080" v="2442" actId="2696"/>
        <pc:sldMkLst>
          <pc:docMk/>
          <pc:sldMk cId="1019796053" sldId="2147472174"/>
        </pc:sldMkLst>
        <pc:spChg chg="mod">
          <ac:chgData name="Nicole Duyzers" userId="31f0efc2-85cf-4cd2-861c-931ad9f86626" providerId="ADAL" clId="{EC4884C5-7839-2547-8675-C9ACDD551AE3}" dt="2024-09-05T12:09:16.615" v="2106"/>
          <ac:spMkLst>
            <pc:docMk/>
            <pc:sldMk cId="1019796053" sldId="2147472174"/>
            <ac:spMk id="2" creationId="{9C030160-1764-AD6F-F31E-6C75F1AE30EA}"/>
          </ac:spMkLst>
        </pc:spChg>
        <pc:spChg chg="del">
          <ac:chgData name="Nicole Duyzers" userId="31f0efc2-85cf-4cd2-861c-931ad9f86626" providerId="ADAL" clId="{EC4884C5-7839-2547-8675-C9ACDD551AE3}" dt="2024-09-05T12:09:26.697" v="2107" actId="478"/>
          <ac:spMkLst>
            <pc:docMk/>
            <pc:sldMk cId="1019796053" sldId="2147472174"/>
            <ac:spMk id="3" creationId="{D89D2C51-301C-122D-36B5-768421CA838B}"/>
          </ac:spMkLst>
        </pc:spChg>
        <pc:spChg chg="add del">
          <ac:chgData name="Nicole Duyzers" userId="31f0efc2-85cf-4cd2-861c-931ad9f86626" providerId="ADAL" clId="{EC4884C5-7839-2547-8675-C9ACDD551AE3}" dt="2024-09-05T12:09:31.847" v="2109" actId="22"/>
          <ac:spMkLst>
            <pc:docMk/>
            <pc:sldMk cId="1019796053" sldId="2147472174"/>
            <ac:spMk id="5" creationId="{5E93F134-2380-6B70-6313-A2A869536815}"/>
          </ac:spMkLst>
        </pc:spChg>
        <pc:graphicFrameChg chg="add mod modGraphic">
          <ac:chgData name="Nicole Duyzers" userId="31f0efc2-85cf-4cd2-861c-931ad9f86626" providerId="ADAL" clId="{EC4884C5-7839-2547-8675-C9ACDD551AE3}" dt="2024-09-05T12:15:29.477" v="2173" actId="1076"/>
          <ac:graphicFrameMkLst>
            <pc:docMk/>
            <pc:sldMk cId="1019796053" sldId="2147472174"/>
            <ac:graphicFrameMk id="6" creationId="{5472DA4B-F608-AAA4-8D84-83F44365EAEC}"/>
          </ac:graphicFrameMkLst>
        </pc:graphicFrameChg>
      </pc:sldChg>
      <pc:sldChg chg="addSp delSp modSp new del mod">
        <pc:chgData name="Nicole Duyzers" userId="31f0efc2-85cf-4cd2-861c-931ad9f86626" providerId="ADAL" clId="{EC4884C5-7839-2547-8675-C9ACDD551AE3}" dt="2024-09-13T13:53:51.722" v="2462" actId="2696"/>
        <pc:sldMkLst>
          <pc:docMk/>
          <pc:sldMk cId="1294391137" sldId="2147472175"/>
        </pc:sldMkLst>
        <pc:spChg chg="mod">
          <ac:chgData name="Nicole Duyzers" userId="31f0efc2-85cf-4cd2-861c-931ad9f86626" providerId="ADAL" clId="{EC4884C5-7839-2547-8675-C9ACDD551AE3}" dt="2024-09-05T12:12:50.322" v="2141"/>
          <ac:spMkLst>
            <pc:docMk/>
            <pc:sldMk cId="1294391137" sldId="2147472175"/>
            <ac:spMk id="2" creationId="{A66E07BD-833E-8473-85C4-EE971A59D1C6}"/>
          </ac:spMkLst>
        </pc:spChg>
        <pc:spChg chg="del">
          <ac:chgData name="Nicole Duyzers" userId="31f0efc2-85cf-4cd2-861c-931ad9f86626" providerId="ADAL" clId="{EC4884C5-7839-2547-8675-C9ACDD551AE3}" dt="2024-09-05T12:13:21.043" v="2145" actId="478"/>
          <ac:spMkLst>
            <pc:docMk/>
            <pc:sldMk cId="1294391137" sldId="2147472175"/>
            <ac:spMk id="3" creationId="{108C8309-D74B-7C79-C79C-A22346FA2BD3}"/>
          </ac:spMkLst>
        </pc:spChg>
        <pc:spChg chg="add del">
          <ac:chgData name="Nicole Duyzers" userId="31f0efc2-85cf-4cd2-861c-931ad9f86626" providerId="ADAL" clId="{EC4884C5-7839-2547-8675-C9ACDD551AE3}" dt="2024-09-05T12:12:46.412" v="2139" actId="22"/>
          <ac:spMkLst>
            <pc:docMk/>
            <pc:sldMk cId="1294391137" sldId="2147472175"/>
            <ac:spMk id="5" creationId="{9AA8A95D-353D-2648-4B0E-0A7F68353471}"/>
          </ac:spMkLst>
        </pc:spChg>
        <pc:spChg chg="add mod">
          <ac:chgData name="Nicole Duyzers" userId="31f0efc2-85cf-4cd2-861c-931ad9f86626" providerId="ADAL" clId="{EC4884C5-7839-2547-8675-C9ACDD551AE3}" dt="2024-09-05T12:20:53.137" v="2221" actId="20577"/>
          <ac:spMkLst>
            <pc:docMk/>
            <pc:sldMk cId="1294391137" sldId="2147472175"/>
            <ac:spMk id="6" creationId="{FE0C0BB3-A2F7-5C36-15DF-06438EC0A10D}"/>
          </ac:spMkLst>
        </pc:spChg>
        <pc:spChg chg="mod">
          <ac:chgData name="Nicole Duyzers" userId="31f0efc2-85cf-4cd2-861c-931ad9f86626" providerId="ADAL" clId="{EC4884C5-7839-2547-8675-C9ACDD551AE3}" dt="2024-09-05T12:12:56.820" v="2142"/>
          <ac:spMkLst>
            <pc:docMk/>
            <pc:sldMk cId="1294391137" sldId="2147472175"/>
            <ac:spMk id="8" creationId="{4D8F63E4-3894-3802-3906-1138484DE654}"/>
          </ac:spMkLst>
        </pc:spChg>
        <pc:spChg chg="mod">
          <ac:chgData name="Nicole Duyzers" userId="31f0efc2-85cf-4cd2-861c-931ad9f86626" providerId="ADAL" clId="{EC4884C5-7839-2547-8675-C9ACDD551AE3}" dt="2024-09-05T12:12:56.820" v="2142"/>
          <ac:spMkLst>
            <pc:docMk/>
            <pc:sldMk cId="1294391137" sldId="2147472175"/>
            <ac:spMk id="9" creationId="{C72BD10E-3BD9-B678-1E8C-7D0576BD571C}"/>
          </ac:spMkLst>
        </pc:spChg>
        <pc:spChg chg="mod">
          <ac:chgData name="Nicole Duyzers" userId="31f0efc2-85cf-4cd2-861c-931ad9f86626" providerId="ADAL" clId="{EC4884C5-7839-2547-8675-C9ACDD551AE3}" dt="2024-09-05T12:12:56.820" v="2142"/>
          <ac:spMkLst>
            <pc:docMk/>
            <pc:sldMk cId="1294391137" sldId="2147472175"/>
            <ac:spMk id="10" creationId="{E17BDF14-A19B-5A34-0430-06F14CB35351}"/>
          </ac:spMkLst>
        </pc:spChg>
        <pc:spChg chg="mod">
          <ac:chgData name="Nicole Duyzers" userId="31f0efc2-85cf-4cd2-861c-931ad9f86626" providerId="ADAL" clId="{EC4884C5-7839-2547-8675-C9ACDD551AE3}" dt="2024-09-05T12:12:56.820" v="2142"/>
          <ac:spMkLst>
            <pc:docMk/>
            <pc:sldMk cId="1294391137" sldId="2147472175"/>
            <ac:spMk id="11" creationId="{863397FB-ABDC-B590-D4B4-6B0002CE740C}"/>
          </ac:spMkLst>
        </pc:spChg>
        <pc:spChg chg="mod">
          <ac:chgData name="Nicole Duyzers" userId="31f0efc2-85cf-4cd2-861c-931ad9f86626" providerId="ADAL" clId="{EC4884C5-7839-2547-8675-C9ACDD551AE3}" dt="2024-09-05T12:12:56.820" v="2142"/>
          <ac:spMkLst>
            <pc:docMk/>
            <pc:sldMk cId="1294391137" sldId="2147472175"/>
            <ac:spMk id="12" creationId="{60FDC6D4-6548-BFDB-CE4A-5705F828C3B6}"/>
          </ac:spMkLst>
        </pc:spChg>
        <pc:spChg chg="mod">
          <ac:chgData name="Nicole Duyzers" userId="31f0efc2-85cf-4cd2-861c-931ad9f86626" providerId="ADAL" clId="{EC4884C5-7839-2547-8675-C9ACDD551AE3}" dt="2024-09-05T12:12:56.820" v="2142"/>
          <ac:spMkLst>
            <pc:docMk/>
            <pc:sldMk cId="1294391137" sldId="2147472175"/>
            <ac:spMk id="16" creationId="{53B3F669-273E-F1FE-F55F-1D3EB557CD72}"/>
          </ac:spMkLst>
        </pc:spChg>
        <pc:spChg chg="mod">
          <ac:chgData name="Nicole Duyzers" userId="31f0efc2-85cf-4cd2-861c-931ad9f86626" providerId="ADAL" clId="{EC4884C5-7839-2547-8675-C9ACDD551AE3}" dt="2024-09-05T12:12:56.820" v="2142"/>
          <ac:spMkLst>
            <pc:docMk/>
            <pc:sldMk cId="1294391137" sldId="2147472175"/>
            <ac:spMk id="17" creationId="{5BD228CD-2067-5F8E-548D-D0905A311D27}"/>
          </ac:spMkLst>
        </pc:spChg>
        <pc:spChg chg="mod">
          <ac:chgData name="Nicole Duyzers" userId="31f0efc2-85cf-4cd2-861c-931ad9f86626" providerId="ADAL" clId="{EC4884C5-7839-2547-8675-C9ACDD551AE3}" dt="2024-09-05T12:12:56.820" v="2142"/>
          <ac:spMkLst>
            <pc:docMk/>
            <pc:sldMk cId="1294391137" sldId="2147472175"/>
            <ac:spMk id="18" creationId="{1FF8F00C-A013-97B0-46AB-9099AD313775}"/>
          </ac:spMkLst>
        </pc:spChg>
        <pc:spChg chg="mod">
          <ac:chgData name="Nicole Duyzers" userId="31f0efc2-85cf-4cd2-861c-931ad9f86626" providerId="ADAL" clId="{EC4884C5-7839-2547-8675-C9ACDD551AE3}" dt="2024-09-05T12:12:56.820" v="2142"/>
          <ac:spMkLst>
            <pc:docMk/>
            <pc:sldMk cId="1294391137" sldId="2147472175"/>
            <ac:spMk id="21" creationId="{A2949D85-9F27-F153-876D-D8D4681F09FA}"/>
          </ac:spMkLst>
        </pc:spChg>
        <pc:spChg chg="mod">
          <ac:chgData name="Nicole Duyzers" userId="31f0efc2-85cf-4cd2-861c-931ad9f86626" providerId="ADAL" clId="{EC4884C5-7839-2547-8675-C9ACDD551AE3}" dt="2024-09-05T12:12:56.820" v="2142"/>
          <ac:spMkLst>
            <pc:docMk/>
            <pc:sldMk cId="1294391137" sldId="2147472175"/>
            <ac:spMk id="22" creationId="{CAE1475C-D3FE-B9D1-6A11-EF2ED03B9501}"/>
          </ac:spMkLst>
        </pc:spChg>
        <pc:spChg chg="mod">
          <ac:chgData name="Nicole Duyzers" userId="31f0efc2-85cf-4cd2-861c-931ad9f86626" providerId="ADAL" clId="{EC4884C5-7839-2547-8675-C9ACDD551AE3}" dt="2024-09-05T12:12:56.820" v="2142"/>
          <ac:spMkLst>
            <pc:docMk/>
            <pc:sldMk cId="1294391137" sldId="2147472175"/>
            <ac:spMk id="23" creationId="{A4E363DC-097E-AE79-3115-27FFCB1BBF35}"/>
          </ac:spMkLst>
        </pc:spChg>
        <pc:spChg chg="mod">
          <ac:chgData name="Nicole Duyzers" userId="31f0efc2-85cf-4cd2-861c-931ad9f86626" providerId="ADAL" clId="{EC4884C5-7839-2547-8675-C9ACDD551AE3}" dt="2024-09-05T12:12:56.820" v="2142"/>
          <ac:spMkLst>
            <pc:docMk/>
            <pc:sldMk cId="1294391137" sldId="2147472175"/>
            <ac:spMk id="24" creationId="{10F72667-4DBC-E247-CE70-95795F9C2A37}"/>
          </ac:spMkLst>
        </pc:spChg>
        <pc:spChg chg="mod">
          <ac:chgData name="Nicole Duyzers" userId="31f0efc2-85cf-4cd2-861c-931ad9f86626" providerId="ADAL" clId="{EC4884C5-7839-2547-8675-C9ACDD551AE3}" dt="2024-09-05T12:12:56.820" v="2142"/>
          <ac:spMkLst>
            <pc:docMk/>
            <pc:sldMk cId="1294391137" sldId="2147472175"/>
            <ac:spMk id="25" creationId="{ECF7B3E4-78DF-C20F-4070-D64C69D4C63B}"/>
          </ac:spMkLst>
        </pc:spChg>
        <pc:spChg chg="mod">
          <ac:chgData name="Nicole Duyzers" userId="31f0efc2-85cf-4cd2-861c-931ad9f86626" providerId="ADAL" clId="{EC4884C5-7839-2547-8675-C9ACDD551AE3}" dt="2024-09-05T12:12:56.820" v="2142"/>
          <ac:spMkLst>
            <pc:docMk/>
            <pc:sldMk cId="1294391137" sldId="2147472175"/>
            <ac:spMk id="26" creationId="{81B25FDA-16B3-A17F-0109-6A6BC8B7439A}"/>
          </ac:spMkLst>
        </pc:spChg>
        <pc:grpChg chg="add mod">
          <ac:chgData name="Nicole Duyzers" userId="31f0efc2-85cf-4cd2-861c-931ad9f86626" providerId="ADAL" clId="{EC4884C5-7839-2547-8675-C9ACDD551AE3}" dt="2024-09-05T12:13:18.210" v="2144" actId="1076"/>
          <ac:grpSpMkLst>
            <pc:docMk/>
            <pc:sldMk cId="1294391137" sldId="2147472175"/>
            <ac:grpSpMk id="7" creationId="{3F2EDA5B-75CE-8AB8-66BE-AABC6270C8ED}"/>
          </ac:grpSpMkLst>
        </pc:grpChg>
        <pc:picChg chg="add mod">
          <ac:chgData name="Nicole Duyzers" userId="31f0efc2-85cf-4cd2-861c-931ad9f86626" providerId="ADAL" clId="{EC4884C5-7839-2547-8675-C9ACDD551AE3}" dt="2024-09-05T12:13:45.627" v="2154" actId="1076"/>
          <ac:picMkLst>
            <pc:docMk/>
            <pc:sldMk cId="1294391137" sldId="2147472175"/>
            <ac:picMk id="27" creationId="{A36F06FC-19D9-38CD-FB0A-6130AA5DF865}"/>
          </ac:picMkLst>
        </pc:picChg>
        <pc:cxnChg chg="mod">
          <ac:chgData name="Nicole Duyzers" userId="31f0efc2-85cf-4cd2-861c-931ad9f86626" providerId="ADAL" clId="{EC4884C5-7839-2547-8675-C9ACDD551AE3}" dt="2024-09-05T12:12:56.820" v="2142"/>
          <ac:cxnSpMkLst>
            <pc:docMk/>
            <pc:sldMk cId="1294391137" sldId="2147472175"/>
            <ac:cxnSpMk id="13" creationId="{A546C287-66C2-3C4A-573D-FDDB2E81EF73}"/>
          </ac:cxnSpMkLst>
        </pc:cxnChg>
        <pc:cxnChg chg="mod">
          <ac:chgData name="Nicole Duyzers" userId="31f0efc2-85cf-4cd2-861c-931ad9f86626" providerId="ADAL" clId="{EC4884C5-7839-2547-8675-C9ACDD551AE3}" dt="2024-09-05T12:12:56.820" v="2142"/>
          <ac:cxnSpMkLst>
            <pc:docMk/>
            <pc:sldMk cId="1294391137" sldId="2147472175"/>
            <ac:cxnSpMk id="14" creationId="{62D3CD2E-C9A9-C0B9-5ABD-CC9BB966F443}"/>
          </ac:cxnSpMkLst>
        </pc:cxnChg>
        <pc:cxnChg chg="mod">
          <ac:chgData name="Nicole Duyzers" userId="31f0efc2-85cf-4cd2-861c-931ad9f86626" providerId="ADAL" clId="{EC4884C5-7839-2547-8675-C9ACDD551AE3}" dt="2024-09-05T12:12:56.820" v="2142"/>
          <ac:cxnSpMkLst>
            <pc:docMk/>
            <pc:sldMk cId="1294391137" sldId="2147472175"/>
            <ac:cxnSpMk id="15" creationId="{9F9C8B76-BFC6-3206-1BB7-F13051730705}"/>
          </ac:cxnSpMkLst>
        </pc:cxnChg>
        <pc:cxnChg chg="mod">
          <ac:chgData name="Nicole Duyzers" userId="31f0efc2-85cf-4cd2-861c-931ad9f86626" providerId="ADAL" clId="{EC4884C5-7839-2547-8675-C9ACDD551AE3}" dt="2024-09-05T12:12:56.820" v="2142"/>
          <ac:cxnSpMkLst>
            <pc:docMk/>
            <pc:sldMk cId="1294391137" sldId="2147472175"/>
            <ac:cxnSpMk id="19" creationId="{ACDE7EA9-2162-8F27-BAAF-0F36855DC861}"/>
          </ac:cxnSpMkLst>
        </pc:cxnChg>
        <pc:cxnChg chg="mod">
          <ac:chgData name="Nicole Duyzers" userId="31f0efc2-85cf-4cd2-861c-931ad9f86626" providerId="ADAL" clId="{EC4884C5-7839-2547-8675-C9ACDD551AE3}" dt="2024-09-05T12:12:56.820" v="2142"/>
          <ac:cxnSpMkLst>
            <pc:docMk/>
            <pc:sldMk cId="1294391137" sldId="2147472175"/>
            <ac:cxnSpMk id="20" creationId="{CFC2E25B-2864-23A8-7403-2E7655134FE8}"/>
          </ac:cxnSpMkLst>
        </pc:cxnChg>
      </pc:sldChg>
      <pc:sldChg chg="addSp delSp modSp new mod modNotesTx">
        <pc:chgData name="Nicole Duyzers" userId="31f0efc2-85cf-4cd2-861c-931ad9f86626" providerId="ADAL" clId="{EC4884C5-7839-2547-8675-C9ACDD551AE3}" dt="2024-09-05T12:16:50.779" v="2187" actId="20577"/>
        <pc:sldMkLst>
          <pc:docMk/>
          <pc:sldMk cId="989246911" sldId="2147472176"/>
        </pc:sldMkLst>
        <pc:spChg chg="mod">
          <ac:chgData name="Nicole Duyzers" userId="31f0efc2-85cf-4cd2-861c-931ad9f86626" providerId="ADAL" clId="{EC4884C5-7839-2547-8675-C9ACDD551AE3}" dt="2024-09-05T12:16:20.930" v="2184"/>
          <ac:spMkLst>
            <pc:docMk/>
            <pc:sldMk cId="989246911" sldId="2147472176"/>
            <ac:spMk id="2" creationId="{FEB2CB87-FA21-6A5B-8FFF-0D6AEC0FEB0E}"/>
          </ac:spMkLst>
        </pc:spChg>
        <pc:spChg chg="del">
          <ac:chgData name="Nicole Duyzers" userId="31f0efc2-85cf-4cd2-861c-931ad9f86626" providerId="ADAL" clId="{EC4884C5-7839-2547-8675-C9ACDD551AE3}" dt="2024-09-05T12:15:51.964" v="2176" actId="478"/>
          <ac:spMkLst>
            <pc:docMk/>
            <pc:sldMk cId="989246911" sldId="2147472176"/>
            <ac:spMk id="3" creationId="{C58B028A-54D8-33DB-8302-AB09378C750D}"/>
          </ac:spMkLst>
        </pc:spChg>
        <pc:picChg chg="add mod">
          <ac:chgData name="Nicole Duyzers" userId="31f0efc2-85cf-4cd2-861c-931ad9f86626" providerId="ADAL" clId="{EC4884C5-7839-2547-8675-C9ACDD551AE3}" dt="2024-09-05T12:16:34.400" v="2185" actId="1076"/>
          <ac:picMkLst>
            <pc:docMk/>
            <pc:sldMk cId="989246911" sldId="2147472176"/>
            <ac:picMk id="4" creationId="{E4705C38-C79A-99A2-5177-DDF76D6875DA}"/>
          </ac:picMkLst>
        </pc:picChg>
        <pc:picChg chg="add mod">
          <ac:chgData name="Nicole Duyzers" userId="31f0efc2-85cf-4cd2-861c-931ad9f86626" providerId="ADAL" clId="{EC4884C5-7839-2547-8675-C9ACDD551AE3}" dt="2024-09-05T12:16:34.400" v="2185" actId="1076"/>
          <ac:picMkLst>
            <pc:docMk/>
            <pc:sldMk cId="989246911" sldId="2147472176"/>
            <ac:picMk id="5" creationId="{A5F17CFC-60E8-B097-6E8A-EE57C65E570C}"/>
          </ac:picMkLst>
        </pc:picChg>
        <pc:picChg chg="add mod">
          <ac:chgData name="Nicole Duyzers" userId="31f0efc2-85cf-4cd2-861c-931ad9f86626" providerId="ADAL" clId="{EC4884C5-7839-2547-8675-C9ACDD551AE3}" dt="2024-09-05T12:16:34.400" v="2185" actId="1076"/>
          <ac:picMkLst>
            <pc:docMk/>
            <pc:sldMk cId="989246911" sldId="2147472176"/>
            <ac:picMk id="6" creationId="{1D1D9BC9-5392-E2A3-2BDF-8C89C6B53B9F}"/>
          </ac:picMkLst>
        </pc:picChg>
        <pc:picChg chg="add mod">
          <ac:chgData name="Nicole Duyzers" userId="31f0efc2-85cf-4cd2-861c-931ad9f86626" providerId="ADAL" clId="{EC4884C5-7839-2547-8675-C9ACDD551AE3}" dt="2024-09-05T12:16:34.400" v="2185" actId="1076"/>
          <ac:picMkLst>
            <pc:docMk/>
            <pc:sldMk cId="989246911" sldId="2147472176"/>
            <ac:picMk id="7" creationId="{11947EC6-7A68-96DE-458E-B38A6C719F50}"/>
          </ac:picMkLst>
        </pc:picChg>
        <pc:picChg chg="add mod">
          <ac:chgData name="Nicole Duyzers" userId="31f0efc2-85cf-4cd2-861c-931ad9f86626" providerId="ADAL" clId="{EC4884C5-7839-2547-8675-C9ACDD551AE3}" dt="2024-09-05T12:16:34.400" v="2185" actId="1076"/>
          <ac:picMkLst>
            <pc:docMk/>
            <pc:sldMk cId="989246911" sldId="2147472176"/>
            <ac:picMk id="8" creationId="{BE62CD2B-CD99-A33A-D5FC-A75EC4017FDF}"/>
          </ac:picMkLst>
        </pc:picChg>
        <pc:picChg chg="add mod">
          <ac:chgData name="Nicole Duyzers" userId="31f0efc2-85cf-4cd2-861c-931ad9f86626" providerId="ADAL" clId="{EC4884C5-7839-2547-8675-C9ACDD551AE3}" dt="2024-09-05T12:16:34.400" v="2185" actId="1076"/>
          <ac:picMkLst>
            <pc:docMk/>
            <pc:sldMk cId="989246911" sldId="2147472176"/>
            <ac:picMk id="9" creationId="{D9704603-5CB5-904E-DE0E-B6A47FF2D7D6}"/>
          </ac:picMkLst>
        </pc:picChg>
        <pc:picChg chg="add mod">
          <ac:chgData name="Nicole Duyzers" userId="31f0efc2-85cf-4cd2-861c-931ad9f86626" providerId="ADAL" clId="{EC4884C5-7839-2547-8675-C9ACDD551AE3}" dt="2024-09-05T12:16:34.400" v="2185" actId="1076"/>
          <ac:picMkLst>
            <pc:docMk/>
            <pc:sldMk cId="989246911" sldId="2147472176"/>
            <ac:picMk id="10" creationId="{A08EDC02-886F-38B1-750B-3E853EDAB6E1}"/>
          </ac:picMkLst>
        </pc:picChg>
        <pc:picChg chg="add mod">
          <ac:chgData name="Nicole Duyzers" userId="31f0efc2-85cf-4cd2-861c-931ad9f86626" providerId="ADAL" clId="{EC4884C5-7839-2547-8675-C9ACDD551AE3}" dt="2024-09-05T12:16:34.400" v="2185" actId="1076"/>
          <ac:picMkLst>
            <pc:docMk/>
            <pc:sldMk cId="989246911" sldId="2147472176"/>
            <ac:picMk id="11" creationId="{02BD14DD-65A8-095E-5CD6-BC00BFCEACD7}"/>
          </ac:picMkLst>
        </pc:picChg>
        <pc:picChg chg="add mod">
          <ac:chgData name="Nicole Duyzers" userId="31f0efc2-85cf-4cd2-861c-931ad9f86626" providerId="ADAL" clId="{EC4884C5-7839-2547-8675-C9ACDD551AE3}" dt="2024-09-05T12:16:34.400" v="2185" actId="1076"/>
          <ac:picMkLst>
            <pc:docMk/>
            <pc:sldMk cId="989246911" sldId="2147472176"/>
            <ac:picMk id="12" creationId="{A7555105-FF17-7CA3-CA27-6CE49C2F3CE3}"/>
          </ac:picMkLst>
        </pc:picChg>
      </pc:sldChg>
      <pc:sldChg chg="modSp mod modClrScheme chgLayout">
        <pc:chgData name="Nicole Duyzers" userId="31f0efc2-85cf-4cd2-861c-931ad9f86626" providerId="ADAL" clId="{EC4884C5-7839-2547-8675-C9ACDD551AE3}" dt="2024-09-13T13:58:18.969" v="2493" actId="1076"/>
        <pc:sldMkLst>
          <pc:docMk/>
          <pc:sldMk cId="3655596030" sldId="2147472176"/>
        </pc:sldMkLst>
        <pc:spChg chg="mod ord">
          <ac:chgData name="Nicole Duyzers" userId="31f0efc2-85cf-4cd2-861c-931ad9f86626" providerId="ADAL" clId="{EC4884C5-7839-2547-8675-C9ACDD551AE3}" dt="2024-09-13T13:57:55.347" v="2492" actId="700"/>
          <ac:spMkLst>
            <pc:docMk/>
            <pc:sldMk cId="3655596030" sldId="2147472176"/>
            <ac:spMk id="2" creationId="{FEB2CB87-FA21-6A5B-8FFF-0D6AEC0FEB0E}"/>
          </ac:spMkLst>
        </pc:spChg>
        <pc:picChg chg="mod">
          <ac:chgData name="Nicole Duyzers" userId="31f0efc2-85cf-4cd2-861c-931ad9f86626" providerId="ADAL" clId="{EC4884C5-7839-2547-8675-C9ACDD551AE3}" dt="2024-09-13T13:58:18.969" v="2493" actId="1076"/>
          <ac:picMkLst>
            <pc:docMk/>
            <pc:sldMk cId="3655596030" sldId="2147472176"/>
            <ac:picMk id="4" creationId="{E4705C38-C79A-99A2-5177-DDF76D6875DA}"/>
          </ac:picMkLst>
        </pc:picChg>
        <pc:picChg chg="mod">
          <ac:chgData name="Nicole Duyzers" userId="31f0efc2-85cf-4cd2-861c-931ad9f86626" providerId="ADAL" clId="{EC4884C5-7839-2547-8675-C9ACDD551AE3}" dt="2024-09-13T13:58:18.969" v="2493" actId="1076"/>
          <ac:picMkLst>
            <pc:docMk/>
            <pc:sldMk cId="3655596030" sldId="2147472176"/>
            <ac:picMk id="5" creationId="{A5F17CFC-60E8-B097-6E8A-EE57C65E570C}"/>
          </ac:picMkLst>
        </pc:picChg>
        <pc:picChg chg="mod">
          <ac:chgData name="Nicole Duyzers" userId="31f0efc2-85cf-4cd2-861c-931ad9f86626" providerId="ADAL" clId="{EC4884C5-7839-2547-8675-C9ACDD551AE3}" dt="2024-09-13T13:58:18.969" v="2493" actId="1076"/>
          <ac:picMkLst>
            <pc:docMk/>
            <pc:sldMk cId="3655596030" sldId="2147472176"/>
            <ac:picMk id="6" creationId="{1D1D9BC9-5392-E2A3-2BDF-8C89C6B53B9F}"/>
          </ac:picMkLst>
        </pc:picChg>
        <pc:picChg chg="mod">
          <ac:chgData name="Nicole Duyzers" userId="31f0efc2-85cf-4cd2-861c-931ad9f86626" providerId="ADAL" clId="{EC4884C5-7839-2547-8675-C9ACDD551AE3}" dt="2024-09-13T13:58:18.969" v="2493" actId="1076"/>
          <ac:picMkLst>
            <pc:docMk/>
            <pc:sldMk cId="3655596030" sldId="2147472176"/>
            <ac:picMk id="7" creationId="{11947EC6-7A68-96DE-458E-B38A6C719F50}"/>
          </ac:picMkLst>
        </pc:picChg>
        <pc:picChg chg="mod">
          <ac:chgData name="Nicole Duyzers" userId="31f0efc2-85cf-4cd2-861c-931ad9f86626" providerId="ADAL" clId="{EC4884C5-7839-2547-8675-C9ACDD551AE3}" dt="2024-09-13T13:58:18.969" v="2493" actId="1076"/>
          <ac:picMkLst>
            <pc:docMk/>
            <pc:sldMk cId="3655596030" sldId="2147472176"/>
            <ac:picMk id="8" creationId="{BE62CD2B-CD99-A33A-D5FC-A75EC4017FDF}"/>
          </ac:picMkLst>
        </pc:picChg>
        <pc:picChg chg="mod">
          <ac:chgData name="Nicole Duyzers" userId="31f0efc2-85cf-4cd2-861c-931ad9f86626" providerId="ADAL" clId="{EC4884C5-7839-2547-8675-C9ACDD551AE3}" dt="2024-09-13T13:58:18.969" v="2493" actId="1076"/>
          <ac:picMkLst>
            <pc:docMk/>
            <pc:sldMk cId="3655596030" sldId="2147472176"/>
            <ac:picMk id="9" creationId="{D9704603-5CB5-904E-DE0E-B6A47FF2D7D6}"/>
          </ac:picMkLst>
        </pc:picChg>
        <pc:picChg chg="mod">
          <ac:chgData name="Nicole Duyzers" userId="31f0efc2-85cf-4cd2-861c-931ad9f86626" providerId="ADAL" clId="{EC4884C5-7839-2547-8675-C9ACDD551AE3}" dt="2024-09-13T13:58:18.969" v="2493" actId="1076"/>
          <ac:picMkLst>
            <pc:docMk/>
            <pc:sldMk cId="3655596030" sldId="2147472176"/>
            <ac:picMk id="10" creationId="{A08EDC02-886F-38B1-750B-3E853EDAB6E1}"/>
          </ac:picMkLst>
        </pc:picChg>
        <pc:picChg chg="mod">
          <ac:chgData name="Nicole Duyzers" userId="31f0efc2-85cf-4cd2-861c-931ad9f86626" providerId="ADAL" clId="{EC4884C5-7839-2547-8675-C9ACDD551AE3}" dt="2024-09-13T13:58:18.969" v="2493" actId="1076"/>
          <ac:picMkLst>
            <pc:docMk/>
            <pc:sldMk cId="3655596030" sldId="2147472176"/>
            <ac:picMk id="11" creationId="{02BD14DD-65A8-095E-5CD6-BC00BFCEACD7}"/>
          </ac:picMkLst>
        </pc:picChg>
        <pc:picChg chg="mod">
          <ac:chgData name="Nicole Duyzers" userId="31f0efc2-85cf-4cd2-861c-931ad9f86626" providerId="ADAL" clId="{EC4884C5-7839-2547-8675-C9ACDD551AE3}" dt="2024-09-13T13:58:18.969" v="2493" actId="1076"/>
          <ac:picMkLst>
            <pc:docMk/>
            <pc:sldMk cId="3655596030" sldId="2147472176"/>
            <ac:picMk id="12" creationId="{A7555105-FF17-7CA3-CA27-6CE49C2F3CE3}"/>
          </ac:picMkLst>
        </pc:picChg>
      </pc:sldChg>
      <pc:sldChg chg="addSp delSp modSp new del mod">
        <pc:chgData name="Nicole Duyzers" userId="31f0efc2-85cf-4cd2-861c-931ad9f86626" providerId="ADAL" clId="{EC4884C5-7839-2547-8675-C9ACDD551AE3}" dt="2024-09-13T13:54:53.658" v="2474" actId="2696"/>
        <pc:sldMkLst>
          <pc:docMk/>
          <pc:sldMk cId="3926297306" sldId="2147472177"/>
        </pc:sldMkLst>
        <pc:spChg chg="mod">
          <ac:chgData name="Nicole Duyzers" userId="31f0efc2-85cf-4cd2-861c-931ad9f86626" providerId="ADAL" clId="{EC4884C5-7839-2547-8675-C9ACDD551AE3}" dt="2024-09-05T12:17:40.410" v="2191"/>
          <ac:spMkLst>
            <pc:docMk/>
            <pc:sldMk cId="3926297306" sldId="2147472177"/>
            <ac:spMk id="2" creationId="{5306AA56-713A-6249-ECC8-E4CADEDA18C9}"/>
          </ac:spMkLst>
        </pc:spChg>
        <pc:spChg chg="del">
          <ac:chgData name="Nicole Duyzers" userId="31f0efc2-85cf-4cd2-861c-931ad9f86626" providerId="ADAL" clId="{EC4884C5-7839-2547-8675-C9ACDD551AE3}" dt="2024-09-05T12:17:50.939" v="2194" actId="478"/>
          <ac:spMkLst>
            <pc:docMk/>
            <pc:sldMk cId="3926297306" sldId="2147472177"/>
            <ac:spMk id="3" creationId="{5747B842-A19C-5F84-43F9-8D2623DA4073}"/>
          </ac:spMkLst>
        </pc:spChg>
        <pc:picChg chg="add mod">
          <ac:chgData name="Nicole Duyzers" userId="31f0efc2-85cf-4cd2-861c-931ad9f86626" providerId="ADAL" clId="{EC4884C5-7839-2547-8675-C9ACDD551AE3}" dt="2024-09-05T12:18:14.846" v="2196" actId="1076"/>
          <ac:picMkLst>
            <pc:docMk/>
            <pc:sldMk cId="3926297306" sldId="2147472177"/>
            <ac:picMk id="4" creationId="{59F668C6-EC90-1892-1ADD-643810172B19}"/>
          </ac:picMkLst>
        </pc:picChg>
      </pc:sldChg>
      <pc:sldChg chg="delSp modSp new del mod">
        <pc:chgData name="Nicole Duyzers" userId="31f0efc2-85cf-4cd2-861c-931ad9f86626" providerId="ADAL" clId="{EC4884C5-7839-2547-8675-C9ACDD551AE3}" dt="2024-09-05T12:22:05.642" v="2264" actId="2696"/>
        <pc:sldMkLst>
          <pc:docMk/>
          <pc:sldMk cId="13501838" sldId="2147472178"/>
        </pc:sldMkLst>
        <pc:spChg chg="mod">
          <ac:chgData name="Nicole Duyzers" userId="31f0efc2-85cf-4cd2-861c-931ad9f86626" providerId="ADAL" clId="{EC4884C5-7839-2547-8675-C9ACDD551AE3}" dt="2024-09-05T12:18:50.128" v="2203" actId="14100"/>
          <ac:spMkLst>
            <pc:docMk/>
            <pc:sldMk cId="13501838" sldId="2147472178"/>
            <ac:spMk id="2" creationId="{45BED030-CBA6-6014-8CF4-358C12EE5DF9}"/>
          </ac:spMkLst>
        </pc:spChg>
        <pc:spChg chg="del">
          <ac:chgData name="Nicole Duyzers" userId="31f0efc2-85cf-4cd2-861c-931ad9f86626" providerId="ADAL" clId="{EC4884C5-7839-2547-8675-C9ACDD551AE3}" dt="2024-09-05T12:18:54.067" v="2204" actId="478"/>
          <ac:spMkLst>
            <pc:docMk/>
            <pc:sldMk cId="13501838" sldId="2147472178"/>
            <ac:spMk id="3" creationId="{6345436F-39FF-8FC5-CDBF-5CC991A8D7F1}"/>
          </ac:spMkLst>
        </pc:spChg>
      </pc:sldChg>
      <pc:sldChg chg="new modTransition">
        <pc:chgData name="Nicole Duyzers" userId="31f0efc2-85cf-4cd2-861c-931ad9f86626" providerId="ADAL" clId="{EC4884C5-7839-2547-8675-C9ACDD551AE3}" dt="2024-09-05T12:26:09.975" v="2287"/>
        <pc:sldMkLst>
          <pc:docMk/>
          <pc:sldMk cId="936803666" sldId="2147472179"/>
        </pc:sldMkLst>
      </pc:sldChg>
      <pc:sldChg chg="addSp delSp modSp new mod">
        <pc:chgData name="Nicole Duyzers" userId="31f0efc2-85cf-4cd2-861c-931ad9f86626" providerId="ADAL" clId="{EC4884C5-7839-2547-8675-C9ACDD551AE3}" dt="2024-09-05T12:27:04.776" v="2293" actId="1076"/>
        <pc:sldMkLst>
          <pc:docMk/>
          <pc:sldMk cId="1350021132" sldId="2147472180"/>
        </pc:sldMkLst>
        <pc:spChg chg="mod">
          <ac:chgData name="Nicole Duyzers" userId="31f0efc2-85cf-4cd2-861c-931ad9f86626" providerId="ADAL" clId="{EC4884C5-7839-2547-8675-C9ACDD551AE3}" dt="2024-09-05T12:22:02.512" v="2263"/>
          <ac:spMkLst>
            <pc:docMk/>
            <pc:sldMk cId="1350021132" sldId="2147472180"/>
            <ac:spMk id="2" creationId="{A8B298B7-1C5F-9307-397E-FB351A5FE803}"/>
          </ac:spMkLst>
        </pc:spChg>
        <pc:spChg chg="del">
          <ac:chgData name="Nicole Duyzers" userId="31f0efc2-85cf-4cd2-861c-931ad9f86626" providerId="ADAL" clId="{EC4884C5-7839-2547-8675-C9ACDD551AE3}" dt="2024-09-05T12:26:48.281" v="2288"/>
          <ac:spMkLst>
            <pc:docMk/>
            <pc:sldMk cId="1350021132" sldId="2147472180"/>
            <ac:spMk id="3" creationId="{02A82561-E773-2104-4B14-0440D7E20D08}"/>
          </ac:spMkLst>
        </pc:spChg>
        <pc:picChg chg="add mod">
          <ac:chgData name="Nicole Duyzers" userId="31f0efc2-85cf-4cd2-861c-931ad9f86626" providerId="ADAL" clId="{EC4884C5-7839-2547-8675-C9ACDD551AE3}" dt="2024-09-05T12:27:04.776" v="2293" actId="1076"/>
          <ac:picMkLst>
            <pc:docMk/>
            <pc:sldMk cId="1350021132" sldId="2147472180"/>
            <ac:picMk id="5" creationId="{049BE0AF-3BFE-D41A-649C-81FAA53D5A10}"/>
          </ac:picMkLst>
        </pc:picChg>
      </pc:sldChg>
      <pc:sldChg chg="modSp new del mod modShow">
        <pc:chgData name="Nicole Duyzers" userId="31f0efc2-85cf-4cd2-861c-931ad9f86626" providerId="ADAL" clId="{EC4884C5-7839-2547-8675-C9ACDD551AE3}" dt="2024-09-13T13:55:35.119" v="2481" actId="2696"/>
        <pc:sldMkLst>
          <pc:docMk/>
          <pc:sldMk cId="3403028391" sldId="2147472181"/>
        </pc:sldMkLst>
        <pc:spChg chg="mod">
          <ac:chgData name="Nicole Duyzers" userId="31f0efc2-85cf-4cd2-861c-931ad9f86626" providerId="ADAL" clId="{EC4884C5-7839-2547-8675-C9ACDD551AE3}" dt="2024-09-05T12:22:27.908" v="2270"/>
          <ac:spMkLst>
            <pc:docMk/>
            <pc:sldMk cId="3403028391" sldId="2147472181"/>
            <ac:spMk id="2" creationId="{AD6480C7-0DA0-E603-342D-DD7BD0AB608C}"/>
          </ac:spMkLst>
        </pc:spChg>
        <pc:spChg chg="mod">
          <ac:chgData name="Nicole Duyzers" userId="31f0efc2-85cf-4cd2-861c-931ad9f86626" providerId="ADAL" clId="{EC4884C5-7839-2547-8675-C9ACDD551AE3}" dt="2024-09-13T13:55:30.833" v="2480" actId="14100"/>
          <ac:spMkLst>
            <pc:docMk/>
            <pc:sldMk cId="3403028391" sldId="2147472181"/>
            <ac:spMk id="3" creationId="{D26F0966-5C67-2A7C-5ED8-97822520952D}"/>
          </ac:spMkLst>
        </pc:spChg>
      </pc:sldChg>
      <pc:sldChg chg="modSp mod modNotesTx">
        <pc:chgData name="Nicole Duyzers" userId="31f0efc2-85cf-4cd2-861c-931ad9f86626" providerId="ADAL" clId="{EC4884C5-7839-2547-8675-C9ACDD551AE3}" dt="2024-09-13T13:50:09.215" v="2422" actId="790"/>
        <pc:sldMkLst>
          <pc:docMk/>
          <pc:sldMk cId="2729246422" sldId="2147472182"/>
        </pc:sldMkLst>
        <pc:spChg chg="mod">
          <ac:chgData name="Nicole Duyzers" userId="31f0efc2-85cf-4cd2-861c-931ad9f86626" providerId="ADAL" clId="{EC4884C5-7839-2547-8675-C9ACDD551AE3}" dt="2024-09-13T12:13:22.370" v="2303" actId="27636"/>
          <ac:spMkLst>
            <pc:docMk/>
            <pc:sldMk cId="2729246422" sldId="2147472182"/>
            <ac:spMk id="2" creationId="{798C48CE-9292-0D3D-1622-F13168D7474B}"/>
          </ac:spMkLst>
        </pc:spChg>
      </pc:sldChg>
      <pc:sldChg chg="modSp mod modNotesTx">
        <pc:chgData name="Nicole Duyzers" userId="31f0efc2-85cf-4cd2-861c-931ad9f86626" providerId="ADAL" clId="{EC4884C5-7839-2547-8675-C9ACDD551AE3}" dt="2024-09-13T14:02:00.573" v="2537" actId="790"/>
        <pc:sldMkLst>
          <pc:docMk/>
          <pc:sldMk cId="2992694345" sldId="2147472183"/>
        </pc:sldMkLst>
        <pc:spChg chg="mod">
          <ac:chgData name="Nicole Duyzers" userId="31f0efc2-85cf-4cd2-861c-931ad9f86626" providerId="ADAL" clId="{EC4884C5-7839-2547-8675-C9ACDD551AE3}" dt="2024-09-13T14:01:53.675" v="2536" actId="20577"/>
          <ac:spMkLst>
            <pc:docMk/>
            <pc:sldMk cId="2992694345" sldId="2147472183"/>
            <ac:spMk id="2" creationId="{B1FC3181-CA59-7E86-1DBF-FC7978A77CB3}"/>
          </ac:spMkLst>
        </pc:spChg>
      </pc:sldChg>
      <pc:sldChg chg="modSp mod modClrScheme chgLayout">
        <pc:chgData name="Nicole Duyzers" userId="31f0efc2-85cf-4cd2-861c-931ad9f86626" providerId="ADAL" clId="{EC4884C5-7839-2547-8675-C9ACDD551AE3}" dt="2024-09-13T13:58:52.968" v="2495" actId="1076"/>
        <pc:sldMkLst>
          <pc:docMk/>
          <pc:sldMk cId="2452424593" sldId="2147472184"/>
        </pc:sldMkLst>
        <pc:spChg chg="mod ord">
          <ac:chgData name="Nicole Duyzers" userId="31f0efc2-85cf-4cd2-861c-931ad9f86626" providerId="ADAL" clId="{EC4884C5-7839-2547-8675-C9ACDD551AE3}" dt="2024-09-13T13:58:41.234" v="2494" actId="700"/>
          <ac:spMkLst>
            <pc:docMk/>
            <pc:sldMk cId="2452424593" sldId="2147472184"/>
            <ac:spMk id="2" creationId="{4BE5064E-C532-0289-19AE-E2B4389D69DB}"/>
          </ac:spMkLst>
        </pc:spChg>
        <pc:spChg chg="mod ord">
          <ac:chgData name="Nicole Duyzers" userId="31f0efc2-85cf-4cd2-861c-931ad9f86626" providerId="ADAL" clId="{EC4884C5-7839-2547-8675-C9ACDD551AE3}" dt="2024-09-13T13:58:52.968" v="2495" actId="1076"/>
          <ac:spMkLst>
            <pc:docMk/>
            <pc:sldMk cId="2452424593" sldId="2147472184"/>
            <ac:spMk id="3" creationId="{4B2366B6-26A5-399C-48B2-207DFF5F9977}"/>
          </ac:spMkLst>
        </pc:spChg>
      </pc:sldChg>
      <pc:sldChg chg="delSp modSp mod modNotesTx">
        <pc:chgData name="Nicole Duyzers" userId="31f0efc2-85cf-4cd2-861c-931ad9f86626" providerId="ADAL" clId="{EC4884C5-7839-2547-8675-C9ACDD551AE3}" dt="2024-09-13T14:01:42.522" v="2533"/>
        <pc:sldMkLst>
          <pc:docMk/>
          <pc:sldMk cId="3903285682" sldId="2147472185"/>
        </pc:sldMkLst>
        <pc:spChg chg="mod">
          <ac:chgData name="Nicole Duyzers" userId="31f0efc2-85cf-4cd2-861c-931ad9f86626" providerId="ADAL" clId="{EC4884C5-7839-2547-8675-C9ACDD551AE3}" dt="2024-09-13T14:01:42.522" v="2533"/>
          <ac:spMkLst>
            <pc:docMk/>
            <pc:sldMk cId="3903285682" sldId="2147472185"/>
            <ac:spMk id="2" creationId="{3B496D4C-FB50-F156-67C2-AB112F9872B0}"/>
          </ac:spMkLst>
        </pc:spChg>
        <pc:spChg chg="mod">
          <ac:chgData name="Nicole Duyzers" userId="31f0efc2-85cf-4cd2-861c-931ad9f86626" providerId="ADAL" clId="{EC4884C5-7839-2547-8675-C9ACDD551AE3}" dt="2024-09-13T14:00:30.940" v="2512" actId="1076"/>
          <ac:spMkLst>
            <pc:docMk/>
            <pc:sldMk cId="3903285682" sldId="2147472185"/>
            <ac:spMk id="5" creationId="{21429840-52D4-E2AB-DB8F-733049D34FB4}"/>
          </ac:spMkLst>
        </pc:spChg>
        <pc:spChg chg="mod">
          <ac:chgData name="Nicole Duyzers" userId="31f0efc2-85cf-4cd2-861c-931ad9f86626" providerId="ADAL" clId="{EC4884C5-7839-2547-8675-C9ACDD551AE3}" dt="2024-09-13T14:00:27.430" v="2511" actId="1076"/>
          <ac:spMkLst>
            <pc:docMk/>
            <pc:sldMk cId="3903285682" sldId="2147472185"/>
            <ac:spMk id="8" creationId="{0115439D-D74E-5637-FC04-50886A4D8D12}"/>
          </ac:spMkLst>
        </pc:spChg>
        <pc:spChg chg="mod">
          <ac:chgData name="Nicole Duyzers" userId="31f0efc2-85cf-4cd2-861c-931ad9f86626" providerId="ADAL" clId="{EC4884C5-7839-2547-8675-C9ACDD551AE3}" dt="2024-09-13T14:00:35.831" v="2514" actId="20578"/>
          <ac:spMkLst>
            <pc:docMk/>
            <pc:sldMk cId="3903285682" sldId="2147472185"/>
            <ac:spMk id="10" creationId="{8C562D18-1764-B0B4-9129-660E3CF5AADA}"/>
          </ac:spMkLst>
        </pc:spChg>
        <pc:picChg chg="mod">
          <ac:chgData name="Nicole Duyzers" userId="31f0efc2-85cf-4cd2-861c-931ad9f86626" providerId="ADAL" clId="{EC4884C5-7839-2547-8675-C9ACDD551AE3}" dt="2024-09-13T14:01:02.042" v="2517" actId="208"/>
          <ac:picMkLst>
            <pc:docMk/>
            <pc:sldMk cId="3903285682" sldId="2147472185"/>
            <ac:picMk id="3" creationId="{DB4D887B-B001-B688-B736-548C0F4ECB56}"/>
          </ac:picMkLst>
        </pc:picChg>
        <pc:picChg chg="del">
          <ac:chgData name="Nicole Duyzers" userId="31f0efc2-85cf-4cd2-861c-931ad9f86626" providerId="ADAL" clId="{EC4884C5-7839-2547-8675-C9ACDD551AE3}" dt="2024-09-13T13:50:21.909" v="2423" actId="478"/>
          <ac:picMkLst>
            <pc:docMk/>
            <pc:sldMk cId="3903285682" sldId="2147472185"/>
            <ac:picMk id="6" creationId="{56926EAD-7C47-FB40-5B83-A68506C710DF}"/>
          </ac:picMkLst>
        </pc:picChg>
        <pc:picChg chg="mod">
          <ac:chgData name="Nicole Duyzers" userId="31f0efc2-85cf-4cd2-861c-931ad9f86626" providerId="ADAL" clId="{EC4884C5-7839-2547-8675-C9ACDD551AE3}" dt="2024-09-13T14:01:04.720" v="2518" actId="208"/>
          <ac:picMkLst>
            <pc:docMk/>
            <pc:sldMk cId="3903285682" sldId="2147472185"/>
            <ac:picMk id="1026" creationId="{838A0208-ADEA-7316-3FB0-200BA78B3624}"/>
          </ac:picMkLst>
        </pc:picChg>
      </pc:sldChg>
      <pc:sldChg chg="modSp new del mod">
        <pc:chgData name="Nicole Duyzers" userId="31f0efc2-85cf-4cd2-861c-931ad9f86626" providerId="ADAL" clId="{EC4884C5-7839-2547-8675-C9ACDD551AE3}" dt="2024-09-13T13:49:37.384" v="2418" actId="2696"/>
        <pc:sldMkLst>
          <pc:docMk/>
          <pc:sldMk cId="830733863" sldId="2147472186"/>
        </pc:sldMkLst>
        <pc:spChg chg="mod">
          <ac:chgData name="Nicole Duyzers" userId="31f0efc2-85cf-4cd2-861c-931ad9f86626" providerId="ADAL" clId="{EC4884C5-7839-2547-8675-C9ACDD551AE3}" dt="2024-09-13T12:13:22.346" v="2302"/>
          <ac:spMkLst>
            <pc:docMk/>
            <pc:sldMk cId="830733863" sldId="2147472186"/>
            <ac:spMk id="2" creationId="{63B5583C-5C8E-8AD1-1745-C6005AE6EED6}"/>
          </ac:spMkLst>
        </pc:spChg>
      </pc:sldChg>
      <pc:sldChg chg="addSp modSp new del mod modClrScheme chgLayout modNotesTx">
        <pc:chgData name="Nicole Duyzers" userId="31f0efc2-85cf-4cd2-861c-931ad9f86626" providerId="ADAL" clId="{EC4884C5-7839-2547-8675-C9ACDD551AE3}" dt="2024-09-13T14:04:16.107" v="2547" actId="2696"/>
        <pc:sldMkLst>
          <pc:docMk/>
          <pc:sldMk cId="3400179067" sldId="2147472187"/>
        </pc:sldMkLst>
        <pc:spChg chg="mod ord">
          <ac:chgData name="Nicole Duyzers" userId="31f0efc2-85cf-4cd2-861c-931ad9f86626" providerId="ADAL" clId="{EC4884C5-7839-2547-8675-C9ACDD551AE3}" dt="2024-09-13T14:03:33.435" v="2540" actId="700"/>
          <ac:spMkLst>
            <pc:docMk/>
            <pc:sldMk cId="3400179067" sldId="2147472187"/>
            <ac:spMk id="2" creationId="{F38CA87F-B75C-F159-F137-B44C6EB872B2}"/>
          </ac:spMkLst>
        </pc:spChg>
        <pc:spChg chg="mod ord">
          <ac:chgData name="Nicole Duyzers" userId="31f0efc2-85cf-4cd2-861c-931ad9f86626" providerId="ADAL" clId="{EC4884C5-7839-2547-8675-C9ACDD551AE3}" dt="2024-09-13T14:03:33.435" v="2540" actId="700"/>
          <ac:spMkLst>
            <pc:docMk/>
            <pc:sldMk cId="3400179067" sldId="2147472187"/>
            <ac:spMk id="3" creationId="{B4B7B0F0-C1F5-8A38-9B78-5BA185CD4570}"/>
          </ac:spMkLst>
        </pc:spChg>
        <pc:spChg chg="add mod">
          <ac:chgData name="Nicole Duyzers" userId="31f0efc2-85cf-4cd2-861c-931ad9f86626" providerId="ADAL" clId="{EC4884C5-7839-2547-8675-C9ACDD551AE3}" dt="2024-09-13T13:49:07.792" v="2415"/>
          <ac:spMkLst>
            <pc:docMk/>
            <pc:sldMk cId="3400179067" sldId="2147472187"/>
            <ac:spMk id="5" creationId="{E832117C-0295-9BA7-D4A4-DE9C2D1F178F}"/>
          </ac:spMkLst>
        </pc:spChg>
        <pc:picChg chg="add mod">
          <ac:chgData name="Nicole Duyzers" userId="31f0efc2-85cf-4cd2-861c-931ad9f86626" providerId="ADAL" clId="{EC4884C5-7839-2547-8675-C9ACDD551AE3}" dt="2024-09-13T13:48:46.691" v="2408" actId="1076"/>
          <ac:picMkLst>
            <pc:docMk/>
            <pc:sldMk cId="3400179067" sldId="2147472187"/>
            <ac:picMk id="4" creationId="{E6EE3523-C379-680E-BF9E-4D7C32E88AF5}"/>
          </ac:picMkLst>
        </pc:picChg>
      </pc:sldChg>
      <pc:sldChg chg="addSp delSp modSp new del mod">
        <pc:chgData name="Nicole Duyzers" userId="31f0efc2-85cf-4cd2-861c-931ad9f86626" providerId="ADAL" clId="{EC4884C5-7839-2547-8675-C9ACDD551AE3}" dt="2024-09-13T13:48:15.553" v="2400" actId="2696"/>
        <pc:sldMkLst>
          <pc:docMk/>
          <pc:sldMk cId="1413358995" sldId="2147472188"/>
        </pc:sldMkLst>
        <pc:spChg chg="del">
          <ac:chgData name="Nicole Duyzers" userId="31f0efc2-85cf-4cd2-861c-931ad9f86626" providerId="ADAL" clId="{EC4884C5-7839-2547-8675-C9ACDD551AE3}" dt="2024-09-13T13:48:04.298" v="2398" actId="26606"/>
          <ac:spMkLst>
            <pc:docMk/>
            <pc:sldMk cId="1413358995" sldId="2147472188"/>
            <ac:spMk id="2" creationId="{63FCE1D3-7580-5388-5E76-24C7060A0BFC}"/>
          </ac:spMkLst>
        </pc:spChg>
        <pc:spChg chg="del">
          <ac:chgData name="Nicole Duyzers" userId="31f0efc2-85cf-4cd2-861c-931ad9f86626" providerId="ADAL" clId="{EC4884C5-7839-2547-8675-C9ACDD551AE3}" dt="2024-09-13T13:48:04.298" v="2398" actId="26606"/>
          <ac:spMkLst>
            <pc:docMk/>
            <pc:sldMk cId="1413358995" sldId="2147472188"/>
            <ac:spMk id="3" creationId="{34692A45-982F-9F5C-ADC7-D18D0B5CCA44}"/>
          </ac:spMkLst>
        </pc:spChg>
        <pc:spChg chg="del">
          <ac:chgData name="Nicole Duyzers" userId="31f0efc2-85cf-4cd2-861c-931ad9f86626" providerId="ADAL" clId="{EC4884C5-7839-2547-8675-C9ACDD551AE3}" dt="2024-09-13T13:48:04.298" v="2398" actId="26606"/>
          <ac:spMkLst>
            <pc:docMk/>
            <pc:sldMk cId="1413358995" sldId="2147472188"/>
            <ac:spMk id="4" creationId="{EE9BE170-B29E-66A8-B188-1987FFDBAC7B}"/>
          </ac:spMkLst>
        </pc:spChg>
        <pc:spChg chg="add">
          <ac:chgData name="Nicole Duyzers" userId="31f0efc2-85cf-4cd2-861c-931ad9f86626" providerId="ADAL" clId="{EC4884C5-7839-2547-8675-C9ACDD551AE3}" dt="2024-09-13T13:48:04.298" v="2398" actId="26606"/>
          <ac:spMkLst>
            <pc:docMk/>
            <pc:sldMk cId="1413358995" sldId="2147472188"/>
            <ac:spMk id="10" creationId="{DBCFD8B2-77DB-32ED-9CCF-EF5C6F916D81}"/>
          </ac:spMkLst>
        </pc:spChg>
        <pc:spChg chg="add">
          <ac:chgData name="Nicole Duyzers" userId="31f0efc2-85cf-4cd2-861c-931ad9f86626" providerId="ADAL" clId="{EC4884C5-7839-2547-8675-C9ACDD551AE3}" dt="2024-09-13T13:48:04.298" v="2398" actId="26606"/>
          <ac:spMkLst>
            <pc:docMk/>
            <pc:sldMk cId="1413358995" sldId="2147472188"/>
            <ac:spMk id="12" creationId="{54C2AD16-0D9D-3DEA-39A7-1245B1CCBE45}"/>
          </ac:spMkLst>
        </pc:spChg>
        <pc:picChg chg="add mod">
          <ac:chgData name="Nicole Duyzers" userId="31f0efc2-85cf-4cd2-861c-931ad9f86626" providerId="ADAL" clId="{EC4884C5-7839-2547-8675-C9ACDD551AE3}" dt="2024-09-13T13:48:08.319" v="2399" actId="1076"/>
          <ac:picMkLst>
            <pc:docMk/>
            <pc:sldMk cId="1413358995" sldId="2147472188"/>
            <ac:picMk id="5" creationId="{3F4E4CA6-9354-CF2B-262B-37E5B7F21A03}"/>
          </ac:picMkLst>
        </pc:picChg>
      </pc:sldChg>
      <pc:sldChg chg="addSp modSp new mod modTransition">
        <pc:chgData name="Nicole Duyzers" userId="31f0efc2-85cf-4cd2-861c-931ad9f86626" providerId="ADAL" clId="{EC4884C5-7839-2547-8675-C9ACDD551AE3}" dt="2024-09-17T13:07:30.816" v="2797" actId="167"/>
        <pc:sldMkLst>
          <pc:docMk/>
          <pc:sldMk cId="2754150740" sldId="2147472188"/>
        </pc:sldMkLst>
        <pc:spChg chg="mod">
          <ac:chgData name="Nicole Duyzers" userId="31f0efc2-85cf-4cd2-861c-931ad9f86626" providerId="ADAL" clId="{EC4884C5-7839-2547-8675-C9ACDD551AE3}" dt="2024-09-13T13:50:56.191" v="2425"/>
          <ac:spMkLst>
            <pc:docMk/>
            <pc:sldMk cId="2754150740" sldId="2147472188"/>
            <ac:spMk id="2" creationId="{738B329B-31B2-8C42-248E-DF54FB206D9E}"/>
          </ac:spMkLst>
        </pc:spChg>
        <pc:spChg chg="mod">
          <ac:chgData name="Nicole Duyzers" userId="31f0efc2-85cf-4cd2-861c-931ad9f86626" providerId="ADAL" clId="{EC4884C5-7839-2547-8675-C9ACDD551AE3}" dt="2024-09-13T13:51:05.714" v="2426"/>
          <ac:spMkLst>
            <pc:docMk/>
            <pc:sldMk cId="2754150740" sldId="2147472188"/>
            <ac:spMk id="4" creationId="{0351A830-A311-80A4-E5D3-E453E78D9D3A}"/>
          </ac:spMkLst>
        </pc:spChg>
        <pc:spChg chg="mod">
          <ac:chgData name="Nicole Duyzers" userId="31f0efc2-85cf-4cd2-861c-931ad9f86626" providerId="ADAL" clId="{EC4884C5-7839-2547-8675-C9ACDD551AE3}" dt="2024-09-13T13:51:05.714" v="2426"/>
          <ac:spMkLst>
            <pc:docMk/>
            <pc:sldMk cId="2754150740" sldId="2147472188"/>
            <ac:spMk id="5" creationId="{A3492EE1-46B2-0539-28AA-620276C39948}"/>
          </ac:spMkLst>
        </pc:spChg>
        <pc:spChg chg="mod">
          <ac:chgData name="Nicole Duyzers" userId="31f0efc2-85cf-4cd2-861c-931ad9f86626" providerId="ADAL" clId="{EC4884C5-7839-2547-8675-C9ACDD551AE3}" dt="2024-09-13T13:51:05.714" v="2426"/>
          <ac:spMkLst>
            <pc:docMk/>
            <pc:sldMk cId="2754150740" sldId="2147472188"/>
            <ac:spMk id="7" creationId="{0A380573-E3D4-4863-C65B-D6B2A7C00135}"/>
          </ac:spMkLst>
        </pc:spChg>
        <pc:spChg chg="mod">
          <ac:chgData name="Nicole Duyzers" userId="31f0efc2-85cf-4cd2-861c-931ad9f86626" providerId="ADAL" clId="{EC4884C5-7839-2547-8675-C9ACDD551AE3}" dt="2024-09-13T13:51:05.714" v="2426"/>
          <ac:spMkLst>
            <pc:docMk/>
            <pc:sldMk cId="2754150740" sldId="2147472188"/>
            <ac:spMk id="8" creationId="{44A51771-813B-6C0A-F9E8-4A97A802F3BD}"/>
          </ac:spMkLst>
        </pc:spChg>
        <pc:spChg chg="mod">
          <ac:chgData name="Nicole Duyzers" userId="31f0efc2-85cf-4cd2-861c-931ad9f86626" providerId="ADAL" clId="{EC4884C5-7839-2547-8675-C9ACDD551AE3}" dt="2024-09-13T13:51:05.714" v="2426"/>
          <ac:spMkLst>
            <pc:docMk/>
            <pc:sldMk cId="2754150740" sldId="2147472188"/>
            <ac:spMk id="10" creationId="{CBE78086-4F7D-E503-FC53-44E78AA7416C}"/>
          </ac:spMkLst>
        </pc:spChg>
        <pc:spChg chg="mod">
          <ac:chgData name="Nicole Duyzers" userId="31f0efc2-85cf-4cd2-861c-931ad9f86626" providerId="ADAL" clId="{EC4884C5-7839-2547-8675-C9ACDD551AE3}" dt="2024-09-13T13:51:05.714" v="2426"/>
          <ac:spMkLst>
            <pc:docMk/>
            <pc:sldMk cId="2754150740" sldId="2147472188"/>
            <ac:spMk id="11" creationId="{EF4D0808-498C-FCC9-FDBF-21659DCFFA98}"/>
          </ac:spMkLst>
        </pc:spChg>
        <pc:spChg chg="add mod">
          <ac:chgData name="Nicole Duyzers" userId="31f0efc2-85cf-4cd2-861c-931ad9f86626" providerId="ADAL" clId="{EC4884C5-7839-2547-8675-C9ACDD551AE3}" dt="2024-09-13T13:51:13.936" v="2427" actId="1076"/>
          <ac:spMkLst>
            <pc:docMk/>
            <pc:sldMk cId="2754150740" sldId="2147472188"/>
            <ac:spMk id="12" creationId="{F976E4CE-227C-C242-1026-304927071C2E}"/>
          </ac:spMkLst>
        </pc:spChg>
        <pc:spChg chg="add mod">
          <ac:chgData name="Nicole Duyzers" userId="31f0efc2-85cf-4cd2-861c-931ad9f86626" providerId="ADAL" clId="{EC4884C5-7839-2547-8675-C9ACDD551AE3}" dt="2024-09-13T13:51:13.936" v="2427" actId="1076"/>
          <ac:spMkLst>
            <pc:docMk/>
            <pc:sldMk cId="2754150740" sldId="2147472188"/>
            <ac:spMk id="13" creationId="{22770086-80DC-A228-8988-8852BACE3166}"/>
          </ac:spMkLst>
        </pc:spChg>
        <pc:spChg chg="add mod">
          <ac:chgData name="Nicole Duyzers" userId="31f0efc2-85cf-4cd2-861c-931ad9f86626" providerId="ADAL" clId="{EC4884C5-7839-2547-8675-C9ACDD551AE3}" dt="2024-09-13T13:51:13.936" v="2427" actId="1076"/>
          <ac:spMkLst>
            <pc:docMk/>
            <pc:sldMk cId="2754150740" sldId="2147472188"/>
            <ac:spMk id="14" creationId="{8CD1A57F-5A11-4C3B-ABC8-16716C66B446}"/>
          </ac:spMkLst>
        </pc:spChg>
        <pc:spChg chg="add mod">
          <ac:chgData name="Nicole Duyzers" userId="31f0efc2-85cf-4cd2-861c-931ad9f86626" providerId="ADAL" clId="{EC4884C5-7839-2547-8675-C9ACDD551AE3}" dt="2024-09-13T13:51:13.936" v="2427" actId="1076"/>
          <ac:spMkLst>
            <pc:docMk/>
            <pc:sldMk cId="2754150740" sldId="2147472188"/>
            <ac:spMk id="15" creationId="{A5FBCCAC-3409-946A-C834-41E6D4DDC05A}"/>
          </ac:spMkLst>
        </pc:spChg>
        <pc:spChg chg="add mod">
          <ac:chgData name="Nicole Duyzers" userId="31f0efc2-85cf-4cd2-861c-931ad9f86626" providerId="ADAL" clId="{EC4884C5-7839-2547-8675-C9ACDD551AE3}" dt="2024-09-17T13:07:22.558" v="2794" actId="14100"/>
          <ac:spMkLst>
            <pc:docMk/>
            <pc:sldMk cId="2754150740" sldId="2147472188"/>
            <ac:spMk id="16" creationId="{14809189-ED85-8EDC-A068-A97B050D52C0}"/>
          </ac:spMkLst>
        </pc:spChg>
        <pc:spChg chg="mod">
          <ac:chgData name="Nicole Duyzers" userId="31f0efc2-85cf-4cd2-861c-931ad9f86626" providerId="ADAL" clId="{EC4884C5-7839-2547-8675-C9ACDD551AE3}" dt="2024-09-17T13:07:24.343" v="2795"/>
          <ac:spMkLst>
            <pc:docMk/>
            <pc:sldMk cId="2754150740" sldId="2147472188"/>
            <ac:spMk id="18" creationId="{675F95A2-02BF-ED64-AF6E-975B95E6FBA6}"/>
          </ac:spMkLst>
        </pc:spChg>
        <pc:spChg chg="mod">
          <ac:chgData name="Nicole Duyzers" userId="31f0efc2-85cf-4cd2-861c-931ad9f86626" providerId="ADAL" clId="{EC4884C5-7839-2547-8675-C9ACDD551AE3}" dt="2024-09-17T13:07:24.343" v="2795"/>
          <ac:spMkLst>
            <pc:docMk/>
            <pc:sldMk cId="2754150740" sldId="2147472188"/>
            <ac:spMk id="19" creationId="{B1B1E605-D6D3-2812-0B7E-633F4FB0E309}"/>
          </ac:spMkLst>
        </pc:spChg>
        <pc:grpChg chg="add mod">
          <ac:chgData name="Nicole Duyzers" userId="31f0efc2-85cf-4cd2-861c-931ad9f86626" providerId="ADAL" clId="{EC4884C5-7839-2547-8675-C9ACDD551AE3}" dt="2024-09-13T13:51:13.936" v="2427" actId="1076"/>
          <ac:grpSpMkLst>
            <pc:docMk/>
            <pc:sldMk cId="2754150740" sldId="2147472188"/>
            <ac:grpSpMk id="3" creationId="{EF1286C7-5AE5-44BF-36D9-E0243CC46CE9}"/>
          </ac:grpSpMkLst>
        </pc:grpChg>
        <pc:grpChg chg="add mod">
          <ac:chgData name="Nicole Duyzers" userId="31f0efc2-85cf-4cd2-861c-931ad9f86626" providerId="ADAL" clId="{EC4884C5-7839-2547-8675-C9ACDD551AE3}" dt="2024-09-13T13:51:13.936" v="2427" actId="1076"/>
          <ac:grpSpMkLst>
            <pc:docMk/>
            <pc:sldMk cId="2754150740" sldId="2147472188"/>
            <ac:grpSpMk id="6" creationId="{D69B593A-608B-F1A0-5FF7-9845A2B94B96}"/>
          </ac:grpSpMkLst>
        </pc:grpChg>
        <pc:grpChg chg="add mod">
          <ac:chgData name="Nicole Duyzers" userId="31f0efc2-85cf-4cd2-861c-931ad9f86626" providerId="ADAL" clId="{EC4884C5-7839-2547-8675-C9ACDD551AE3}" dt="2024-09-13T13:51:13.936" v="2427" actId="1076"/>
          <ac:grpSpMkLst>
            <pc:docMk/>
            <pc:sldMk cId="2754150740" sldId="2147472188"/>
            <ac:grpSpMk id="9" creationId="{C788E6A9-72FA-368F-5DED-7AB2FF64450B}"/>
          </ac:grpSpMkLst>
        </pc:grpChg>
        <pc:grpChg chg="add mod">
          <ac:chgData name="Nicole Duyzers" userId="31f0efc2-85cf-4cd2-861c-931ad9f86626" providerId="ADAL" clId="{EC4884C5-7839-2547-8675-C9ACDD551AE3}" dt="2024-09-17T13:07:30.816" v="2797" actId="167"/>
          <ac:grpSpMkLst>
            <pc:docMk/>
            <pc:sldMk cId="2754150740" sldId="2147472188"/>
            <ac:grpSpMk id="17" creationId="{ADE28789-B710-A14E-E858-A31399F60B36}"/>
          </ac:grpSpMkLst>
        </pc:grpChg>
      </pc:sldChg>
      <pc:sldChg chg="addSp modSp new mod modTransition modNotesTx">
        <pc:chgData name="Nicole Duyzers" userId="31f0efc2-85cf-4cd2-861c-931ad9f86626" providerId="ADAL" clId="{EC4884C5-7839-2547-8675-C9ACDD551AE3}" dt="2024-09-24T08:58:57.986" v="3105" actId="20577"/>
        <pc:sldMkLst>
          <pc:docMk/>
          <pc:sldMk cId="286896644" sldId="2147472189"/>
        </pc:sldMkLst>
        <pc:spChg chg="mod">
          <ac:chgData name="Nicole Duyzers" userId="31f0efc2-85cf-4cd2-861c-931ad9f86626" providerId="ADAL" clId="{EC4884C5-7839-2547-8675-C9ACDD551AE3}" dt="2024-09-13T13:51:59.957" v="2438" actId="27636"/>
          <ac:spMkLst>
            <pc:docMk/>
            <pc:sldMk cId="286896644" sldId="2147472189"/>
            <ac:spMk id="2" creationId="{BBDA24D1-808D-9F69-16AB-52AD4F0CDC83}"/>
          </ac:spMkLst>
        </pc:spChg>
        <pc:graphicFrameChg chg="add mod modGraphic">
          <ac:chgData name="Nicole Duyzers" userId="31f0efc2-85cf-4cd2-861c-931ad9f86626" providerId="ADAL" clId="{EC4884C5-7839-2547-8675-C9ACDD551AE3}" dt="2024-09-24T08:58:57.986" v="3105" actId="20577"/>
          <ac:graphicFrameMkLst>
            <pc:docMk/>
            <pc:sldMk cId="286896644" sldId="2147472189"/>
            <ac:graphicFrameMk id="3" creationId="{CE949EF4-3F92-420C-5342-283E92791C81}"/>
          </ac:graphicFrameMkLst>
        </pc:graphicFrameChg>
      </pc:sldChg>
      <pc:sldChg chg="addSp modSp new mod modTransition">
        <pc:chgData name="Nicole Duyzers" userId="31f0efc2-85cf-4cd2-861c-931ad9f86626" providerId="ADAL" clId="{EC4884C5-7839-2547-8675-C9ACDD551AE3}" dt="2024-09-13T13:53:04.019" v="2452" actId="1076"/>
        <pc:sldMkLst>
          <pc:docMk/>
          <pc:sldMk cId="1010548556" sldId="2147472190"/>
        </pc:sldMkLst>
        <pc:spChg chg="mod">
          <ac:chgData name="Nicole Duyzers" userId="31f0efc2-85cf-4cd2-861c-931ad9f86626" providerId="ADAL" clId="{EC4884C5-7839-2547-8675-C9ACDD551AE3}" dt="2024-09-13T13:52:39.792" v="2447"/>
          <ac:spMkLst>
            <pc:docMk/>
            <pc:sldMk cId="1010548556" sldId="2147472190"/>
            <ac:spMk id="2" creationId="{89F596D2-2543-0B44-70F4-8F53C247D3BF}"/>
          </ac:spMkLst>
        </pc:spChg>
        <pc:spChg chg="mod">
          <ac:chgData name="Nicole Duyzers" userId="31f0efc2-85cf-4cd2-861c-931ad9f86626" providerId="ADAL" clId="{EC4884C5-7839-2547-8675-C9ACDD551AE3}" dt="2024-09-13T13:52:26.256" v="2444"/>
          <ac:spMkLst>
            <pc:docMk/>
            <pc:sldMk cId="1010548556" sldId="2147472190"/>
            <ac:spMk id="4" creationId="{4B6087CC-05EE-EA21-A43D-38D72CB13C4E}"/>
          </ac:spMkLst>
        </pc:spChg>
        <pc:spChg chg="add mod">
          <ac:chgData name="Nicole Duyzers" userId="31f0efc2-85cf-4cd2-861c-931ad9f86626" providerId="ADAL" clId="{EC4884C5-7839-2547-8675-C9ACDD551AE3}" dt="2024-09-13T13:52:34.971" v="2446" actId="1076"/>
          <ac:spMkLst>
            <pc:docMk/>
            <pc:sldMk cId="1010548556" sldId="2147472190"/>
            <ac:spMk id="6" creationId="{E0A96AF2-1B8D-3207-990A-D609877ECE52}"/>
          </ac:spMkLst>
        </pc:spChg>
        <pc:grpChg chg="add mod">
          <ac:chgData name="Nicole Duyzers" userId="31f0efc2-85cf-4cd2-861c-931ad9f86626" providerId="ADAL" clId="{EC4884C5-7839-2547-8675-C9ACDD551AE3}" dt="2024-09-13T13:53:04.019" v="2452" actId="1076"/>
          <ac:grpSpMkLst>
            <pc:docMk/>
            <pc:sldMk cId="1010548556" sldId="2147472190"/>
            <ac:grpSpMk id="3" creationId="{E7AC9F9F-CC17-EE51-F335-C6C29A87C6F4}"/>
          </ac:grpSpMkLst>
        </pc:grpChg>
        <pc:picChg chg="mod">
          <ac:chgData name="Nicole Duyzers" userId="31f0efc2-85cf-4cd2-861c-931ad9f86626" providerId="ADAL" clId="{EC4884C5-7839-2547-8675-C9ACDD551AE3}" dt="2024-09-13T13:52:26.256" v="2444"/>
          <ac:picMkLst>
            <pc:docMk/>
            <pc:sldMk cId="1010548556" sldId="2147472190"/>
            <ac:picMk id="5" creationId="{5760C0F0-1BAF-8416-9CE3-F14F5F3E2972}"/>
          </ac:picMkLst>
        </pc:picChg>
      </pc:sldChg>
      <pc:sldChg chg="addSp modSp new mod modTransition">
        <pc:chgData name="Nicole Duyzers" userId="31f0efc2-85cf-4cd2-861c-931ad9f86626" providerId="ADAL" clId="{EC4884C5-7839-2547-8675-C9ACDD551AE3}" dt="2024-09-13T13:53:55.442" v="2463"/>
        <pc:sldMkLst>
          <pc:docMk/>
          <pc:sldMk cId="2710122777" sldId="2147472191"/>
        </pc:sldMkLst>
        <pc:spChg chg="mod">
          <ac:chgData name="Nicole Duyzers" userId="31f0efc2-85cf-4cd2-861c-931ad9f86626" providerId="ADAL" clId="{EC4884C5-7839-2547-8675-C9ACDD551AE3}" dt="2024-09-13T13:53:17.440" v="2454"/>
          <ac:spMkLst>
            <pc:docMk/>
            <pc:sldMk cId="2710122777" sldId="2147472191"/>
            <ac:spMk id="2" creationId="{BDFE0FA2-954F-E7BA-48F0-A6D3CC7687F9}"/>
          </ac:spMkLst>
        </pc:spChg>
        <pc:spChg chg="mod">
          <ac:chgData name="Nicole Duyzers" userId="31f0efc2-85cf-4cd2-861c-931ad9f86626" providerId="ADAL" clId="{EC4884C5-7839-2547-8675-C9ACDD551AE3}" dt="2024-09-13T13:53:33.730" v="2458"/>
          <ac:spMkLst>
            <pc:docMk/>
            <pc:sldMk cId="2710122777" sldId="2147472191"/>
            <ac:spMk id="5" creationId="{7224B2D1-C7A2-35E7-1FA0-AE7E0497D1C3}"/>
          </ac:spMkLst>
        </pc:spChg>
        <pc:spChg chg="mod">
          <ac:chgData name="Nicole Duyzers" userId="31f0efc2-85cf-4cd2-861c-931ad9f86626" providerId="ADAL" clId="{EC4884C5-7839-2547-8675-C9ACDD551AE3}" dt="2024-09-13T13:53:33.730" v="2458"/>
          <ac:spMkLst>
            <pc:docMk/>
            <pc:sldMk cId="2710122777" sldId="2147472191"/>
            <ac:spMk id="6" creationId="{89F8E09D-3DAF-0727-6407-D37917AEC79B}"/>
          </ac:spMkLst>
        </pc:spChg>
        <pc:spChg chg="mod">
          <ac:chgData name="Nicole Duyzers" userId="31f0efc2-85cf-4cd2-861c-931ad9f86626" providerId="ADAL" clId="{EC4884C5-7839-2547-8675-C9ACDD551AE3}" dt="2024-09-13T13:53:33.730" v="2458"/>
          <ac:spMkLst>
            <pc:docMk/>
            <pc:sldMk cId="2710122777" sldId="2147472191"/>
            <ac:spMk id="7" creationId="{8BA9AE21-895E-A1D4-26D1-CE27DBD81F1E}"/>
          </ac:spMkLst>
        </pc:spChg>
        <pc:spChg chg="mod">
          <ac:chgData name="Nicole Duyzers" userId="31f0efc2-85cf-4cd2-861c-931ad9f86626" providerId="ADAL" clId="{EC4884C5-7839-2547-8675-C9ACDD551AE3}" dt="2024-09-13T13:53:33.730" v="2458"/>
          <ac:spMkLst>
            <pc:docMk/>
            <pc:sldMk cId="2710122777" sldId="2147472191"/>
            <ac:spMk id="8" creationId="{F16ED8A7-5F79-0D52-7D50-D3DAAF58AF17}"/>
          </ac:spMkLst>
        </pc:spChg>
        <pc:spChg chg="mod">
          <ac:chgData name="Nicole Duyzers" userId="31f0efc2-85cf-4cd2-861c-931ad9f86626" providerId="ADAL" clId="{EC4884C5-7839-2547-8675-C9ACDD551AE3}" dt="2024-09-13T13:53:33.730" v="2458"/>
          <ac:spMkLst>
            <pc:docMk/>
            <pc:sldMk cId="2710122777" sldId="2147472191"/>
            <ac:spMk id="9" creationId="{E9A5F12E-82F7-3FD4-8901-2690B89FC7C0}"/>
          </ac:spMkLst>
        </pc:spChg>
        <pc:spChg chg="mod">
          <ac:chgData name="Nicole Duyzers" userId="31f0efc2-85cf-4cd2-861c-931ad9f86626" providerId="ADAL" clId="{EC4884C5-7839-2547-8675-C9ACDD551AE3}" dt="2024-09-13T13:53:33.730" v="2458"/>
          <ac:spMkLst>
            <pc:docMk/>
            <pc:sldMk cId="2710122777" sldId="2147472191"/>
            <ac:spMk id="13" creationId="{60758E87-4DEF-C045-1164-55A5EA2C99C1}"/>
          </ac:spMkLst>
        </pc:spChg>
        <pc:spChg chg="mod">
          <ac:chgData name="Nicole Duyzers" userId="31f0efc2-85cf-4cd2-861c-931ad9f86626" providerId="ADAL" clId="{EC4884C5-7839-2547-8675-C9ACDD551AE3}" dt="2024-09-13T13:53:33.730" v="2458"/>
          <ac:spMkLst>
            <pc:docMk/>
            <pc:sldMk cId="2710122777" sldId="2147472191"/>
            <ac:spMk id="14" creationId="{B07FCAEE-E672-0189-25B3-4A4EE459DE96}"/>
          </ac:spMkLst>
        </pc:spChg>
        <pc:spChg chg="mod">
          <ac:chgData name="Nicole Duyzers" userId="31f0efc2-85cf-4cd2-861c-931ad9f86626" providerId="ADAL" clId="{EC4884C5-7839-2547-8675-C9ACDD551AE3}" dt="2024-09-13T13:53:33.730" v="2458"/>
          <ac:spMkLst>
            <pc:docMk/>
            <pc:sldMk cId="2710122777" sldId="2147472191"/>
            <ac:spMk id="15" creationId="{3947B1DE-2E3A-7602-D467-A15C31F82B3A}"/>
          </ac:spMkLst>
        </pc:spChg>
        <pc:spChg chg="mod">
          <ac:chgData name="Nicole Duyzers" userId="31f0efc2-85cf-4cd2-861c-931ad9f86626" providerId="ADAL" clId="{EC4884C5-7839-2547-8675-C9ACDD551AE3}" dt="2024-09-13T13:53:33.730" v="2458"/>
          <ac:spMkLst>
            <pc:docMk/>
            <pc:sldMk cId="2710122777" sldId="2147472191"/>
            <ac:spMk id="18" creationId="{746A8103-6F75-F947-C781-0FC62C34FF0F}"/>
          </ac:spMkLst>
        </pc:spChg>
        <pc:spChg chg="mod">
          <ac:chgData name="Nicole Duyzers" userId="31f0efc2-85cf-4cd2-861c-931ad9f86626" providerId="ADAL" clId="{EC4884C5-7839-2547-8675-C9ACDD551AE3}" dt="2024-09-13T13:53:33.730" v="2458"/>
          <ac:spMkLst>
            <pc:docMk/>
            <pc:sldMk cId="2710122777" sldId="2147472191"/>
            <ac:spMk id="19" creationId="{DD420AF4-F7BD-E0CB-F280-1B219B549514}"/>
          </ac:spMkLst>
        </pc:spChg>
        <pc:spChg chg="mod">
          <ac:chgData name="Nicole Duyzers" userId="31f0efc2-85cf-4cd2-861c-931ad9f86626" providerId="ADAL" clId="{EC4884C5-7839-2547-8675-C9ACDD551AE3}" dt="2024-09-13T13:53:33.730" v="2458"/>
          <ac:spMkLst>
            <pc:docMk/>
            <pc:sldMk cId="2710122777" sldId="2147472191"/>
            <ac:spMk id="20" creationId="{0ADD0A09-FD91-1811-9738-84CDBECA2270}"/>
          </ac:spMkLst>
        </pc:spChg>
        <pc:spChg chg="mod">
          <ac:chgData name="Nicole Duyzers" userId="31f0efc2-85cf-4cd2-861c-931ad9f86626" providerId="ADAL" clId="{EC4884C5-7839-2547-8675-C9ACDD551AE3}" dt="2024-09-13T13:53:33.730" v="2458"/>
          <ac:spMkLst>
            <pc:docMk/>
            <pc:sldMk cId="2710122777" sldId="2147472191"/>
            <ac:spMk id="21" creationId="{E0C06339-BA07-3F41-A90E-14F175855673}"/>
          </ac:spMkLst>
        </pc:spChg>
        <pc:spChg chg="mod">
          <ac:chgData name="Nicole Duyzers" userId="31f0efc2-85cf-4cd2-861c-931ad9f86626" providerId="ADAL" clId="{EC4884C5-7839-2547-8675-C9ACDD551AE3}" dt="2024-09-13T13:53:33.730" v="2458"/>
          <ac:spMkLst>
            <pc:docMk/>
            <pc:sldMk cId="2710122777" sldId="2147472191"/>
            <ac:spMk id="22" creationId="{412E3AD2-F1C5-4AC1-9D44-0D0759BD0D28}"/>
          </ac:spMkLst>
        </pc:spChg>
        <pc:spChg chg="mod">
          <ac:chgData name="Nicole Duyzers" userId="31f0efc2-85cf-4cd2-861c-931ad9f86626" providerId="ADAL" clId="{EC4884C5-7839-2547-8675-C9ACDD551AE3}" dt="2024-09-13T13:53:33.730" v="2458"/>
          <ac:spMkLst>
            <pc:docMk/>
            <pc:sldMk cId="2710122777" sldId="2147472191"/>
            <ac:spMk id="23" creationId="{DD976AE2-D32A-1558-B0C6-02EC7AE5E8A9}"/>
          </ac:spMkLst>
        </pc:spChg>
        <pc:spChg chg="add mod">
          <ac:chgData name="Nicole Duyzers" userId="31f0efc2-85cf-4cd2-861c-931ad9f86626" providerId="ADAL" clId="{EC4884C5-7839-2547-8675-C9ACDD551AE3}" dt="2024-09-13T13:53:47.337" v="2461" actId="1076"/>
          <ac:spMkLst>
            <pc:docMk/>
            <pc:sldMk cId="2710122777" sldId="2147472191"/>
            <ac:spMk id="24" creationId="{311F52BF-8978-3342-6A58-3C893EE3FACA}"/>
          </ac:spMkLst>
        </pc:spChg>
        <pc:grpChg chg="add mod">
          <ac:chgData name="Nicole Duyzers" userId="31f0efc2-85cf-4cd2-861c-931ad9f86626" providerId="ADAL" clId="{EC4884C5-7839-2547-8675-C9ACDD551AE3}" dt="2024-09-13T13:53:39.380" v="2459" actId="1076"/>
          <ac:grpSpMkLst>
            <pc:docMk/>
            <pc:sldMk cId="2710122777" sldId="2147472191"/>
            <ac:grpSpMk id="4" creationId="{71521626-94CE-E675-301D-B65E92DE0CA8}"/>
          </ac:grpSpMkLst>
        </pc:grpChg>
        <pc:picChg chg="add mod">
          <ac:chgData name="Nicole Duyzers" userId="31f0efc2-85cf-4cd2-861c-931ad9f86626" providerId="ADAL" clId="{EC4884C5-7839-2547-8675-C9ACDD551AE3}" dt="2024-09-13T13:53:28.650" v="2457" actId="1076"/>
          <ac:picMkLst>
            <pc:docMk/>
            <pc:sldMk cId="2710122777" sldId="2147472191"/>
            <ac:picMk id="3" creationId="{B50F3FC4-BDC7-E842-55F3-026BCF190233}"/>
          </ac:picMkLst>
        </pc:picChg>
        <pc:cxnChg chg="mod">
          <ac:chgData name="Nicole Duyzers" userId="31f0efc2-85cf-4cd2-861c-931ad9f86626" providerId="ADAL" clId="{EC4884C5-7839-2547-8675-C9ACDD551AE3}" dt="2024-09-13T13:53:33.730" v="2458"/>
          <ac:cxnSpMkLst>
            <pc:docMk/>
            <pc:sldMk cId="2710122777" sldId="2147472191"/>
            <ac:cxnSpMk id="10" creationId="{CCF98D34-A5E7-BEC4-C4BE-CB1D44590FB7}"/>
          </ac:cxnSpMkLst>
        </pc:cxnChg>
        <pc:cxnChg chg="mod">
          <ac:chgData name="Nicole Duyzers" userId="31f0efc2-85cf-4cd2-861c-931ad9f86626" providerId="ADAL" clId="{EC4884C5-7839-2547-8675-C9ACDD551AE3}" dt="2024-09-13T13:53:33.730" v="2458"/>
          <ac:cxnSpMkLst>
            <pc:docMk/>
            <pc:sldMk cId="2710122777" sldId="2147472191"/>
            <ac:cxnSpMk id="11" creationId="{92DF1EDD-F578-A6C9-4754-8C205B02FF41}"/>
          </ac:cxnSpMkLst>
        </pc:cxnChg>
        <pc:cxnChg chg="mod">
          <ac:chgData name="Nicole Duyzers" userId="31f0efc2-85cf-4cd2-861c-931ad9f86626" providerId="ADAL" clId="{EC4884C5-7839-2547-8675-C9ACDD551AE3}" dt="2024-09-13T13:53:33.730" v="2458"/>
          <ac:cxnSpMkLst>
            <pc:docMk/>
            <pc:sldMk cId="2710122777" sldId="2147472191"/>
            <ac:cxnSpMk id="12" creationId="{BA486A55-056A-60E6-0319-472563ABFDC4}"/>
          </ac:cxnSpMkLst>
        </pc:cxnChg>
        <pc:cxnChg chg="mod">
          <ac:chgData name="Nicole Duyzers" userId="31f0efc2-85cf-4cd2-861c-931ad9f86626" providerId="ADAL" clId="{EC4884C5-7839-2547-8675-C9ACDD551AE3}" dt="2024-09-13T13:53:33.730" v="2458"/>
          <ac:cxnSpMkLst>
            <pc:docMk/>
            <pc:sldMk cId="2710122777" sldId="2147472191"/>
            <ac:cxnSpMk id="16" creationId="{1929ECD8-192F-851B-C8FA-11CCAB4C33C0}"/>
          </ac:cxnSpMkLst>
        </pc:cxnChg>
        <pc:cxnChg chg="mod">
          <ac:chgData name="Nicole Duyzers" userId="31f0efc2-85cf-4cd2-861c-931ad9f86626" providerId="ADAL" clId="{EC4884C5-7839-2547-8675-C9ACDD551AE3}" dt="2024-09-13T13:53:33.730" v="2458"/>
          <ac:cxnSpMkLst>
            <pc:docMk/>
            <pc:sldMk cId="2710122777" sldId="2147472191"/>
            <ac:cxnSpMk id="17" creationId="{2A066027-E7CF-9D35-684B-E65204C57355}"/>
          </ac:cxnSpMkLst>
        </pc:cxnChg>
      </pc:sldChg>
      <pc:sldChg chg="addSp modSp new mod modTransition">
        <pc:chgData name="Nicole Duyzers" userId="31f0efc2-85cf-4cd2-861c-931ad9f86626" providerId="ADAL" clId="{EC4884C5-7839-2547-8675-C9ACDD551AE3}" dt="2024-09-13T13:56:20.909" v="2484"/>
        <pc:sldMkLst>
          <pc:docMk/>
          <pc:sldMk cId="2982769415" sldId="2147472192"/>
        </pc:sldMkLst>
        <pc:spChg chg="mod">
          <ac:chgData name="Nicole Duyzers" userId="31f0efc2-85cf-4cd2-861c-931ad9f86626" providerId="ADAL" clId="{EC4884C5-7839-2547-8675-C9ACDD551AE3}" dt="2024-09-13T13:54:21.942" v="2467"/>
          <ac:spMkLst>
            <pc:docMk/>
            <pc:sldMk cId="2982769415" sldId="2147472192"/>
            <ac:spMk id="2" creationId="{960EB4E1-BFD8-90A2-7C0E-CC0F93D5D916}"/>
          </ac:spMkLst>
        </pc:spChg>
        <pc:graphicFrameChg chg="add mod">
          <ac:chgData name="Nicole Duyzers" userId="31f0efc2-85cf-4cd2-861c-931ad9f86626" providerId="ADAL" clId="{EC4884C5-7839-2547-8675-C9ACDD551AE3}" dt="2024-09-13T13:54:18.201" v="2466" actId="1076"/>
          <ac:graphicFrameMkLst>
            <pc:docMk/>
            <pc:sldMk cId="2982769415" sldId="2147472192"/>
            <ac:graphicFrameMk id="3" creationId="{5720D479-C0D4-B839-C406-039E699C9F30}"/>
          </ac:graphicFrameMkLst>
        </pc:graphicFrameChg>
      </pc:sldChg>
      <pc:sldChg chg="addSp modSp new mod modTransition">
        <pc:chgData name="Nicole Duyzers" userId="31f0efc2-85cf-4cd2-861c-931ad9f86626" providerId="ADAL" clId="{EC4884C5-7839-2547-8675-C9ACDD551AE3}" dt="2024-09-13T13:56:22.776" v="2485"/>
        <pc:sldMkLst>
          <pc:docMk/>
          <pc:sldMk cId="3877814365" sldId="2147472193"/>
        </pc:sldMkLst>
        <pc:spChg chg="mod">
          <ac:chgData name="Nicole Duyzers" userId="31f0efc2-85cf-4cd2-861c-931ad9f86626" providerId="ADAL" clId="{EC4884C5-7839-2547-8675-C9ACDD551AE3}" dt="2024-09-13T13:54:49.205" v="2473"/>
          <ac:spMkLst>
            <pc:docMk/>
            <pc:sldMk cId="3877814365" sldId="2147472193"/>
            <ac:spMk id="2" creationId="{0DB39550-5805-B355-7B12-303EACEAB1B7}"/>
          </ac:spMkLst>
        </pc:spChg>
        <pc:picChg chg="add mod">
          <ac:chgData name="Nicole Duyzers" userId="31f0efc2-85cf-4cd2-861c-931ad9f86626" providerId="ADAL" clId="{EC4884C5-7839-2547-8675-C9ACDD551AE3}" dt="2024-09-13T13:54:43.829" v="2472" actId="1076"/>
          <ac:picMkLst>
            <pc:docMk/>
            <pc:sldMk cId="3877814365" sldId="2147472193"/>
            <ac:picMk id="3" creationId="{EA655AFF-93BF-1CAD-AF70-AFB63AF9E757}"/>
          </ac:picMkLst>
        </pc:picChg>
      </pc:sldChg>
      <pc:sldChg chg="addSp modSp new mod modTransition modClrScheme chgLayout">
        <pc:chgData name="Nicole Duyzers" userId="31f0efc2-85cf-4cd2-861c-931ad9f86626" providerId="ADAL" clId="{EC4884C5-7839-2547-8675-C9ACDD551AE3}" dt="2024-09-13T13:57:14.376" v="2491" actId="26606"/>
        <pc:sldMkLst>
          <pc:docMk/>
          <pc:sldMk cId="3077079947" sldId="2147472194"/>
        </pc:sldMkLst>
        <pc:spChg chg="mod ord">
          <ac:chgData name="Nicole Duyzers" userId="31f0efc2-85cf-4cd2-861c-931ad9f86626" providerId="ADAL" clId="{EC4884C5-7839-2547-8675-C9ACDD551AE3}" dt="2024-09-13T13:57:14.376" v="2491" actId="26606"/>
          <ac:spMkLst>
            <pc:docMk/>
            <pc:sldMk cId="3077079947" sldId="2147472194"/>
            <ac:spMk id="2" creationId="{B49B0E8F-799B-0054-6B78-F9F11989D181}"/>
          </ac:spMkLst>
        </pc:spChg>
        <pc:spChg chg="add mod ord">
          <ac:chgData name="Nicole Duyzers" userId="31f0efc2-85cf-4cd2-861c-931ad9f86626" providerId="ADAL" clId="{EC4884C5-7839-2547-8675-C9ACDD551AE3}" dt="2024-09-13T13:57:14.376" v="2491" actId="26606"/>
          <ac:spMkLst>
            <pc:docMk/>
            <pc:sldMk cId="3077079947" sldId="2147472194"/>
            <ac:spMk id="3" creationId="{01C39881-2959-A0ED-C59B-1B02817E9BCA}"/>
          </ac:spMkLst>
        </pc:spChg>
        <pc:picChg chg="add mod">
          <ac:chgData name="Nicole Duyzers" userId="31f0efc2-85cf-4cd2-861c-931ad9f86626" providerId="ADAL" clId="{EC4884C5-7839-2547-8675-C9ACDD551AE3}" dt="2024-09-13T13:57:14.376" v="2491" actId="26606"/>
          <ac:picMkLst>
            <pc:docMk/>
            <pc:sldMk cId="3077079947" sldId="2147472194"/>
            <ac:picMk id="5" creationId="{893F9095-31E3-2ECA-FD9C-C1813E0AE74E}"/>
          </ac:picMkLst>
        </pc:picChg>
      </pc:sldChg>
      <pc:sldChg chg="addSp modSp new mod">
        <pc:chgData name="Nicole Duyzers" userId="31f0efc2-85cf-4cd2-861c-931ad9f86626" providerId="ADAL" clId="{EC4884C5-7839-2547-8675-C9ACDD551AE3}" dt="2024-09-13T14:04:10.051" v="2546" actId="1076"/>
        <pc:sldMkLst>
          <pc:docMk/>
          <pc:sldMk cId="2598811869" sldId="2147472195"/>
        </pc:sldMkLst>
        <pc:spChg chg="mod">
          <ac:chgData name="Nicole Duyzers" userId="31f0efc2-85cf-4cd2-861c-931ad9f86626" providerId="ADAL" clId="{EC4884C5-7839-2547-8675-C9ACDD551AE3}" dt="2024-09-13T14:03:50.057" v="2542"/>
          <ac:spMkLst>
            <pc:docMk/>
            <pc:sldMk cId="2598811869" sldId="2147472195"/>
            <ac:spMk id="2" creationId="{9E237A9D-FFB1-D2B5-5E94-33F695169397}"/>
          </ac:spMkLst>
        </pc:spChg>
        <pc:spChg chg="add mod">
          <ac:chgData name="Nicole Duyzers" userId="31f0efc2-85cf-4cd2-861c-931ad9f86626" providerId="ADAL" clId="{EC4884C5-7839-2547-8675-C9ACDD551AE3}" dt="2024-09-13T14:04:02.329" v="2544" actId="1076"/>
          <ac:spMkLst>
            <pc:docMk/>
            <pc:sldMk cId="2598811869" sldId="2147472195"/>
            <ac:spMk id="3" creationId="{00614262-BB5A-3502-0C33-D64ABF9FE8F2}"/>
          </ac:spMkLst>
        </pc:spChg>
        <pc:spChg chg="add mod">
          <ac:chgData name="Nicole Duyzers" userId="31f0efc2-85cf-4cd2-861c-931ad9f86626" providerId="ADAL" clId="{EC4884C5-7839-2547-8675-C9ACDD551AE3}" dt="2024-09-13T14:04:10.051" v="2546" actId="1076"/>
          <ac:spMkLst>
            <pc:docMk/>
            <pc:sldMk cId="2598811869" sldId="2147472195"/>
            <ac:spMk id="5" creationId="{64CA88D8-B985-F3F6-2203-F30A3263DF5E}"/>
          </ac:spMkLst>
        </pc:spChg>
        <pc:picChg chg="add mod">
          <ac:chgData name="Nicole Duyzers" userId="31f0efc2-85cf-4cd2-861c-931ad9f86626" providerId="ADAL" clId="{EC4884C5-7839-2547-8675-C9ACDD551AE3}" dt="2024-09-13T14:04:06.077" v="2545" actId="1076"/>
          <ac:picMkLst>
            <pc:docMk/>
            <pc:sldMk cId="2598811869" sldId="2147472195"/>
            <ac:picMk id="4" creationId="{21E17B2C-D589-151B-6CE3-BFE56624B36B}"/>
          </ac:picMkLst>
        </pc:picChg>
      </pc:sldChg>
      <pc:sldChg chg="addSp modSp new mod modNotesTx">
        <pc:chgData name="Nicole Duyzers" userId="31f0efc2-85cf-4cd2-861c-931ad9f86626" providerId="ADAL" clId="{EC4884C5-7839-2547-8675-C9ACDD551AE3}" dt="2024-09-13T14:05:08.729" v="2560" actId="20577"/>
        <pc:sldMkLst>
          <pc:docMk/>
          <pc:sldMk cId="153598475" sldId="2147472196"/>
        </pc:sldMkLst>
        <pc:spChg chg="mod">
          <ac:chgData name="Nicole Duyzers" userId="31f0efc2-85cf-4cd2-861c-931ad9f86626" providerId="ADAL" clId="{EC4884C5-7839-2547-8675-C9ACDD551AE3}" dt="2024-09-13T14:04:32.171" v="2549"/>
          <ac:spMkLst>
            <pc:docMk/>
            <pc:sldMk cId="153598475" sldId="2147472196"/>
            <ac:spMk id="2" creationId="{30DE89BA-63A2-5EAD-4D5B-C5D0B16DA08B}"/>
          </ac:spMkLst>
        </pc:spChg>
        <pc:spChg chg="add mod">
          <ac:chgData name="Nicole Duyzers" userId="31f0efc2-85cf-4cd2-861c-931ad9f86626" providerId="ADAL" clId="{EC4884C5-7839-2547-8675-C9ACDD551AE3}" dt="2024-09-13T14:05:08.729" v="2560" actId="20577"/>
          <ac:spMkLst>
            <pc:docMk/>
            <pc:sldMk cId="153598475" sldId="2147472196"/>
            <ac:spMk id="3" creationId="{3433FA17-6E22-5669-2F81-7547AC97FBFC}"/>
          </ac:spMkLst>
        </pc:spChg>
      </pc:sldChg>
      <pc:sldChg chg="addSp delSp modSp new mod modClrScheme chgLayout">
        <pc:chgData name="Nicole Duyzers" userId="31f0efc2-85cf-4cd2-861c-931ad9f86626" providerId="ADAL" clId="{EC4884C5-7839-2547-8675-C9ACDD551AE3}" dt="2024-09-17T13:14:54.942" v="2919" actId="20577"/>
        <pc:sldMkLst>
          <pc:docMk/>
          <pc:sldMk cId="1679952640" sldId="2147472200"/>
        </pc:sldMkLst>
        <pc:spChg chg="del mod ord">
          <ac:chgData name="Nicole Duyzers" userId="31f0efc2-85cf-4cd2-861c-931ad9f86626" providerId="ADAL" clId="{EC4884C5-7839-2547-8675-C9ACDD551AE3}" dt="2024-09-17T12:22:12.117" v="2697" actId="478"/>
          <ac:spMkLst>
            <pc:docMk/>
            <pc:sldMk cId="1679952640" sldId="2147472200"/>
            <ac:spMk id="2" creationId="{8CBA3B85-9182-0DA5-E282-A5EBF1E44236}"/>
          </ac:spMkLst>
        </pc:spChg>
        <pc:spChg chg="add mod">
          <ac:chgData name="Nicole Duyzers" userId="31f0efc2-85cf-4cd2-861c-931ad9f86626" providerId="ADAL" clId="{EC4884C5-7839-2547-8675-C9ACDD551AE3}" dt="2024-09-17T13:14:54.942" v="2919" actId="20577"/>
          <ac:spMkLst>
            <pc:docMk/>
            <pc:sldMk cId="1679952640" sldId="2147472200"/>
            <ac:spMk id="3" creationId="{6257A6D6-4FB9-8C14-1719-876CD89B15EB}"/>
          </ac:spMkLst>
        </pc:spChg>
        <pc:spChg chg="add del mod modCrop">
          <ac:chgData name="Nicole Duyzers" userId="31f0efc2-85cf-4cd2-861c-931ad9f86626" providerId="ADAL" clId="{EC4884C5-7839-2547-8675-C9ACDD551AE3}" dt="2024-09-17T13:04:08.307" v="2722" actId="478"/>
          <ac:spMkLst>
            <pc:docMk/>
            <pc:sldMk cId="1679952640" sldId="2147472200"/>
            <ac:spMk id="4" creationId="{1C83845D-C062-010B-34AF-89A5B5B72ABA}"/>
          </ac:spMkLst>
        </pc:spChg>
        <pc:spChg chg="add mod ord">
          <ac:chgData name="Nicole Duyzers" userId="31f0efc2-85cf-4cd2-861c-931ad9f86626" providerId="ADAL" clId="{EC4884C5-7839-2547-8675-C9ACDD551AE3}" dt="2024-09-17T13:13:36.668" v="2898" actId="6549"/>
          <ac:spMkLst>
            <pc:docMk/>
            <pc:sldMk cId="1679952640" sldId="2147472200"/>
            <ac:spMk id="5" creationId="{D5C14DED-29B6-671C-7674-D69A3CD334D4}"/>
          </ac:spMkLst>
        </pc:spChg>
        <pc:spChg chg="add del mod">
          <ac:chgData name="Nicole Duyzers" userId="31f0efc2-85cf-4cd2-861c-931ad9f86626" providerId="ADAL" clId="{EC4884C5-7839-2547-8675-C9ACDD551AE3}" dt="2024-09-17T13:04:38.709" v="2727" actId="478"/>
          <ac:spMkLst>
            <pc:docMk/>
            <pc:sldMk cId="1679952640" sldId="2147472200"/>
            <ac:spMk id="6" creationId="{7CCA2FAD-9AE1-99C1-184C-92C153415B17}"/>
          </ac:spMkLst>
        </pc:spChg>
        <pc:spChg chg="add mod">
          <ac:chgData name="Nicole Duyzers" userId="31f0efc2-85cf-4cd2-861c-931ad9f86626" providerId="ADAL" clId="{EC4884C5-7839-2547-8675-C9ACDD551AE3}" dt="2024-09-17T13:13:01.314" v="2890" actId="1076"/>
          <ac:spMkLst>
            <pc:docMk/>
            <pc:sldMk cId="1679952640" sldId="2147472200"/>
            <ac:spMk id="13" creationId="{4CF3B556-5FA1-4A21-D840-F5202ECDE4A3}"/>
          </ac:spMkLst>
        </pc:spChg>
        <pc:spChg chg="add mod">
          <ac:chgData name="Nicole Duyzers" userId="31f0efc2-85cf-4cd2-861c-931ad9f86626" providerId="ADAL" clId="{EC4884C5-7839-2547-8675-C9ACDD551AE3}" dt="2024-09-17T13:13:10.902" v="2892" actId="14100"/>
          <ac:spMkLst>
            <pc:docMk/>
            <pc:sldMk cId="1679952640" sldId="2147472200"/>
            <ac:spMk id="14" creationId="{1401078B-87B3-B665-7264-64CD8A7560DD}"/>
          </ac:spMkLst>
        </pc:spChg>
        <pc:spChg chg="add mod">
          <ac:chgData name="Nicole Duyzers" userId="31f0efc2-85cf-4cd2-861c-931ad9f86626" providerId="ADAL" clId="{EC4884C5-7839-2547-8675-C9ACDD551AE3}" dt="2024-09-17T13:12:55.321" v="2889" actId="1076"/>
          <ac:spMkLst>
            <pc:docMk/>
            <pc:sldMk cId="1679952640" sldId="2147472200"/>
            <ac:spMk id="15" creationId="{2266522B-ECCA-1EBB-54EA-87EBAEC12BA6}"/>
          </ac:spMkLst>
        </pc:spChg>
        <pc:spChg chg="add mod">
          <ac:chgData name="Nicole Duyzers" userId="31f0efc2-85cf-4cd2-861c-931ad9f86626" providerId="ADAL" clId="{EC4884C5-7839-2547-8675-C9ACDD551AE3}" dt="2024-09-17T13:13:17.470" v="2893" actId="6549"/>
          <ac:spMkLst>
            <pc:docMk/>
            <pc:sldMk cId="1679952640" sldId="2147472200"/>
            <ac:spMk id="16" creationId="{E0C97731-8047-A9FA-F51E-D31D5520D9DD}"/>
          </ac:spMkLst>
        </pc:spChg>
        <pc:picChg chg="add del mod">
          <ac:chgData name="Nicole Duyzers" userId="31f0efc2-85cf-4cd2-861c-931ad9f86626" providerId="ADAL" clId="{EC4884C5-7839-2547-8675-C9ACDD551AE3}" dt="2024-09-17T12:23:44.557" v="2718" actId="478"/>
          <ac:picMkLst>
            <pc:docMk/>
            <pc:sldMk cId="1679952640" sldId="2147472200"/>
            <ac:picMk id="8" creationId="{EDE3B2CE-E5D0-621E-FCF1-6A914AD384A0}"/>
          </ac:picMkLst>
        </pc:picChg>
        <pc:picChg chg="add mod">
          <ac:chgData name="Nicole Duyzers" userId="31f0efc2-85cf-4cd2-861c-931ad9f86626" providerId="ADAL" clId="{EC4884C5-7839-2547-8675-C9ACDD551AE3}" dt="2024-09-17T13:10:32.999" v="2842" actId="1076"/>
          <ac:picMkLst>
            <pc:docMk/>
            <pc:sldMk cId="1679952640" sldId="2147472200"/>
            <ac:picMk id="10" creationId="{067A9C0F-8C7C-E0C2-0EF3-D5D1EBC361BD}"/>
          </ac:picMkLst>
        </pc:picChg>
        <pc:picChg chg="add mod modCrop">
          <ac:chgData name="Nicole Duyzers" userId="31f0efc2-85cf-4cd2-861c-931ad9f86626" providerId="ADAL" clId="{EC4884C5-7839-2547-8675-C9ACDD551AE3}" dt="2024-09-17T13:14:22.559" v="2914" actId="18131"/>
          <ac:picMkLst>
            <pc:docMk/>
            <pc:sldMk cId="1679952640" sldId="2147472200"/>
            <ac:picMk id="12" creationId="{D7769ED3-C244-7781-E2C0-06238E68996D}"/>
          </ac:picMkLst>
        </pc:picChg>
      </pc:sldChg>
      <pc:sldChg chg="modSp new mod modNotesTx">
        <pc:chgData name="Nicole Duyzers" userId="31f0efc2-85cf-4cd2-861c-931ad9f86626" providerId="ADAL" clId="{EC4884C5-7839-2547-8675-C9ACDD551AE3}" dt="2024-09-13T14:05:31.524" v="2563" actId="790"/>
        <pc:sldMkLst>
          <pc:docMk/>
          <pc:sldMk cId="2555922259" sldId="2147472200"/>
        </pc:sldMkLst>
        <pc:spChg chg="mod">
          <ac:chgData name="Nicole Duyzers" userId="31f0efc2-85cf-4cd2-861c-931ad9f86626" providerId="ADAL" clId="{EC4884C5-7839-2547-8675-C9ACDD551AE3}" dt="2024-09-13T14:05:22.772" v="2562"/>
          <ac:spMkLst>
            <pc:docMk/>
            <pc:sldMk cId="2555922259" sldId="2147472200"/>
            <ac:spMk id="3" creationId="{A43018ED-69EE-B1EA-4155-20772CFBAFFB}"/>
          </ac:spMkLst>
        </pc:spChg>
      </pc:sldChg>
      <pc:sldChg chg="addSp delSp modSp add del mod modClrScheme chgLayout">
        <pc:chgData name="Nicole Duyzers" userId="31f0efc2-85cf-4cd2-861c-931ad9f86626" providerId="ADAL" clId="{EC4884C5-7839-2547-8675-C9ACDD551AE3}" dt="2024-09-17T13:25:26.816" v="2952" actId="14100"/>
        <pc:sldMkLst>
          <pc:docMk/>
          <pc:sldMk cId="3295814947" sldId="2147474286"/>
        </pc:sldMkLst>
        <pc:spChg chg="add del mod ord">
          <ac:chgData name="Nicole Duyzers" userId="31f0efc2-85cf-4cd2-861c-931ad9f86626" providerId="ADAL" clId="{EC4884C5-7839-2547-8675-C9ACDD551AE3}" dt="2024-09-17T13:23:47.056" v="2939" actId="478"/>
          <ac:spMkLst>
            <pc:docMk/>
            <pc:sldMk cId="3295814947" sldId="2147474286"/>
            <ac:spMk id="2" creationId="{F7616B57-63DB-20C7-21F0-FEA5661956E2}"/>
          </ac:spMkLst>
        </pc:spChg>
        <pc:spChg chg="mod ord">
          <ac:chgData name="Nicole Duyzers" userId="31f0efc2-85cf-4cd2-861c-931ad9f86626" providerId="ADAL" clId="{EC4884C5-7839-2547-8675-C9ACDD551AE3}" dt="2024-09-17T13:25:14.100" v="2949" actId="700"/>
          <ac:spMkLst>
            <pc:docMk/>
            <pc:sldMk cId="3295814947" sldId="2147474286"/>
            <ac:spMk id="5" creationId="{11095158-C02A-45B1-B35E-3DFC9D0C17D0}"/>
          </ac:spMkLst>
        </pc:spChg>
        <pc:spChg chg="mod">
          <ac:chgData name="Nicole Duyzers" userId="31f0efc2-85cf-4cd2-861c-931ad9f86626" providerId="ADAL" clId="{EC4884C5-7839-2547-8675-C9ACDD551AE3}" dt="2024-09-17T13:25:21.402" v="2950" actId="14100"/>
          <ac:spMkLst>
            <pc:docMk/>
            <pc:sldMk cId="3295814947" sldId="2147474286"/>
            <ac:spMk id="37" creationId="{F0EBC2F7-6E2F-4E64-AB5E-B39731377639}"/>
          </ac:spMkLst>
        </pc:spChg>
        <pc:spChg chg="mod">
          <ac:chgData name="Nicole Duyzers" userId="31f0efc2-85cf-4cd2-861c-931ad9f86626" providerId="ADAL" clId="{EC4884C5-7839-2547-8675-C9ACDD551AE3}" dt="2024-09-17T13:25:26.816" v="2952" actId="14100"/>
          <ac:spMkLst>
            <pc:docMk/>
            <pc:sldMk cId="3295814947" sldId="2147474286"/>
            <ac:spMk id="52" creationId="{EC6861E3-D728-43BB-83CB-2BEDE791C70F}"/>
          </ac:spMkLst>
        </pc:spChg>
      </pc:sldChg>
      <pc:sldChg chg="modSp add del mod">
        <pc:chgData name="Nicole Duyzers" userId="31f0efc2-85cf-4cd2-861c-931ad9f86626" providerId="ADAL" clId="{EC4884C5-7839-2547-8675-C9ACDD551AE3}" dt="2024-09-17T13:29:48.811" v="2986" actId="20577"/>
        <pc:sldMkLst>
          <pc:docMk/>
          <pc:sldMk cId="1319003164" sldId="2147474290"/>
        </pc:sldMkLst>
        <pc:spChg chg="mod">
          <ac:chgData name="Nicole Duyzers" userId="31f0efc2-85cf-4cd2-861c-931ad9f86626" providerId="ADAL" clId="{EC4884C5-7839-2547-8675-C9ACDD551AE3}" dt="2024-09-17T13:29:48.811" v="2986" actId="20577"/>
          <ac:spMkLst>
            <pc:docMk/>
            <pc:sldMk cId="1319003164" sldId="2147474290"/>
            <ac:spMk id="2" creationId="{1126B743-66AE-156D-C1FB-6F7C9BFEB05E}"/>
          </ac:spMkLst>
        </pc:spChg>
        <pc:spChg chg="mod">
          <ac:chgData name="Nicole Duyzers" userId="31f0efc2-85cf-4cd2-861c-931ad9f86626" providerId="ADAL" clId="{EC4884C5-7839-2547-8675-C9ACDD551AE3}" dt="2024-09-17T13:29:26.310" v="2976" actId="207"/>
          <ac:spMkLst>
            <pc:docMk/>
            <pc:sldMk cId="1319003164" sldId="2147474290"/>
            <ac:spMk id="15" creationId="{FF5C4E9A-C9C8-C7C3-E4D4-3683BB534A45}"/>
          </ac:spMkLst>
        </pc:spChg>
        <pc:spChg chg="mod">
          <ac:chgData name="Nicole Duyzers" userId="31f0efc2-85cf-4cd2-861c-931ad9f86626" providerId="ADAL" clId="{EC4884C5-7839-2547-8675-C9ACDD551AE3}" dt="2024-09-17T13:29:37.668" v="2979" actId="207"/>
          <ac:spMkLst>
            <pc:docMk/>
            <pc:sldMk cId="1319003164" sldId="2147474290"/>
            <ac:spMk id="28" creationId="{C8372905-E8B8-08E4-886C-7028BC733444}"/>
          </ac:spMkLst>
        </pc:spChg>
        <pc:spChg chg="mod">
          <ac:chgData name="Nicole Duyzers" userId="31f0efc2-85cf-4cd2-861c-931ad9f86626" providerId="ADAL" clId="{EC4884C5-7839-2547-8675-C9ACDD551AE3}" dt="2024-09-17T13:29:37.668" v="2979" actId="207"/>
          <ac:spMkLst>
            <pc:docMk/>
            <pc:sldMk cId="1319003164" sldId="2147474290"/>
            <ac:spMk id="32" creationId="{B3BBFACA-34D2-E94A-F9B0-B47DA9730AB3}"/>
          </ac:spMkLst>
        </pc:spChg>
        <pc:spChg chg="mod">
          <ac:chgData name="Nicole Duyzers" userId="31f0efc2-85cf-4cd2-861c-931ad9f86626" providerId="ADAL" clId="{EC4884C5-7839-2547-8675-C9ACDD551AE3}" dt="2024-09-17T13:29:33.671" v="2978" actId="207"/>
          <ac:spMkLst>
            <pc:docMk/>
            <pc:sldMk cId="1319003164" sldId="2147474290"/>
            <ac:spMk id="37" creationId="{1FC07BA9-76B2-B5C2-1485-8B182D5DB370}"/>
          </ac:spMkLst>
        </pc:spChg>
        <pc:spChg chg="mod">
          <ac:chgData name="Nicole Duyzers" userId="31f0efc2-85cf-4cd2-861c-931ad9f86626" providerId="ADAL" clId="{EC4884C5-7839-2547-8675-C9ACDD551AE3}" dt="2024-09-17T13:29:33.671" v="2978" actId="207"/>
          <ac:spMkLst>
            <pc:docMk/>
            <pc:sldMk cId="1319003164" sldId="2147474290"/>
            <ac:spMk id="40" creationId="{2DF3E2F5-E18B-587E-84CE-1B4BF064D67C}"/>
          </ac:spMkLst>
        </pc:spChg>
        <pc:spChg chg="mod">
          <ac:chgData name="Nicole Duyzers" userId="31f0efc2-85cf-4cd2-861c-931ad9f86626" providerId="ADAL" clId="{EC4884C5-7839-2547-8675-C9ACDD551AE3}" dt="2024-09-17T13:29:30.478" v="2977" actId="207"/>
          <ac:spMkLst>
            <pc:docMk/>
            <pc:sldMk cId="1319003164" sldId="2147474290"/>
            <ac:spMk id="44" creationId="{AFA46D2B-1F14-AB71-D4C4-2DF2F54B4707}"/>
          </ac:spMkLst>
        </pc:spChg>
        <pc:spChg chg="mod">
          <ac:chgData name="Nicole Duyzers" userId="31f0efc2-85cf-4cd2-861c-931ad9f86626" providerId="ADAL" clId="{EC4884C5-7839-2547-8675-C9ACDD551AE3}" dt="2024-09-17T13:29:37.668" v="2979" actId="207"/>
          <ac:spMkLst>
            <pc:docMk/>
            <pc:sldMk cId="1319003164" sldId="2147474290"/>
            <ac:spMk id="47" creationId="{326032D5-536B-DF4E-4DE6-EF47399619A2}"/>
          </ac:spMkLst>
        </pc:spChg>
        <pc:spChg chg="mod">
          <ac:chgData name="Nicole Duyzers" userId="31f0efc2-85cf-4cd2-861c-931ad9f86626" providerId="ADAL" clId="{EC4884C5-7839-2547-8675-C9ACDD551AE3}" dt="2024-09-17T13:29:37.668" v="2979" actId="207"/>
          <ac:spMkLst>
            <pc:docMk/>
            <pc:sldMk cId="1319003164" sldId="2147474290"/>
            <ac:spMk id="49" creationId="{96396C00-54A2-4040-CD4E-0357FC2ECDEC}"/>
          </ac:spMkLst>
        </pc:spChg>
        <pc:spChg chg="mod">
          <ac:chgData name="Nicole Duyzers" userId="31f0efc2-85cf-4cd2-861c-931ad9f86626" providerId="ADAL" clId="{EC4884C5-7839-2547-8675-C9ACDD551AE3}" dt="2024-09-17T13:29:37.668" v="2979" actId="207"/>
          <ac:spMkLst>
            <pc:docMk/>
            <pc:sldMk cId="1319003164" sldId="2147474290"/>
            <ac:spMk id="53" creationId="{0D27A2F5-F145-781A-A015-7CD1D477055E}"/>
          </ac:spMkLst>
        </pc:spChg>
      </pc:sldChg>
      <pc:sldChg chg="addSp delSp modSp add del mod modClrScheme chgLayout">
        <pc:chgData name="Nicole Duyzers" userId="31f0efc2-85cf-4cd2-861c-931ad9f86626" providerId="ADAL" clId="{EC4884C5-7839-2547-8675-C9ACDD551AE3}" dt="2024-09-17T13:24:39.253" v="2948" actId="732"/>
        <pc:sldMkLst>
          <pc:docMk/>
          <pc:sldMk cId="3511145178" sldId="2147482541"/>
        </pc:sldMkLst>
        <pc:spChg chg="add mod ord">
          <ac:chgData name="Nicole Duyzers" userId="31f0efc2-85cf-4cd2-861c-931ad9f86626" providerId="ADAL" clId="{EC4884C5-7839-2547-8675-C9ACDD551AE3}" dt="2024-09-17T13:24:01.627" v="2940" actId="700"/>
          <ac:spMkLst>
            <pc:docMk/>
            <pc:sldMk cId="3511145178" sldId="2147482541"/>
            <ac:spMk id="2" creationId="{647D3AC1-B035-2B5D-D0C3-9274FC242745}"/>
          </ac:spMkLst>
        </pc:spChg>
        <pc:spChg chg="mod ord">
          <ac:chgData name="Nicole Duyzers" userId="31f0efc2-85cf-4cd2-861c-931ad9f86626" providerId="ADAL" clId="{EC4884C5-7839-2547-8675-C9ACDD551AE3}" dt="2024-09-17T13:24:01.627" v="2940" actId="700"/>
          <ac:spMkLst>
            <pc:docMk/>
            <pc:sldMk cId="3511145178" sldId="2147482541"/>
            <ac:spMk id="5" creationId="{604AD57F-3CC2-416D-859B-BAC9EBA50B10}"/>
          </ac:spMkLst>
        </pc:spChg>
        <pc:spChg chg="mod ord">
          <ac:chgData name="Nicole Duyzers" userId="31f0efc2-85cf-4cd2-861c-931ad9f86626" providerId="ADAL" clId="{EC4884C5-7839-2547-8675-C9ACDD551AE3}" dt="2024-09-17T13:24:01.663" v="2941" actId="27636"/>
          <ac:spMkLst>
            <pc:docMk/>
            <pc:sldMk cId="3511145178" sldId="2147482541"/>
            <ac:spMk id="7" creationId="{2C0FC78C-D96D-4C3A-8879-646FFA9755C0}"/>
          </ac:spMkLst>
        </pc:spChg>
        <pc:spChg chg="del">
          <ac:chgData name="Nicole Duyzers" userId="31f0efc2-85cf-4cd2-861c-931ad9f86626" providerId="ADAL" clId="{EC4884C5-7839-2547-8675-C9ACDD551AE3}" dt="2024-09-17T13:22:58.071" v="2934" actId="700"/>
          <ac:spMkLst>
            <pc:docMk/>
            <pc:sldMk cId="3511145178" sldId="2147482541"/>
            <ac:spMk id="14" creationId="{5758B3BD-0633-4B7A-9AD9-0818AC122C28}"/>
          </ac:spMkLst>
        </pc:spChg>
        <pc:picChg chg="mod ord modCrop">
          <ac:chgData name="Nicole Duyzers" userId="31f0efc2-85cf-4cd2-861c-931ad9f86626" providerId="ADAL" clId="{EC4884C5-7839-2547-8675-C9ACDD551AE3}" dt="2024-09-17T13:24:39.253" v="2948" actId="732"/>
          <ac:picMkLst>
            <pc:docMk/>
            <pc:sldMk cId="3511145178" sldId="2147482541"/>
            <ac:picMk id="9" creationId="{B4654129-5DBA-4596-A0DE-431E3887C68E}"/>
          </ac:picMkLst>
        </pc:picChg>
      </pc:sldChg>
      <pc:sldChg chg="modSp add del mod">
        <pc:chgData name="Nicole Duyzers" userId="31f0efc2-85cf-4cd2-861c-931ad9f86626" providerId="ADAL" clId="{EC4884C5-7839-2547-8675-C9ACDD551AE3}" dt="2024-09-17T13:30:23.018" v="2990" actId="2711"/>
        <pc:sldMkLst>
          <pc:docMk/>
          <pc:sldMk cId="1929597090" sldId="2147482544"/>
        </pc:sldMkLst>
        <pc:spChg chg="mod">
          <ac:chgData name="Nicole Duyzers" userId="31f0efc2-85cf-4cd2-861c-931ad9f86626" providerId="ADAL" clId="{EC4884C5-7839-2547-8675-C9ACDD551AE3}" dt="2024-09-17T13:30:23.018" v="2990" actId="2711"/>
          <ac:spMkLst>
            <pc:docMk/>
            <pc:sldMk cId="1929597090" sldId="2147482544"/>
            <ac:spMk id="3" creationId="{CF7FB822-1ECC-C642-01C8-E9BE7271C4F3}"/>
          </ac:spMkLst>
        </pc:spChg>
      </pc:sldChg>
      <pc:sldChg chg="addSp delSp modSp add del mod modClrScheme chgLayout">
        <pc:chgData name="Nicole Duyzers" userId="31f0efc2-85cf-4cd2-861c-931ad9f86626" providerId="ADAL" clId="{EC4884C5-7839-2547-8675-C9ACDD551AE3}" dt="2024-09-17T13:30:55.670" v="2996" actId="478"/>
        <pc:sldMkLst>
          <pc:docMk/>
          <pc:sldMk cId="3559803055" sldId="2147482545"/>
        </pc:sldMkLst>
        <pc:spChg chg="mod ord">
          <ac:chgData name="Nicole Duyzers" userId="31f0efc2-85cf-4cd2-861c-931ad9f86626" providerId="ADAL" clId="{EC4884C5-7839-2547-8675-C9ACDD551AE3}" dt="2024-09-17T13:30:41.108" v="2991" actId="700"/>
          <ac:spMkLst>
            <pc:docMk/>
            <pc:sldMk cId="3559803055" sldId="2147482545"/>
            <ac:spMk id="2" creationId="{BC44A0AD-2F64-5D28-FEE3-2D1E588E6F9D}"/>
          </ac:spMkLst>
        </pc:spChg>
        <pc:spChg chg="mod ord">
          <ac:chgData name="Nicole Duyzers" userId="31f0efc2-85cf-4cd2-861c-931ad9f86626" providerId="ADAL" clId="{EC4884C5-7839-2547-8675-C9ACDD551AE3}" dt="2024-09-17T13:30:52.605" v="2995" actId="14100"/>
          <ac:spMkLst>
            <pc:docMk/>
            <pc:sldMk cId="3559803055" sldId="2147482545"/>
            <ac:spMk id="3" creationId="{2BEBF938-19F1-4D46-9E27-918AB92CFA9F}"/>
          </ac:spMkLst>
        </pc:spChg>
        <pc:spChg chg="add del mod ord">
          <ac:chgData name="Nicole Duyzers" userId="31f0efc2-85cf-4cd2-861c-931ad9f86626" providerId="ADAL" clId="{EC4884C5-7839-2547-8675-C9ACDD551AE3}" dt="2024-09-17T13:30:55.670" v="2996" actId="478"/>
          <ac:spMkLst>
            <pc:docMk/>
            <pc:sldMk cId="3559803055" sldId="2147482545"/>
            <ac:spMk id="5" creationId="{68EDDBA7-539A-08B6-6C5B-E0CFB40EADB8}"/>
          </ac:spMkLst>
        </pc:spChg>
      </pc:sldChg>
      <pc:sldChg chg="addSp delSp modSp add del mod modClrScheme chgLayout">
        <pc:chgData name="Nicole Duyzers" userId="31f0efc2-85cf-4cd2-861c-931ad9f86626" providerId="ADAL" clId="{EC4884C5-7839-2547-8675-C9ACDD551AE3}" dt="2024-09-17T13:32:54.502" v="3005" actId="1076"/>
        <pc:sldMkLst>
          <pc:docMk/>
          <pc:sldMk cId="335911350" sldId="2147482546"/>
        </pc:sldMkLst>
        <pc:spChg chg="add del mod ord">
          <ac:chgData name="Nicole Duyzers" userId="31f0efc2-85cf-4cd2-861c-931ad9f86626" providerId="ADAL" clId="{EC4884C5-7839-2547-8675-C9ACDD551AE3}" dt="2024-09-17T13:31:50.187" v="3003" actId="478"/>
          <ac:spMkLst>
            <pc:docMk/>
            <pc:sldMk cId="335911350" sldId="2147482546"/>
            <ac:spMk id="2" creationId="{79AB3104-BF55-B906-3BEF-BA1DD35AA9EF}"/>
          </ac:spMkLst>
        </pc:spChg>
        <pc:spChg chg="mod ord">
          <ac:chgData name="Nicole Duyzers" userId="31f0efc2-85cf-4cd2-861c-931ad9f86626" providerId="ADAL" clId="{EC4884C5-7839-2547-8675-C9ACDD551AE3}" dt="2024-09-17T13:31:46.829" v="3002" actId="700"/>
          <ac:spMkLst>
            <pc:docMk/>
            <pc:sldMk cId="335911350" sldId="2147482546"/>
            <ac:spMk id="3" creationId="{3ECB3AF2-8F2E-6C26-7640-365FECD68CFC}"/>
          </ac:spMkLst>
        </pc:spChg>
        <pc:spChg chg="mod modCrop">
          <ac:chgData name="Nicole Duyzers" userId="31f0efc2-85cf-4cd2-861c-931ad9f86626" providerId="ADAL" clId="{EC4884C5-7839-2547-8675-C9ACDD551AE3}" dt="2024-09-17T13:32:54.502" v="3005" actId="1076"/>
          <ac:spMkLst>
            <pc:docMk/>
            <pc:sldMk cId="335911350" sldId="2147482546"/>
            <ac:spMk id="4" creationId="{F118B007-B816-42C7-E6BF-A7AA57E3C348}"/>
          </ac:spMkLst>
        </pc:spChg>
        <pc:spChg chg="mod ord">
          <ac:chgData name="Nicole Duyzers" userId="31f0efc2-85cf-4cd2-861c-931ad9f86626" providerId="ADAL" clId="{EC4884C5-7839-2547-8675-C9ACDD551AE3}" dt="2024-09-17T13:31:46.829" v="3002" actId="700"/>
          <ac:spMkLst>
            <pc:docMk/>
            <pc:sldMk cId="335911350" sldId="2147482546"/>
            <ac:spMk id="5" creationId="{57E6E8BE-8FCC-420F-D532-FB2364AABCCC}"/>
          </ac:spMkLst>
        </pc:spChg>
      </pc:sldChg>
      <pc:sldChg chg="addSp delSp modSp add del mod modClrScheme chgLayout">
        <pc:chgData name="Nicole Duyzers" userId="31f0efc2-85cf-4cd2-861c-931ad9f86626" providerId="ADAL" clId="{EC4884C5-7839-2547-8675-C9ACDD551AE3}" dt="2024-09-17T13:34:26.865" v="3018" actId="14100"/>
        <pc:sldMkLst>
          <pc:docMk/>
          <pc:sldMk cId="453232690" sldId="2147482548"/>
        </pc:sldMkLst>
        <pc:spChg chg="mod ord">
          <ac:chgData name="Nicole Duyzers" userId="31f0efc2-85cf-4cd2-861c-931ad9f86626" providerId="ADAL" clId="{EC4884C5-7839-2547-8675-C9ACDD551AE3}" dt="2024-09-17T13:33:49.671" v="3015" actId="1035"/>
          <ac:spMkLst>
            <pc:docMk/>
            <pc:sldMk cId="453232690" sldId="2147482548"/>
            <ac:spMk id="5" creationId="{FE7DB764-B3EC-19F2-CB73-3EB15FCC4620}"/>
          </ac:spMkLst>
        </pc:spChg>
        <pc:spChg chg="mod ord">
          <ac:chgData name="Nicole Duyzers" userId="31f0efc2-85cf-4cd2-861c-931ad9f86626" providerId="ADAL" clId="{EC4884C5-7839-2547-8675-C9ACDD551AE3}" dt="2024-09-17T13:33:49.671" v="3015" actId="1035"/>
          <ac:spMkLst>
            <pc:docMk/>
            <pc:sldMk cId="453232690" sldId="2147482548"/>
            <ac:spMk id="6" creationId="{545F3819-17AA-EACC-B731-5661407C2871}"/>
          </ac:spMkLst>
        </pc:spChg>
        <pc:spChg chg="add del mod ord">
          <ac:chgData name="Nicole Duyzers" userId="31f0efc2-85cf-4cd2-861c-931ad9f86626" providerId="ADAL" clId="{EC4884C5-7839-2547-8675-C9ACDD551AE3}" dt="2024-09-17T13:33:40.195" v="3009" actId="478"/>
          <ac:spMkLst>
            <pc:docMk/>
            <pc:sldMk cId="453232690" sldId="2147482548"/>
            <ac:spMk id="7" creationId="{7CA00433-C8EC-7DF1-05A7-690CAC6FCB29}"/>
          </ac:spMkLst>
        </pc:spChg>
        <pc:spChg chg="mod">
          <ac:chgData name="Nicole Duyzers" userId="31f0efc2-85cf-4cd2-861c-931ad9f86626" providerId="ADAL" clId="{EC4884C5-7839-2547-8675-C9ACDD551AE3}" dt="2024-09-17T13:34:14.094" v="3016" actId="14100"/>
          <ac:spMkLst>
            <pc:docMk/>
            <pc:sldMk cId="453232690" sldId="2147482548"/>
            <ac:spMk id="11" creationId="{C49B3E74-A50B-C4AF-4DBD-0765D312786C}"/>
          </ac:spMkLst>
        </pc:spChg>
        <pc:spChg chg="mod">
          <ac:chgData name="Nicole Duyzers" userId="31f0efc2-85cf-4cd2-861c-931ad9f86626" providerId="ADAL" clId="{EC4884C5-7839-2547-8675-C9ACDD551AE3}" dt="2024-09-17T13:34:26.865" v="3018" actId="14100"/>
          <ac:spMkLst>
            <pc:docMk/>
            <pc:sldMk cId="453232690" sldId="2147482548"/>
            <ac:spMk id="23" creationId="{0B45DE5C-30FC-8537-7BC4-0E055D2DB3F3}"/>
          </ac:spMkLst>
        </pc:spChg>
        <pc:spChg chg="mod">
          <ac:chgData name="Nicole Duyzers" userId="31f0efc2-85cf-4cd2-861c-931ad9f86626" providerId="ADAL" clId="{EC4884C5-7839-2547-8675-C9ACDD551AE3}" dt="2024-09-17T13:34:20.041" v="3017" actId="14100"/>
          <ac:spMkLst>
            <pc:docMk/>
            <pc:sldMk cId="453232690" sldId="2147482548"/>
            <ac:spMk id="24" creationId="{13EFCAF8-9837-224D-ED3C-096CF1BB0848}"/>
          </ac:spMkLst>
        </pc:spChg>
        <pc:grpChg chg="mod">
          <ac:chgData name="Nicole Duyzers" userId="31f0efc2-85cf-4cd2-861c-931ad9f86626" providerId="ADAL" clId="{EC4884C5-7839-2547-8675-C9ACDD551AE3}" dt="2024-09-17T13:33:49.671" v="3015" actId="1035"/>
          <ac:grpSpMkLst>
            <pc:docMk/>
            <pc:sldMk cId="453232690" sldId="2147482548"/>
            <ac:grpSpMk id="2" creationId="{888CD63C-66DC-ACFC-2964-11C22E9292E8}"/>
          </ac:grpSpMkLst>
        </pc:grpChg>
        <pc:grpChg chg="mod">
          <ac:chgData name="Nicole Duyzers" userId="31f0efc2-85cf-4cd2-861c-931ad9f86626" providerId="ADAL" clId="{EC4884C5-7839-2547-8675-C9ACDD551AE3}" dt="2024-09-17T13:33:49.671" v="3015" actId="1035"/>
          <ac:grpSpMkLst>
            <pc:docMk/>
            <pc:sldMk cId="453232690" sldId="2147482548"/>
            <ac:grpSpMk id="10" creationId="{91B96F74-5928-DC68-DF18-0263C86AD1DA}"/>
          </ac:grpSpMkLst>
        </pc:grpChg>
        <pc:grpChg chg="mod">
          <ac:chgData name="Nicole Duyzers" userId="31f0efc2-85cf-4cd2-861c-931ad9f86626" providerId="ADAL" clId="{EC4884C5-7839-2547-8675-C9ACDD551AE3}" dt="2024-09-17T13:33:49.671" v="3015" actId="1035"/>
          <ac:grpSpMkLst>
            <pc:docMk/>
            <pc:sldMk cId="453232690" sldId="2147482548"/>
            <ac:grpSpMk id="15" creationId="{BC6E4072-F5ED-C2C1-E8AA-7FAB4417A52D}"/>
          </ac:grpSpMkLst>
        </pc:grpChg>
        <pc:grpChg chg="mod">
          <ac:chgData name="Nicole Duyzers" userId="31f0efc2-85cf-4cd2-861c-931ad9f86626" providerId="ADAL" clId="{EC4884C5-7839-2547-8675-C9ACDD551AE3}" dt="2024-09-17T13:33:49.671" v="3015" actId="1035"/>
          <ac:grpSpMkLst>
            <pc:docMk/>
            <pc:sldMk cId="453232690" sldId="2147482548"/>
            <ac:grpSpMk id="20" creationId="{E28C6FFD-376C-362C-E6AC-B4D3DCD9DE48}"/>
          </ac:grpSpMkLst>
        </pc:grpChg>
      </pc:sldChg>
      <pc:sldChg chg="addSp delSp modSp add del mod modClrScheme chgLayout">
        <pc:chgData name="Nicole Duyzers" userId="31f0efc2-85cf-4cd2-861c-931ad9f86626" providerId="ADAL" clId="{EC4884C5-7839-2547-8675-C9ACDD551AE3}" dt="2024-09-17T13:31:21.429" v="3001" actId="1076"/>
        <pc:sldMkLst>
          <pc:docMk/>
          <pc:sldMk cId="2506729015" sldId="2147482549"/>
        </pc:sldMkLst>
        <pc:spChg chg="mod ord">
          <ac:chgData name="Nicole Duyzers" userId="31f0efc2-85cf-4cd2-861c-931ad9f86626" providerId="ADAL" clId="{EC4884C5-7839-2547-8675-C9ACDD551AE3}" dt="2024-09-17T13:31:08.257" v="2997" actId="700"/>
          <ac:spMkLst>
            <pc:docMk/>
            <pc:sldMk cId="2506729015" sldId="2147482549"/>
            <ac:spMk id="2" creationId="{BD7615FB-C4D2-3BBC-A46F-A811041C02E7}"/>
          </ac:spMkLst>
        </pc:spChg>
        <pc:spChg chg="mod ord">
          <ac:chgData name="Nicole Duyzers" userId="31f0efc2-85cf-4cd2-861c-931ad9f86626" providerId="ADAL" clId="{EC4884C5-7839-2547-8675-C9ACDD551AE3}" dt="2024-09-17T13:31:08.288" v="2998" actId="27636"/>
          <ac:spMkLst>
            <pc:docMk/>
            <pc:sldMk cId="2506729015" sldId="2147482549"/>
            <ac:spMk id="3" creationId="{940308CF-947C-716E-1837-0B24A9CFEF16}"/>
          </ac:spMkLst>
        </pc:spChg>
        <pc:spChg chg="add del mod ord">
          <ac:chgData name="Nicole Duyzers" userId="31f0efc2-85cf-4cd2-861c-931ad9f86626" providerId="ADAL" clId="{EC4884C5-7839-2547-8675-C9ACDD551AE3}" dt="2024-09-17T13:31:10.958" v="2999" actId="478"/>
          <ac:spMkLst>
            <pc:docMk/>
            <pc:sldMk cId="2506729015" sldId="2147482549"/>
            <ac:spMk id="4" creationId="{96137153-6095-3004-762F-384587ED6C3A}"/>
          </ac:spMkLst>
        </pc:spChg>
        <pc:spChg chg="mod">
          <ac:chgData name="Nicole Duyzers" userId="31f0efc2-85cf-4cd2-861c-931ad9f86626" providerId="ADAL" clId="{EC4884C5-7839-2547-8675-C9ACDD551AE3}" dt="2024-09-17T13:31:21.429" v="3001" actId="1076"/>
          <ac:spMkLst>
            <pc:docMk/>
            <pc:sldMk cId="2506729015" sldId="2147482549"/>
            <ac:spMk id="25" creationId="{500C91B6-5A55-481D-AC57-61626F0EB826}"/>
          </ac:spMkLst>
        </pc:spChg>
      </pc:sldChg>
      <pc:sldChg chg="modSp add del mod modClrScheme chgLayout">
        <pc:chgData name="Nicole Duyzers" userId="31f0efc2-85cf-4cd2-861c-931ad9f86626" providerId="ADAL" clId="{EC4884C5-7839-2547-8675-C9ACDD551AE3}" dt="2024-09-17T13:33:19.653" v="3007" actId="1076"/>
        <pc:sldMkLst>
          <pc:docMk/>
          <pc:sldMk cId="1078689022" sldId="2147482550"/>
        </pc:sldMkLst>
        <pc:spChg chg="mod ord">
          <ac:chgData name="Nicole Duyzers" userId="31f0efc2-85cf-4cd2-861c-931ad9f86626" providerId="ADAL" clId="{EC4884C5-7839-2547-8675-C9ACDD551AE3}" dt="2024-09-17T13:33:09.027" v="3006" actId="700"/>
          <ac:spMkLst>
            <pc:docMk/>
            <pc:sldMk cId="1078689022" sldId="2147482550"/>
            <ac:spMk id="2" creationId="{E70C8EFC-DD16-4407-5D7A-5F89F54EE32C}"/>
          </ac:spMkLst>
        </pc:spChg>
        <pc:spChg chg="mod ord">
          <ac:chgData name="Nicole Duyzers" userId="31f0efc2-85cf-4cd2-861c-931ad9f86626" providerId="ADAL" clId="{EC4884C5-7839-2547-8675-C9ACDD551AE3}" dt="2024-09-17T13:33:19.653" v="3007" actId="1076"/>
          <ac:spMkLst>
            <pc:docMk/>
            <pc:sldMk cId="1078689022" sldId="2147482550"/>
            <ac:spMk id="3" creationId="{472EADF9-3D0E-5ACA-8ACF-A44B0F6A1858}"/>
          </ac:spMkLst>
        </pc:spChg>
        <pc:spChg chg="mod ord">
          <ac:chgData name="Nicole Duyzers" userId="31f0efc2-85cf-4cd2-861c-931ad9f86626" providerId="ADAL" clId="{EC4884C5-7839-2547-8675-C9ACDD551AE3}" dt="2024-09-17T13:33:09.027" v="3006" actId="700"/>
          <ac:spMkLst>
            <pc:docMk/>
            <pc:sldMk cId="1078689022" sldId="2147482550"/>
            <ac:spMk id="4" creationId="{99499AD2-CB5B-8E57-D64A-FD35500D902E}"/>
          </ac:spMkLst>
        </pc:spChg>
      </pc:sldChg>
      <pc:sldChg chg="new del">
        <pc:chgData name="Nicole Duyzers" userId="31f0efc2-85cf-4cd2-861c-931ad9f86626" providerId="ADAL" clId="{EC4884C5-7839-2547-8675-C9ACDD551AE3}" dt="2024-09-17T13:25:46.635" v="2953" actId="2696"/>
        <pc:sldMkLst>
          <pc:docMk/>
          <pc:sldMk cId="526759416" sldId="2147482551"/>
        </pc:sldMkLst>
      </pc:sldChg>
      <pc:sldChg chg="addSp delSp modSp new del mod">
        <pc:chgData name="Nicole Duyzers" userId="31f0efc2-85cf-4cd2-861c-931ad9f86626" providerId="ADAL" clId="{EC4884C5-7839-2547-8675-C9ACDD551AE3}" dt="2024-09-17T13:28:45.486" v="2972" actId="2696"/>
        <pc:sldMkLst>
          <pc:docMk/>
          <pc:sldMk cId="2252292482" sldId="2147482551"/>
        </pc:sldMkLst>
        <pc:spChg chg="del">
          <ac:chgData name="Nicole Duyzers" userId="31f0efc2-85cf-4cd2-861c-931ad9f86626" providerId="ADAL" clId="{EC4884C5-7839-2547-8675-C9ACDD551AE3}" dt="2024-09-17T13:28:06.159" v="2965" actId="478"/>
          <ac:spMkLst>
            <pc:docMk/>
            <pc:sldMk cId="2252292482" sldId="2147482551"/>
            <ac:spMk id="2" creationId="{DEEFA5CA-8635-C759-BB1C-881EA3FCCB85}"/>
          </ac:spMkLst>
        </pc:spChg>
        <pc:spChg chg="add mod">
          <ac:chgData name="Nicole Duyzers" userId="31f0efc2-85cf-4cd2-861c-931ad9f86626" providerId="ADAL" clId="{EC4884C5-7839-2547-8675-C9ACDD551AE3}" dt="2024-09-17T13:28:12.843" v="2966"/>
          <ac:spMkLst>
            <pc:docMk/>
            <pc:sldMk cId="2252292482" sldId="2147482551"/>
            <ac:spMk id="3" creationId="{51725A51-ECC3-2193-5C6D-F93CB68486FD}"/>
          </ac:spMkLst>
        </pc:spChg>
        <pc:spChg chg="mod">
          <ac:chgData name="Nicole Duyzers" userId="31f0efc2-85cf-4cd2-861c-931ad9f86626" providerId="ADAL" clId="{EC4884C5-7839-2547-8675-C9ACDD551AE3}" dt="2024-09-17T13:28:12.843" v="2966"/>
          <ac:spMkLst>
            <pc:docMk/>
            <pc:sldMk cId="2252292482" sldId="2147482551"/>
            <ac:spMk id="6" creationId="{A6F4477F-E574-CCB9-8356-837D4D4381B4}"/>
          </ac:spMkLst>
        </pc:spChg>
        <pc:spChg chg="mod">
          <ac:chgData name="Nicole Duyzers" userId="31f0efc2-85cf-4cd2-861c-931ad9f86626" providerId="ADAL" clId="{EC4884C5-7839-2547-8675-C9ACDD551AE3}" dt="2024-09-17T13:28:12.843" v="2966"/>
          <ac:spMkLst>
            <pc:docMk/>
            <pc:sldMk cId="2252292482" sldId="2147482551"/>
            <ac:spMk id="9" creationId="{E67756AA-19C9-08A5-1335-08F246D2DD45}"/>
          </ac:spMkLst>
        </pc:spChg>
        <pc:spChg chg="mod">
          <ac:chgData name="Nicole Duyzers" userId="31f0efc2-85cf-4cd2-861c-931ad9f86626" providerId="ADAL" clId="{EC4884C5-7839-2547-8675-C9ACDD551AE3}" dt="2024-09-17T13:28:12.843" v="2966"/>
          <ac:spMkLst>
            <pc:docMk/>
            <pc:sldMk cId="2252292482" sldId="2147482551"/>
            <ac:spMk id="12" creationId="{436D6F2A-8359-AB5B-A024-2FF378FDDF2D}"/>
          </ac:spMkLst>
        </pc:spChg>
        <pc:spChg chg="mod">
          <ac:chgData name="Nicole Duyzers" userId="31f0efc2-85cf-4cd2-861c-931ad9f86626" providerId="ADAL" clId="{EC4884C5-7839-2547-8675-C9ACDD551AE3}" dt="2024-09-17T13:28:12.843" v="2966"/>
          <ac:spMkLst>
            <pc:docMk/>
            <pc:sldMk cId="2252292482" sldId="2147482551"/>
            <ac:spMk id="15" creationId="{630F78E1-D6F4-DB73-6A12-FCD7E3DA79D1}"/>
          </ac:spMkLst>
        </pc:spChg>
        <pc:spChg chg="mod">
          <ac:chgData name="Nicole Duyzers" userId="31f0efc2-85cf-4cd2-861c-931ad9f86626" providerId="ADAL" clId="{EC4884C5-7839-2547-8675-C9ACDD551AE3}" dt="2024-09-17T13:28:12.843" v="2966"/>
          <ac:spMkLst>
            <pc:docMk/>
            <pc:sldMk cId="2252292482" sldId="2147482551"/>
            <ac:spMk id="18" creationId="{F76B0EF5-D46D-6E8F-F43C-1C93726DCC5D}"/>
          </ac:spMkLst>
        </pc:spChg>
        <pc:spChg chg="mod">
          <ac:chgData name="Nicole Duyzers" userId="31f0efc2-85cf-4cd2-861c-931ad9f86626" providerId="ADAL" clId="{EC4884C5-7839-2547-8675-C9ACDD551AE3}" dt="2024-09-17T13:28:12.843" v="2966"/>
          <ac:spMkLst>
            <pc:docMk/>
            <pc:sldMk cId="2252292482" sldId="2147482551"/>
            <ac:spMk id="21" creationId="{9900D234-849F-1BAC-399B-E718AA45E02C}"/>
          </ac:spMkLst>
        </pc:spChg>
        <pc:spChg chg="mod">
          <ac:chgData name="Nicole Duyzers" userId="31f0efc2-85cf-4cd2-861c-931ad9f86626" providerId="ADAL" clId="{EC4884C5-7839-2547-8675-C9ACDD551AE3}" dt="2024-09-17T13:28:12.843" v="2966"/>
          <ac:spMkLst>
            <pc:docMk/>
            <pc:sldMk cId="2252292482" sldId="2147482551"/>
            <ac:spMk id="23" creationId="{47FCF695-773D-82A4-A508-DC29A9F9319C}"/>
          </ac:spMkLst>
        </pc:spChg>
        <pc:spChg chg="mod">
          <ac:chgData name="Nicole Duyzers" userId="31f0efc2-85cf-4cd2-861c-931ad9f86626" providerId="ADAL" clId="{EC4884C5-7839-2547-8675-C9ACDD551AE3}" dt="2024-09-17T13:28:12.843" v="2966"/>
          <ac:spMkLst>
            <pc:docMk/>
            <pc:sldMk cId="2252292482" sldId="2147482551"/>
            <ac:spMk id="27" creationId="{23A7643F-DDC7-52EA-B02F-239A9D731F16}"/>
          </ac:spMkLst>
        </pc:spChg>
        <pc:spChg chg="add mod">
          <ac:chgData name="Nicole Duyzers" userId="31f0efc2-85cf-4cd2-861c-931ad9f86626" providerId="ADAL" clId="{EC4884C5-7839-2547-8675-C9ACDD551AE3}" dt="2024-09-17T13:28:12.843" v="2966"/>
          <ac:spMkLst>
            <pc:docMk/>
            <pc:sldMk cId="2252292482" sldId="2147482551"/>
            <ac:spMk id="28" creationId="{1E1DBECD-C4F2-8C59-D584-A29850A8A9CF}"/>
          </ac:spMkLst>
        </pc:spChg>
        <pc:spChg chg="add del mod">
          <ac:chgData name="Nicole Duyzers" userId="31f0efc2-85cf-4cd2-861c-931ad9f86626" providerId="ADAL" clId="{EC4884C5-7839-2547-8675-C9ACDD551AE3}" dt="2024-09-17T13:28:43.868" v="2971" actId="478"/>
          <ac:spMkLst>
            <pc:docMk/>
            <pc:sldMk cId="2252292482" sldId="2147482551"/>
            <ac:spMk id="29" creationId="{5804FBD1-6C1C-8DC7-F4DA-2B2E96C0A7B7}"/>
          </ac:spMkLst>
        </pc:spChg>
        <pc:spChg chg="mod">
          <ac:chgData name="Nicole Duyzers" userId="31f0efc2-85cf-4cd2-861c-931ad9f86626" providerId="ADAL" clId="{EC4884C5-7839-2547-8675-C9ACDD551AE3}" dt="2024-09-17T13:28:36.120" v="2967"/>
          <ac:spMkLst>
            <pc:docMk/>
            <pc:sldMk cId="2252292482" sldId="2147482551"/>
            <ac:spMk id="32" creationId="{EAA3F731-A2B2-8E2D-2966-D4824A91E528}"/>
          </ac:spMkLst>
        </pc:spChg>
        <pc:spChg chg="mod">
          <ac:chgData name="Nicole Duyzers" userId="31f0efc2-85cf-4cd2-861c-931ad9f86626" providerId="ADAL" clId="{EC4884C5-7839-2547-8675-C9ACDD551AE3}" dt="2024-09-17T13:28:36.120" v="2967"/>
          <ac:spMkLst>
            <pc:docMk/>
            <pc:sldMk cId="2252292482" sldId="2147482551"/>
            <ac:spMk id="35" creationId="{316DAFF5-F5B1-9A77-6E47-7E128488B59C}"/>
          </ac:spMkLst>
        </pc:spChg>
        <pc:spChg chg="mod">
          <ac:chgData name="Nicole Duyzers" userId="31f0efc2-85cf-4cd2-861c-931ad9f86626" providerId="ADAL" clId="{EC4884C5-7839-2547-8675-C9ACDD551AE3}" dt="2024-09-17T13:28:36.120" v="2967"/>
          <ac:spMkLst>
            <pc:docMk/>
            <pc:sldMk cId="2252292482" sldId="2147482551"/>
            <ac:spMk id="38" creationId="{D3767F1F-CD0E-AF17-13CE-89BCC98F1310}"/>
          </ac:spMkLst>
        </pc:spChg>
        <pc:spChg chg="mod">
          <ac:chgData name="Nicole Duyzers" userId="31f0efc2-85cf-4cd2-861c-931ad9f86626" providerId="ADAL" clId="{EC4884C5-7839-2547-8675-C9ACDD551AE3}" dt="2024-09-17T13:28:36.120" v="2967"/>
          <ac:spMkLst>
            <pc:docMk/>
            <pc:sldMk cId="2252292482" sldId="2147482551"/>
            <ac:spMk id="41" creationId="{741FCB60-1E70-DA0C-9180-B32F7F63DCDF}"/>
          </ac:spMkLst>
        </pc:spChg>
        <pc:spChg chg="mod">
          <ac:chgData name="Nicole Duyzers" userId="31f0efc2-85cf-4cd2-861c-931ad9f86626" providerId="ADAL" clId="{EC4884C5-7839-2547-8675-C9ACDD551AE3}" dt="2024-09-17T13:28:36.120" v="2967"/>
          <ac:spMkLst>
            <pc:docMk/>
            <pc:sldMk cId="2252292482" sldId="2147482551"/>
            <ac:spMk id="44" creationId="{7082B30F-DAB1-AF7F-0CF9-DF8472BA7988}"/>
          </ac:spMkLst>
        </pc:spChg>
        <pc:spChg chg="mod">
          <ac:chgData name="Nicole Duyzers" userId="31f0efc2-85cf-4cd2-861c-931ad9f86626" providerId="ADAL" clId="{EC4884C5-7839-2547-8675-C9ACDD551AE3}" dt="2024-09-17T13:28:36.120" v="2967"/>
          <ac:spMkLst>
            <pc:docMk/>
            <pc:sldMk cId="2252292482" sldId="2147482551"/>
            <ac:spMk id="47" creationId="{B3FDE1F1-F689-865F-8689-2949D59B9747}"/>
          </ac:spMkLst>
        </pc:spChg>
        <pc:spChg chg="mod">
          <ac:chgData name="Nicole Duyzers" userId="31f0efc2-85cf-4cd2-861c-931ad9f86626" providerId="ADAL" clId="{EC4884C5-7839-2547-8675-C9ACDD551AE3}" dt="2024-09-17T13:28:36.120" v="2967"/>
          <ac:spMkLst>
            <pc:docMk/>
            <pc:sldMk cId="2252292482" sldId="2147482551"/>
            <ac:spMk id="49" creationId="{AE7106F4-850A-A61D-9692-3E6F9C6597F0}"/>
          </ac:spMkLst>
        </pc:spChg>
        <pc:spChg chg="mod">
          <ac:chgData name="Nicole Duyzers" userId="31f0efc2-85cf-4cd2-861c-931ad9f86626" providerId="ADAL" clId="{EC4884C5-7839-2547-8675-C9ACDD551AE3}" dt="2024-09-17T13:28:36.120" v="2967"/>
          <ac:spMkLst>
            <pc:docMk/>
            <pc:sldMk cId="2252292482" sldId="2147482551"/>
            <ac:spMk id="53" creationId="{436D470D-5A6D-A502-0988-D45C99F3FF8B}"/>
          </ac:spMkLst>
        </pc:spChg>
        <pc:spChg chg="add del mod">
          <ac:chgData name="Nicole Duyzers" userId="31f0efc2-85cf-4cd2-861c-931ad9f86626" providerId="ADAL" clId="{EC4884C5-7839-2547-8675-C9ACDD551AE3}" dt="2024-09-17T13:28:43.868" v="2971" actId="478"/>
          <ac:spMkLst>
            <pc:docMk/>
            <pc:sldMk cId="2252292482" sldId="2147482551"/>
            <ac:spMk id="54" creationId="{CD520437-8194-71B6-B475-0D336AABBC91}"/>
          </ac:spMkLst>
        </pc:spChg>
        <pc:spChg chg="add mod">
          <ac:chgData name="Nicole Duyzers" userId="31f0efc2-85cf-4cd2-861c-931ad9f86626" providerId="ADAL" clId="{EC4884C5-7839-2547-8675-C9ACDD551AE3}" dt="2024-09-17T13:28:43.868" v="2971" actId="478"/>
          <ac:spMkLst>
            <pc:docMk/>
            <pc:sldMk cId="2252292482" sldId="2147482551"/>
            <ac:spMk id="56" creationId="{A1E6EFD3-3593-7D70-9672-90B6999CF0C7}"/>
          </ac:spMkLst>
        </pc:spChg>
        <pc:grpChg chg="add mod">
          <ac:chgData name="Nicole Duyzers" userId="31f0efc2-85cf-4cd2-861c-931ad9f86626" providerId="ADAL" clId="{EC4884C5-7839-2547-8675-C9ACDD551AE3}" dt="2024-09-17T13:28:12.843" v="2966"/>
          <ac:grpSpMkLst>
            <pc:docMk/>
            <pc:sldMk cId="2252292482" sldId="2147482551"/>
            <ac:grpSpMk id="4" creationId="{F07AC266-8639-1BD9-CBF2-ADDF34219EE4}"/>
          </ac:grpSpMkLst>
        </pc:grpChg>
        <pc:grpChg chg="add mod">
          <ac:chgData name="Nicole Duyzers" userId="31f0efc2-85cf-4cd2-861c-931ad9f86626" providerId="ADAL" clId="{EC4884C5-7839-2547-8675-C9ACDD551AE3}" dt="2024-09-17T13:28:12.843" v="2966"/>
          <ac:grpSpMkLst>
            <pc:docMk/>
            <pc:sldMk cId="2252292482" sldId="2147482551"/>
            <ac:grpSpMk id="7" creationId="{3633BF1C-2C5B-5CB4-CC4D-A86AF05BAD3D}"/>
          </ac:grpSpMkLst>
        </pc:grpChg>
        <pc:grpChg chg="add mod">
          <ac:chgData name="Nicole Duyzers" userId="31f0efc2-85cf-4cd2-861c-931ad9f86626" providerId="ADAL" clId="{EC4884C5-7839-2547-8675-C9ACDD551AE3}" dt="2024-09-17T13:28:12.843" v="2966"/>
          <ac:grpSpMkLst>
            <pc:docMk/>
            <pc:sldMk cId="2252292482" sldId="2147482551"/>
            <ac:grpSpMk id="10" creationId="{C0AFF2E8-A056-19B5-8059-16CCCB2B1192}"/>
          </ac:grpSpMkLst>
        </pc:grpChg>
        <pc:grpChg chg="add mod">
          <ac:chgData name="Nicole Duyzers" userId="31f0efc2-85cf-4cd2-861c-931ad9f86626" providerId="ADAL" clId="{EC4884C5-7839-2547-8675-C9ACDD551AE3}" dt="2024-09-17T13:28:12.843" v="2966"/>
          <ac:grpSpMkLst>
            <pc:docMk/>
            <pc:sldMk cId="2252292482" sldId="2147482551"/>
            <ac:grpSpMk id="13" creationId="{AC5D1A81-061C-83E2-3B2D-CCDD8753E67D}"/>
          </ac:grpSpMkLst>
        </pc:grpChg>
        <pc:grpChg chg="add mod">
          <ac:chgData name="Nicole Duyzers" userId="31f0efc2-85cf-4cd2-861c-931ad9f86626" providerId="ADAL" clId="{EC4884C5-7839-2547-8675-C9ACDD551AE3}" dt="2024-09-17T13:28:12.843" v="2966"/>
          <ac:grpSpMkLst>
            <pc:docMk/>
            <pc:sldMk cId="2252292482" sldId="2147482551"/>
            <ac:grpSpMk id="16" creationId="{C24E78F7-ECF7-5EFA-ED29-8EC46CE7BA5B}"/>
          </ac:grpSpMkLst>
        </pc:grpChg>
        <pc:grpChg chg="add mod">
          <ac:chgData name="Nicole Duyzers" userId="31f0efc2-85cf-4cd2-861c-931ad9f86626" providerId="ADAL" clId="{EC4884C5-7839-2547-8675-C9ACDD551AE3}" dt="2024-09-17T13:28:12.843" v="2966"/>
          <ac:grpSpMkLst>
            <pc:docMk/>
            <pc:sldMk cId="2252292482" sldId="2147482551"/>
            <ac:grpSpMk id="19" creationId="{96D37236-556D-9521-B94B-77571F67644C}"/>
          </ac:grpSpMkLst>
        </pc:grpChg>
        <pc:grpChg chg="add mod">
          <ac:chgData name="Nicole Duyzers" userId="31f0efc2-85cf-4cd2-861c-931ad9f86626" providerId="ADAL" clId="{EC4884C5-7839-2547-8675-C9ACDD551AE3}" dt="2024-09-17T13:28:12.843" v="2966"/>
          <ac:grpSpMkLst>
            <pc:docMk/>
            <pc:sldMk cId="2252292482" sldId="2147482551"/>
            <ac:grpSpMk id="22" creationId="{B1E2E1F2-A404-56B5-1C64-D1B299262A31}"/>
          </ac:grpSpMkLst>
        </pc:grpChg>
        <pc:grpChg chg="add mod">
          <ac:chgData name="Nicole Duyzers" userId="31f0efc2-85cf-4cd2-861c-931ad9f86626" providerId="ADAL" clId="{EC4884C5-7839-2547-8675-C9ACDD551AE3}" dt="2024-09-17T13:28:12.843" v="2966"/>
          <ac:grpSpMkLst>
            <pc:docMk/>
            <pc:sldMk cId="2252292482" sldId="2147482551"/>
            <ac:grpSpMk id="25" creationId="{631D11C6-FEB8-6E53-5C83-29E2C61D32DA}"/>
          </ac:grpSpMkLst>
        </pc:grpChg>
        <pc:grpChg chg="add del mod">
          <ac:chgData name="Nicole Duyzers" userId="31f0efc2-85cf-4cd2-861c-931ad9f86626" providerId="ADAL" clId="{EC4884C5-7839-2547-8675-C9ACDD551AE3}" dt="2024-09-17T13:28:43.868" v="2971" actId="478"/>
          <ac:grpSpMkLst>
            <pc:docMk/>
            <pc:sldMk cId="2252292482" sldId="2147482551"/>
            <ac:grpSpMk id="30" creationId="{1B121E7B-9FC9-41E5-EC77-984C67CACF9D}"/>
          </ac:grpSpMkLst>
        </pc:grpChg>
        <pc:grpChg chg="add del mod">
          <ac:chgData name="Nicole Duyzers" userId="31f0efc2-85cf-4cd2-861c-931ad9f86626" providerId="ADAL" clId="{EC4884C5-7839-2547-8675-C9ACDD551AE3}" dt="2024-09-17T13:28:43.868" v="2971" actId="478"/>
          <ac:grpSpMkLst>
            <pc:docMk/>
            <pc:sldMk cId="2252292482" sldId="2147482551"/>
            <ac:grpSpMk id="33" creationId="{9EC5E9A5-2360-B955-CD7F-045D9398E4BB}"/>
          </ac:grpSpMkLst>
        </pc:grpChg>
        <pc:grpChg chg="add del mod">
          <ac:chgData name="Nicole Duyzers" userId="31f0efc2-85cf-4cd2-861c-931ad9f86626" providerId="ADAL" clId="{EC4884C5-7839-2547-8675-C9ACDD551AE3}" dt="2024-09-17T13:28:43.868" v="2971" actId="478"/>
          <ac:grpSpMkLst>
            <pc:docMk/>
            <pc:sldMk cId="2252292482" sldId="2147482551"/>
            <ac:grpSpMk id="36" creationId="{E9F10CC8-36A9-FF87-B01A-E7C848B89A2A}"/>
          </ac:grpSpMkLst>
        </pc:grpChg>
        <pc:grpChg chg="add del mod">
          <ac:chgData name="Nicole Duyzers" userId="31f0efc2-85cf-4cd2-861c-931ad9f86626" providerId="ADAL" clId="{EC4884C5-7839-2547-8675-C9ACDD551AE3}" dt="2024-09-17T13:28:43.868" v="2971" actId="478"/>
          <ac:grpSpMkLst>
            <pc:docMk/>
            <pc:sldMk cId="2252292482" sldId="2147482551"/>
            <ac:grpSpMk id="39" creationId="{0BBC67C2-E8FC-04D5-5148-9BD3C005A418}"/>
          </ac:grpSpMkLst>
        </pc:grpChg>
        <pc:grpChg chg="add del mod">
          <ac:chgData name="Nicole Duyzers" userId="31f0efc2-85cf-4cd2-861c-931ad9f86626" providerId="ADAL" clId="{EC4884C5-7839-2547-8675-C9ACDD551AE3}" dt="2024-09-17T13:28:43.868" v="2971" actId="478"/>
          <ac:grpSpMkLst>
            <pc:docMk/>
            <pc:sldMk cId="2252292482" sldId="2147482551"/>
            <ac:grpSpMk id="42" creationId="{66DDD73F-9663-D1B1-205C-F1A12E2F6CDA}"/>
          </ac:grpSpMkLst>
        </pc:grpChg>
        <pc:grpChg chg="add del mod">
          <ac:chgData name="Nicole Duyzers" userId="31f0efc2-85cf-4cd2-861c-931ad9f86626" providerId="ADAL" clId="{EC4884C5-7839-2547-8675-C9ACDD551AE3}" dt="2024-09-17T13:28:43.868" v="2971" actId="478"/>
          <ac:grpSpMkLst>
            <pc:docMk/>
            <pc:sldMk cId="2252292482" sldId="2147482551"/>
            <ac:grpSpMk id="45" creationId="{DB5BC63A-A9EC-268D-6AB4-CB02A4D0A9C7}"/>
          </ac:grpSpMkLst>
        </pc:grpChg>
        <pc:grpChg chg="add del mod">
          <ac:chgData name="Nicole Duyzers" userId="31f0efc2-85cf-4cd2-861c-931ad9f86626" providerId="ADAL" clId="{EC4884C5-7839-2547-8675-C9ACDD551AE3}" dt="2024-09-17T13:28:43.868" v="2971" actId="478"/>
          <ac:grpSpMkLst>
            <pc:docMk/>
            <pc:sldMk cId="2252292482" sldId="2147482551"/>
            <ac:grpSpMk id="48" creationId="{F806E474-C425-7EE8-735F-919BED9E73E1}"/>
          </ac:grpSpMkLst>
        </pc:grpChg>
        <pc:grpChg chg="add del mod">
          <ac:chgData name="Nicole Duyzers" userId="31f0efc2-85cf-4cd2-861c-931ad9f86626" providerId="ADAL" clId="{EC4884C5-7839-2547-8675-C9ACDD551AE3}" dt="2024-09-17T13:28:43.868" v="2971" actId="478"/>
          <ac:grpSpMkLst>
            <pc:docMk/>
            <pc:sldMk cId="2252292482" sldId="2147482551"/>
            <ac:grpSpMk id="51" creationId="{C540B1E0-70C0-9A4B-6CB6-84167F9AEFEE}"/>
          </ac:grpSpMkLst>
        </pc:grpChg>
        <pc:picChg chg="mod">
          <ac:chgData name="Nicole Duyzers" userId="31f0efc2-85cf-4cd2-861c-931ad9f86626" providerId="ADAL" clId="{EC4884C5-7839-2547-8675-C9ACDD551AE3}" dt="2024-09-17T13:28:12.843" v="2966"/>
          <ac:picMkLst>
            <pc:docMk/>
            <pc:sldMk cId="2252292482" sldId="2147482551"/>
            <ac:picMk id="5" creationId="{FBD9ACC4-81F4-5B9E-828B-0A8D7B500DBF}"/>
          </ac:picMkLst>
        </pc:picChg>
        <pc:picChg chg="mod">
          <ac:chgData name="Nicole Duyzers" userId="31f0efc2-85cf-4cd2-861c-931ad9f86626" providerId="ADAL" clId="{EC4884C5-7839-2547-8675-C9ACDD551AE3}" dt="2024-09-17T13:28:12.843" v="2966"/>
          <ac:picMkLst>
            <pc:docMk/>
            <pc:sldMk cId="2252292482" sldId="2147482551"/>
            <ac:picMk id="8" creationId="{49274614-2738-08ED-EE5F-9FC00C82AFE8}"/>
          </ac:picMkLst>
        </pc:picChg>
        <pc:picChg chg="mod">
          <ac:chgData name="Nicole Duyzers" userId="31f0efc2-85cf-4cd2-861c-931ad9f86626" providerId="ADAL" clId="{EC4884C5-7839-2547-8675-C9ACDD551AE3}" dt="2024-09-17T13:28:12.843" v="2966"/>
          <ac:picMkLst>
            <pc:docMk/>
            <pc:sldMk cId="2252292482" sldId="2147482551"/>
            <ac:picMk id="11" creationId="{DF29284C-1F81-1940-D783-3FE7E4E9C300}"/>
          </ac:picMkLst>
        </pc:picChg>
        <pc:picChg chg="mod">
          <ac:chgData name="Nicole Duyzers" userId="31f0efc2-85cf-4cd2-861c-931ad9f86626" providerId="ADAL" clId="{EC4884C5-7839-2547-8675-C9ACDD551AE3}" dt="2024-09-17T13:28:12.843" v="2966"/>
          <ac:picMkLst>
            <pc:docMk/>
            <pc:sldMk cId="2252292482" sldId="2147482551"/>
            <ac:picMk id="14" creationId="{34A8C8CE-E3C3-9062-F77D-5B1531A709DA}"/>
          </ac:picMkLst>
        </pc:picChg>
        <pc:picChg chg="mod">
          <ac:chgData name="Nicole Duyzers" userId="31f0efc2-85cf-4cd2-861c-931ad9f86626" providerId="ADAL" clId="{EC4884C5-7839-2547-8675-C9ACDD551AE3}" dt="2024-09-17T13:28:12.843" v="2966"/>
          <ac:picMkLst>
            <pc:docMk/>
            <pc:sldMk cId="2252292482" sldId="2147482551"/>
            <ac:picMk id="17" creationId="{2DB56B28-D48C-9925-BB4D-AD9FCD2B5953}"/>
          </ac:picMkLst>
        </pc:picChg>
        <pc:picChg chg="mod">
          <ac:chgData name="Nicole Duyzers" userId="31f0efc2-85cf-4cd2-861c-931ad9f86626" providerId="ADAL" clId="{EC4884C5-7839-2547-8675-C9ACDD551AE3}" dt="2024-09-17T13:28:12.843" v="2966"/>
          <ac:picMkLst>
            <pc:docMk/>
            <pc:sldMk cId="2252292482" sldId="2147482551"/>
            <ac:picMk id="20" creationId="{9F6CD155-7D9F-E065-D8B5-75FD7FB87AAD}"/>
          </ac:picMkLst>
        </pc:picChg>
        <pc:picChg chg="mod">
          <ac:chgData name="Nicole Duyzers" userId="31f0efc2-85cf-4cd2-861c-931ad9f86626" providerId="ADAL" clId="{EC4884C5-7839-2547-8675-C9ACDD551AE3}" dt="2024-09-17T13:28:12.843" v="2966"/>
          <ac:picMkLst>
            <pc:docMk/>
            <pc:sldMk cId="2252292482" sldId="2147482551"/>
            <ac:picMk id="24" creationId="{7A832D3F-F425-5684-7E50-3125E165AA37}"/>
          </ac:picMkLst>
        </pc:picChg>
        <pc:picChg chg="mod">
          <ac:chgData name="Nicole Duyzers" userId="31f0efc2-85cf-4cd2-861c-931ad9f86626" providerId="ADAL" clId="{EC4884C5-7839-2547-8675-C9ACDD551AE3}" dt="2024-09-17T13:28:12.843" v="2966"/>
          <ac:picMkLst>
            <pc:docMk/>
            <pc:sldMk cId="2252292482" sldId="2147482551"/>
            <ac:picMk id="26" creationId="{F1490928-37F3-2F48-48FB-CD969629CC16}"/>
          </ac:picMkLst>
        </pc:picChg>
        <pc:picChg chg="mod">
          <ac:chgData name="Nicole Duyzers" userId="31f0efc2-85cf-4cd2-861c-931ad9f86626" providerId="ADAL" clId="{EC4884C5-7839-2547-8675-C9ACDD551AE3}" dt="2024-09-17T13:28:36.120" v="2967"/>
          <ac:picMkLst>
            <pc:docMk/>
            <pc:sldMk cId="2252292482" sldId="2147482551"/>
            <ac:picMk id="31" creationId="{816711B1-5AF1-6D3D-01A8-269AF3CD978B}"/>
          </ac:picMkLst>
        </pc:picChg>
        <pc:picChg chg="mod">
          <ac:chgData name="Nicole Duyzers" userId="31f0efc2-85cf-4cd2-861c-931ad9f86626" providerId="ADAL" clId="{EC4884C5-7839-2547-8675-C9ACDD551AE3}" dt="2024-09-17T13:28:36.120" v="2967"/>
          <ac:picMkLst>
            <pc:docMk/>
            <pc:sldMk cId="2252292482" sldId="2147482551"/>
            <ac:picMk id="34" creationId="{DF628B11-195C-42A7-CE53-5911CC75E429}"/>
          </ac:picMkLst>
        </pc:picChg>
        <pc:picChg chg="mod">
          <ac:chgData name="Nicole Duyzers" userId="31f0efc2-85cf-4cd2-861c-931ad9f86626" providerId="ADAL" clId="{EC4884C5-7839-2547-8675-C9ACDD551AE3}" dt="2024-09-17T13:28:36.120" v="2967"/>
          <ac:picMkLst>
            <pc:docMk/>
            <pc:sldMk cId="2252292482" sldId="2147482551"/>
            <ac:picMk id="37" creationId="{BF51A12C-66F4-94D4-A72E-50261942D654}"/>
          </ac:picMkLst>
        </pc:picChg>
        <pc:picChg chg="mod">
          <ac:chgData name="Nicole Duyzers" userId="31f0efc2-85cf-4cd2-861c-931ad9f86626" providerId="ADAL" clId="{EC4884C5-7839-2547-8675-C9ACDD551AE3}" dt="2024-09-17T13:28:36.120" v="2967"/>
          <ac:picMkLst>
            <pc:docMk/>
            <pc:sldMk cId="2252292482" sldId="2147482551"/>
            <ac:picMk id="40" creationId="{D6CAC9F0-4003-B13C-5838-8B54555E51FC}"/>
          </ac:picMkLst>
        </pc:picChg>
        <pc:picChg chg="mod">
          <ac:chgData name="Nicole Duyzers" userId="31f0efc2-85cf-4cd2-861c-931ad9f86626" providerId="ADAL" clId="{EC4884C5-7839-2547-8675-C9ACDD551AE3}" dt="2024-09-17T13:28:36.120" v="2967"/>
          <ac:picMkLst>
            <pc:docMk/>
            <pc:sldMk cId="2252292482" sldId="2147482551"/>
            <ac:picMk id="43" creationId="{E9C23868-EFCC-51BC-CC78-5EBB9EC5EA3E}"/>
          </ac:picMkLst>
        </pc:picChg>
        <pc:picChg chg="mod">
          <ac:chgData name="Nicole Duyzers" userId="31f0efc2-85cf-4cd2-861c-931ad9f86626" providerId="ADAL" clId="{EC4884C5-7839-2547-8675-C9ACDD551AE3}" dt="2024-09-17T13:28:36.120" v="2967"/>
          <ac:picMkLst>
            <pc:docMk/>
            <pc:sldMk cId="2252292482" sldId="2147482551"/>
            <ac:picMk id="46" creationId="{5693B895-2CC5-8200-3FFA-7463C97260BB}"/>
          </ac:picMkLst>
        </pc:picChg>
        <pc:picChg chg="mod">
          <ac:chgData name="Nicole Duyzers" userId="31f0efc2-85cf-4cd2-861c-931ad9f86626" providerId="ADAL" clId="{EC4884C5-7839-2547-8675-C9ACDD551AE3}" dt="2024-09-17T13:28:36.120" v="2967"/>
          <ac:picMkLst>
            <pc:docMk/>
            <pc:sldMk cId="2252292482" sldId="2147482551"/>
            <ac:picMk id="50" creationId="{79DF4467-D6C8-B0F7-A9CC-0DD9B4018EB2}"/>
          </ac:picMkLst>
        </pc:picChg>
        <pc:picChg chg="mod">
          <ac:chgData name="Nicole Duyzers" userId="31f0efc2-85cf-4cd2-861c-931ad9f86626" providerId="ADAL" clId="{EC4884C5-7839-2547-8675-C9ACDD551AE3}" dt="2024-09-17T13:28:36.120" v="2967"/>
          <ac:picMkLst>
            <pc:docMk/>
            <pc:sldMk cId="2252292482" sldId="2147482551"/>
            <ac:picMk id="52" creationId="{8F10E1C9-59DF-1655-5213-A039AA5AD683}"/>
          </ac:picMkLst>
        </pc:picChg>
      </pc:sldChg>
      <pc:sldChg chg="addSp modSp new mod modNotesTx">
        <pc:chgData name="Nicole Duyzers" userId="31f0efc2-85cf-4cd2-861c-931ad9f86626" providerId="ADAL" clId="{EC4884C5-7839-2547-8675-C9ACDD551AE3}" dt="2024-09-17T14:53:09.726" v="3104" actId="1076"/>
        <pc:sldMkLst>
          <pc:docMk/>
          <pc:sldMk cId="2982127854" sldId="2147482551"/>
        </pc:sldMkLst>
        <pc:spChg chg="mod">
          <ac:chgData name="Nicole Duyzers" userId="31f0efc2-85cf-4cd2-861c-931ad9f86626" providerId="ADAL" clId="{EC4884C5-7839-2547-8675-C9ACDD551AE3}" dt="2024-09-17T14:24:21.355" v="3091" actId="20577"/>
          <ac:spMkLst>
            <pc:docMk/>
            <pc:sldMk cId="2982127854" sldId="2147482551"/>
            <ac:spMk id="2" creationId="{41A7D589-0E0E-6F48-3F06-C1296CCBE1CE}"/>
          </ac:spMkLst>
        </pc:spChg>
        <pc:picChg chg="add mod modCrop">
          <ac:chgData name="Nicole Duyzers" userId="31f0efc2-85cf-4cd2-861c-931ad9f86626" providerId="ADAL" clId="{EC4884C5-7839-2547-8675-C9ACDD551AE3}" dt="2024-09-17T14:53:09.726" v="3104" actId="1076"/>
          <ac:picMkLst>
            <pc:docMk/>
            <pc:sldMk cId="2982127854" sldId="2147482551"/>
            <ac:picMk id="4" creationId="{51432637-A670-B447-2FC1-4D5C08BAEF04}"/>
          </ac:picMkLst>
        </pc:picChg>
      </pc:sldChg>
      <pc:sldMasterChg chg="delSldLayout modSldLayout">
        <pc:chgData name="Nicole Duyzers" userId="31f0efc2-85cf-4cd2-861c-931ad9f86626" providerId="ADAL" clId="{EC4884C5-7839-2547-8675-C9ACDD551AE3}" dt="2024-09-17T13:07:52.779" v="2815" actId="478"/>
        <pc:sldMasterMkLst>
          <pc:docMk/>
          <pc:sldMasterMk cId="664740756" sldId="2147483871"/>
        </pc:sldMasterMkLst>
        <pc:sldLayoutChg chg="addSp delSp modSp mod">
          <pc:chgData name="Nicole Duyzers" userId="31f0efc2-85cf-4cd2-861c-931ad9f86626" providerId="ADAL" clId="{EC4884C5-7839-2547-8675-C9ACDD551AE3}" dt="2024-09-03T11:58:39.395" v="940" actId="478"/>
          <pc:sldLayoutMkLst>
            <pc:docMk/>
            <pc:sldMasterMk cId="664740756" sldId="2147483871"/>
            <pc:sldLayoutMk cId="1970366234" sldId="2147483879"/>
          </pc:sldLayoutMkLst>
          <pc:spChg chg="mod">
            <ac:chgData name="Nicole Duyzers" userId="31f0efc2-85cf-4cd2-861c-931ad9f86626" providerId="ADAL" clId="{EC4884C5-7839-2547-8675-C9ACDD551AE3}" dt="2024-09-03T10:16:28.384" v="681" actId="2711"/>
            <ac:spMkLst>
              <pc:docMk/>
              <pc:sldMasterMk cId="664740756" sldId="2147483871"/>
              <pc:sldLayoutMk cId="1970366234" sldId="2147483879"/>
              <ac:spMk id="21" creationId="{8DCF3F75-A97F-D6D0-D3FB-8224D20134CC}"/>
            </ac:spMkLst>
          </pc:spChg>
          <pc:picChg chg="add mod">
            <ac:chgData name="Nicole Duyzers" userId="31f0efc2-85cf-4cd2-861c-931ad9f86626" providerId="ADAL" clId="{EC4884C5-7839-2547-8675-C9ACDD551AE3}" dt="2024-09-03T11:58:37.914" v="939" actId="167"/>
            <ac:picMkLst>
              <pc:docMk/>
              <pc:sldMasterMk cId="664740756" sldId="2147483871"/>
              <pc:sldLayoutMk cId="1970366234" sldId="2147483879"/>
              <ac:picMk id="3" creationId="{5B97B025-3B1C-80F6-217F-2D44049E39A2}"/>
            </ac:picMkLst>
          </pc:picChg>
          <pc:picChg chg="del">
            <ac:chgData name="Nicole Duyzers" userId="31f0efc2-85cf-4cd2-861c-931ad9f86626" providerId="ADAL" clId="{EC4884C5-7839-2547-8675-C9ACDD551AE3}" dt="2024-09-03T11:58:39.395" v="940" actId="478"/>
            <ac:picMkLst>
              <pc:docMk/>
              <pc:sldMasterMk cId="664740756" sldId="2147483871"/>
              <pc:sldLayoutMk cId="1970366234" sldId="2147483879"/>
              <ac:picMk id="16" creationId="{4111B644-06E7-A300-6242-A427B64E1BCE}"/>
            </ac:picMkLst>
          </pc:picChg>
        </pc:sldLayoutChg>
        <pc:sldLayoutChg chg="modSp">
          <pc:chgData name="Nicole Duyzers" userId="31f0efc2-85cf-4cd2-861c-931ad9f86626" providerId="ADAL" clId="{EC4884C5-7839-2547-8675-C9ACDD551AE3}" dt="2024-09-03T10:16:20.781" v="680" actId="2711"/>
          <pc:sldLayoutMkLst>
            <pc:docMk/>
            <pc:sldMasterMk cId="664740756" sldId="2147483871"/>
            <pc:sldLayoutMk cId="2611210878" sldId="2147483880"/>
          </pc:sldLayoutMkLst>
          <pc:spChg chg="mod">
            <ac:chgData name="Nicole Duyzers" userId="31f0efc2-85cf-4cd2-861c-931ad9f86626" providerId="ADAL" clId="{EC4884C5-7839-2547-8675-C9ACDD551AE3}" dt="2024-09-03T10:16:20.781" v="680" actId="2711"/>
            <ac:spMkLst>
              <pc:docMk/>
              <pc:sldMasterMk cId="664740756" sldId="2147483871"/>
              <pc:sldLayoutMk cId="2611210878" sldId="2147483880"/>
              <ac:spMk id="39" creationId="{00000000-0000-0000-0000-000000000000}"/>
            </ac:spMkLst>
          </pc:spChg>
        </pc:sldLayoutChg>
        <pc:sldLayoutChg chg="modSp">
          <pc:chgData name="Nicole Duyzers" userId="31f0efc2-85cf-4cd2-861c-931ad9f86626" providerId="ADAL" clId="{EC4884C5-7839-2547-8675-C9ACDD551AE3}" dt="2024-09-03T10:16:15.610" v="678" actId="2711"/>
          <pc:sldLayoutMkLst>
            <pc:docMk/>
            <pc:sldMasterMk cId="664740756" sldId="2147483871"/>
            <pc:sldLayoutMk cId="3727657874" sldId="2147483881"/>
          </pc:sldLayoutMkLst>
          <pc:spChg chg="mod">
            <ac:chgData name="Nicole Duyzers" userId="31f0efc2-85cf-4cd2-861c-931ad9f86626" providerId="ADAL" clId="{EC4884C5-7839-2547-8675-C9ACDD551AE3}" dt="2024-09-03T10:16:15.610" v="678" actId="2711"/>
            <ac:spMkLst>
              <pc:docMk/>
              <pc:sldMasterMk cId="664740756" sldId="2147483871"/>
              <pc:sldLayoutMk cId="3727657874" sldId="2147483881"/>
              <ac:spMk id="22" creationId="{00000000-0000-0000-0000-000000000000}"/>
            </ac:spMkLst>
          </pc:spChg>
        </pc:sldLayoutChg>
        <pc:sldLayoutChg chg="delSp modSp mod">
          <pc:chgData name="Nicole Duyzers" userId="31f0efc2-85cf-4cd2-861c-931ad9f86626" providerId="ADAL" clId="{EC4884C5-7839-2547-8675-C9ACDD551AE3}" dt="2024-09-17T13:07:52.779" v="2815" actId="478"/>
          <pc:sldLayoutMkLst>
            <pc:docMk/>
            <pc:sldMasterMk cId="664740756" sldId="2147483871"/>
            <pc:sldLayoutMk cId="553226530" sldId="2147483882"/>
          </pc:sldLayoutMkLst>
          <pc:spChg chg="mod">
            <ac:chgData name="Nicole Duyzers" userId="31f0efc2-85cf-4cd2-861c-931ad9f86626" providerId="ADAL" clId="{EC4884C5-7839-2547-8675-C9ACDD551AE3}" dt="2024-09-03T10:16:37.525" v="682" actId="2711"/>
            <ac:spMkLst>
              <pc:docMk/>
              <pc:sldMasterMk cId="664740756" sldId="2147483871"/>
              <pc:sldLayoutMk cId="553226530" sldId="2147483882"/>
              <ac:spMk id="16" creationId="{00000000-0000-0000-0000-000000000000}"/>
            </ac:spMkLst>
          </pc:spChg>
          <pc:cxnChg chg="mod">
            <ac:chgData name="Nicole Duyzers" userId="31f0efc2-85cf-4cd2-861c-931ad9f86626" providerId="ADAL" clId="{EC4884C5-7839-2547-8675-C9ACDD551AE3}" dt="2024-09-17T13:07:49.938" v="2813" actId="1036"/>
            <ac:cxnSpMkLst>
              <pc:docMk/>
              <pc:sldMasterMk cId="664740756" sldId="2147483871"/>
              <pc:sldLayoutMk cId="553226530" sldId="2147483882"/>
              <ac:cxnSpMk id="8" creationId="{A95E1E54-DD3F-49DB-A6B1-388DC5ACB21F}"/>
            </ac:cxnSpMkLst>
          </pc:cxnChg>
          <pc:cxnChg chg="del">
            <ac:chgData name="Nicole Duyzers" userId="31f0efc2-85cf-4cd2-861c-931ad9f86626" providerId="ADAL" clId="{EC4884C5-7839-2547-8675-C9ACDD551AE3}" dt="2024-09-17T13:07:52.779" v="2815" actId="478"/>
            <ac:cxnSpMkLst>
              <pc:docMk/>
              <pc:sldMasterMk cId="664740756" sldId="2147483871"/>
              <pc:sldLayoutMk cId="553226530" sldId="2147483882"/>
              <ac:cxnSpMk id="9" creationId="{00000000-0000-0000-0000-000000000000}"/>
            </ac:cxnSpMkLst>
          </pc:cxnChg>
          <pc:cxnChg chg="del">
            <ac:chgData name="Nicole Duyzers" userId="31f0efc2-85cf-4cd2-861c-931ad9f86626" providerId="ADAL" clId="{EC4884C5-7839-2547-8675-C9ACDD551AE3}" dt="2024-09-17T13:07:51.805" v="2814" actId="478"/>
            <ac:cxnSpMkLst>
              <pc:docMk/>
              <pc:sldMasterMk cId="664740756" sldId="2147483871"/>
              <pc:sldLayoutMk cId="553226530" sldId="2147483882"/>
              <ac:cxnSpMk id="10" creationId="{00000000-0000-0000-0000-000000000000}"/>
            </ac:cxnSpMkLst>
          </pc:cxnChg>
        </pc:sldLayoutChg>
        <pc:sldLayoutChg chg="addSp delSp modSp mod">
          <pc:chgData name="Nicole Duyzers" userId="31f0efc2-85cf-4cd2-861c-931ad9f86626" providerId="ADAL" clId="{EC4884C5-7839-2547-8675-C9ACDD551AE3}" dt="2024-09-03T11:57:41.638" v="926"/>
          <pc:sldLayoutMkLst>
            <pc:docMk/>
            <pc:sldMasterMk cId="664740756" sldId="2147483871"/>
            <pc:sldLayoutMk cId="1497000570" sldId="2147483884"/>
          </pc:sldLayoutMkLst>
          <pc:spChg chg="mod">
            <ac:chgData name="Nicole Duyzers" userId="31f0efc2-85cf-4cd2-861c-931ad9f86626" providerId="ADAL" clId="{EC4884C5-7839-2547-8675-C9ACDD551AE3}" dt="2024-09-03T10:16:56.434" v="685" actId="2711"/>
            <ac:spMkLst>
              <pc:docMk/>
              <pc:sldMasterMk cId="664740756" sldId="2147483871"/>
              <pc:sldLayoutMk cId="1497000570" sldId="2147483884"/>
              <ac:spMk id="3" creationId="{00000000-0000-0000-0000-000000000000}"/>
            </ac:spMkLst>
          </pc:spChg>
          <pc:picChg chg="del">
            <ac:chgData name="Nicole Duyzers" userId="31f0efc2-85cf-4cd2-861c-931ad9f86626" providerId="ADAL" clId="{EC4884C5-7839-2547-8675-C9ACDD551AE3}" dt="2024-09-03T11:57:31.957" v="923" actId="478"/>
            <ac:picMkLst>
              <pc:docMk/>
              <pc:sldMasterMk cId="664740756" sldId="2147483871"/>
              <pc:sldLayoutMk cId="1497000570" sldId="2147483884"/>
              <ac:picMk id="2" creationId="{C4FCB3C0-2525-7562-6B29-6EC0B7649ECC}"/>
            </ac:picMkLst>
          </pc:picChg>
          <pc:picChg chg="add mod">
            <ac:chgData name="Nicole Duyzers" userId="31f0efc2-85cf-4cd2-861c-931ad9f86626" providerId="ADAL" clId="{EC4884C5-7839-2547-8675-C9ACDD551AE3}" dt="2024-09-03T11:57:41.638" v="926"/>
            <ac:picMkLst>
              <pc:docMk/>
              <pc:sldMasterMk cId="664740756" sldId="2147483871"/>
              <pc:sldLayoutMk cId="1497000570" sldId="2147483884"/>
              <ac:picMk id="4" creationId="{EEA78835-70F4-DDDA-4856-FC4413D39DA2}"/>
            </ac:picMkLst>
          </pc:picChg>
        </pc:sldLayoutChg>
        <pc:sldLayoutChg chg="modSp">
          <pc:chgData name="Nicole Duyzers" userId="31f0efc2-85cf-4cd2-861c-931ad9f86626" providerId="ADAL" clId="{EC4884C5-7839-2547-8675-C9ACDD551AE3}" dt="2024-09-03T10:16:42.992" v="683" actId="2711"/>
          <pc:sldLayoutMkLst>
            <pc:docMk/>
            <pc:sldMasterMk cId="664740756" sldId="2147483871"/>
            <pc:sldLayoutMk cId="3145761667" sldId="2147483889"/>
          </pc:sldLayoutMkLst>
          <pc:spChg chg="mod">
            <ac:chgData name="Nicole Duyzers" userId="31f0efc2-85cf-4cd2-861c-931ad9f86626" providerId="ADAL" clId="{EC4884C5-7839-2547-8675-C9ACDD551AE3}" dt="2024-09-03T10:16:42.992" v="683" actId="2711"/>
            <ac:spMkLst>
              <pc:docMk/>
              <pc:sldMasterMk cId="664740756" sldId="2147483871"/>
              <pc:sldLayoutMk cId="3145761667" sldId="2147483889"/>
              <ac:spMk id="7" creationId="{00000000-0000-0000-0000-000000000000}"/>
            </ac:spMkLst>
          </pc:spChg>
        </pc:sldLayoutChg>
        <pc:sldLayoutChg chg="addSp delSp modSp mod">
          <pc:chgData name="Nicole Duyzers" userId="31f0efc2-85cf-4cd2-861c-931ad9f86626" providerId="ADAL" clId="{EC4884C5-7839-2547-8675-C9ACDD551AE3}" dt="2024-09-03T12:59:00.562" v="1603" actId="478"/>
          <pc:sldLayoutMkLst>
            <pc:docMk/>
            <pc:sldMasterMk cId="664740756" sldId="2147483871"/>
            <pc:sldLayoutMk cId="418794547" sldId="2147483891"/>
          </pc:sldLayoutMkLst>
          <pc:spChg chg="mod">
            <ac:chgData name="Nicole Duyzers" userId="31f0efc2-85cf-4cd2-861c-931ad9f86626" providerId="ADAL" clId="{EC4884C5-7839-2547-8675-C9ACDD551AE3}" dt="2024-09-03T12:58:37.321" v="1599" actId="14100"/>
            <ac:spMkLst>
              <pc:docMk/>
              <pc:sldMasterMk cId="664740756" sldId="2147483871"/>
              <pc:sldLayoutMk cId="418794547" sldId="2147483891"/>
              <ac:spMk id="3" creationId="{00000000-0000-0000-0000-000000000000}"/>
            </ac:spMkLst>
          </pc:spChg>
          <pc:spChg chg="add mod">
            <ac:chgData name="Nicole Duyzers" userId="31f0efc2-85cf-4cd2-861c-931ad9f86626" providerId="ADAL" clId="{EC4884C5-7839-2547-8675-C9ACDD551AE3}" dt="2024-09-03T12:47:21.047" v="1550" actId="1076"/>
            <ac:spMkLst>
              <pc:docMk/>
              <pc:sldMasterMk cId="664740756" sldId="2147483871"/>
              <pc:sldLayoutMk cId="418794547" sldId="2147483891"/>
              <ac:spMk id="5" creationId="{356B3C91-D364-A955-D60E-34A734AAFAA5}"/>
            </ac:spMkLst>
          </pc:spChg>
          <pc:spChg chg="del">
            <ac:chgData name="Nicole Duyzers" userId="31f0efc2-85cf-4cd2-861c-931ad9f86626" providerId="ADAL" clId="{EC4884C5-7839-2547-8675-C9ACDD551AE3}" dt="2024-09-03T12:47:25.616" v="1552" actId="478"/>
            <ac:spMkLst>
              <pc:docMk/>
              <pc:sldMasterMk cId="664740756" sldId="2147483871"/>
              <pc:sldLayoutMk cId="418794547" sldId="2147483891"/>
              <ac:spMk id="7" creationId="{00000000-0000-0000-0000-000000000000}"/>
            </ac:spMkLst>
          </pc:spChg>
          <pc:spChg chg="add del mod">
            <ac:chgData name="Nicole Duyzers" userId="31f0efc2-85cf-4cd2-861c-931ad9f86626" providerId="ADAL" clId="{EC4884C5-7839-2547-8675-C9ACDD551AE3}" dt="2024-09-03T12:59:00.562" v="1603" actId="478"/>
            <ac:spMkLst>
              <pc:docMk/>
              <pc:sldMasterMk cId="664740756" sldId="2147483871"/>
              <pc:sldLayoutMk cId="418794547" sldId="2147483891"/>
              <ac:spMk id="8" creationId="{F7127FBD-2DA5-68F0-1832-FDA82F39E48C}"/>
            </ac:spMkLst>
          </pc:spChg>
          <pc:spChg chg="del">
            <ac:chgData name="Nicole Duyzers" userId="31f0efc2-85cf-4cd2-861c-931ad9f86626" providerId="ADAL" clId="{EC4884C5-7839-2547-8675-C9ACDD551AE3}" dt="2024-09-03T12:47:24.565" v="1551" actId="478"/>
            <ac:spMkLst>
              <pc:docMk/>
              <pc:sldMasterMk cId="664740756" sldId="2147483871"/>
              <pc:sldLayoutMk cId="418794547" sldId="2147483891"/>
              <ac:spMk id="10" creationId="{F548A2A8-966A-4AE8-924D-A85FB872F052}"/>
            </ac:spMkLst>
          </pc:spChg>
          <pc:picChg chg="del">
            <ac:chgData name="Nicole Duyzers" userId="31f0efc2-85cf-4cd2-861c-931ad9f86626" providerId="ADAL" clId="{EC4884C5-7839-2547-8675-C9ACDD551AE3}" dt="2024-09-03T11:57:33.869" v="924" actId="478"/>
            <ac:picMkLst>
              <pc:docMk/>
              <pc:sldMasterMk cId="664740756" sldId="2147483871"/>
              <pc:sldLayoutMk cId="418794547" sldId="2147483891"/>
              <ac:picMk id="2" creationId="{22174245-960B-53AB-5399-B1A7EA74C4D2}"/>
            </ac:picMkLst>
          </pc:picChg>
          <pc:picChg chg="add del mod">
            <ac:chgData name="Nicole Duyzers" userId="31f0efc2-85cf-4cd2-861c-931ad9f86626" providerId="ADAL" clId="{EC4884C5-7839-2547-8675-C9ACDD551AE3}" dt="2024-09-03T12:47:46.909" v="1558" actId="478"/>
            <ac:picMkLst>
              <pc:docMk/>
              <pc:sldMasterMk cId="664740756" sldId="2147483871"/>
              <pc:sldLayoutMk cId="418794547" sldId="2147483891"/>
              <ac:picMk id="4" creationId="{A5050E49-FFB5-5E77-DBB7-D8E4A1D726AB}"/>
            </ac:picMkLst>
          </pc:picChg>
          <pc:picChg chg="add mod">
            <ac:chgData name="Nicole Duyzers" userId="31f0efc2-85cf-4cd2-861c-931ad9f86626" providerId="ADAL" clId="{EC4884C5-7839-2547-8675-C9ACDD551AE3}" dt="2024-09-03T12:47:51.053" v="1572" actId="1037"/>
            <ac:picMkLst>
              <pc:docMk/>
              <pc:sldMasterMk cId="664740756" sldId="2147483871"/>
              <pc:sldLayoutMk cId="418794547" sldId="2147483891"/>
              <ac:picMk id="6" creationId="{7255FDF1-DA79-0D4D-5E62-93C84C3BAE2D}"/>
            </ac:picMkLst>
          </pc:picChg>
          <pc:cxnChg chg="mod">
            <ac:chgData name="Nicole Duyzers" userId="31f0efc2-85cf-4cd2-861c-931ad9f86626" providerId="ADAL" clId="{EC4884C5-7839-2547-8675-C9ACDD551AE3}" dt="2024-09-03T12:58:41.198" v="1600" actId="14100"/>
            <ac:cxnSpMkLst>
              <pc:docMk/>
              <pc:sldMasterMk cId="664740756" sldId="2147483871"/>
              <pc:sldLayoutMk cId="418794547" sldId="2147483891"/>
              <ac:cxnSpMk id="9" creationId="{76E6C0D8-DE1E-4B94-88EA-1CD490D6F5E8}"/>
            </ac:cxnSpMkLst>
          </pc:cxnChg>
          <pc:cxnChg chg="add mod">
            <ac:chgData name="Nicole Duyzers" userId="31f0efc2-85cf-4cd2-861c-931ad9f86626" providerId="ADAL" clId="{EC4884C5-7839-2547-8675-C9ACDD551AE3}" dt="2024-09-03T12:58:50.965" v="1601"/>
            <ac:cxnSpMkLst>
              <pc:docMk/>
              <pc:sldMasterMk cId="664740756" sldId="2147483871"/>
              <pc:sldLayoutMk cId="418794547" sldId="2147483891"/>
              <ac:cxnSpMk id="13" creationId="{601F751F-201D-BC7A-9688-FAB7A4B41CAA}"/>
            </ac:cxnSpMkLst>
          </pc:cxnChg>
        </pc:sldLayoutChg>
        <pc:sldLayoutChg chg="modSp">
          <pc:chgData name="Nicole Duyzers" userId="31f0efc2-85cf-4cd2-861c-931ad9f86626" providerId="ADAL" clId="{EC4884C5-7839-2547-8675-C9ACDD551AE3}" dt="2024-09-03T10:17:08.015" v="687" actId="2711"/>
          <pc:sldLayoutMkLst>
            <pc:docMk/>
            <pc:sldMasterMk cId="664740756" sldId="2147483871"/>
            <pc:sldLayoutMk cId="223475947" sldId="2147483893"/>
          </pc:sldLayoutMkLst>
          <pc:spChg chg="mod">
            <ac:chgData name="Nicole Duyzers" userId="31f0efc2-85cf-4cd2-861c-931ad9f86626" providerId="ADAL" clId="{EC4884C5-7839-2547-8675-C9ACDD551AE3}" dt="2024-09-03T10:17:08.015" v="687" actId="2711"/>
            <ac:spMkLst>
              <pc:docMk/>
              <pc:sldMasterMk cId="664740756" sldId="2147483871"/>
              <pc:sldLayoutMk cId="223475947" sldId="2147483893"/>
              <ac:spMk id="7" creationId="{00000000-0000-0000-0000-000000000000}"/>
            </ac:spMkLst>
          </pc:spChg>
        </pc:sldLayoutChg>
        <pc:sldLayoutChg chg="addSp delSp modSp mod">
          <pc:chgData name="Nicole Duyzers" userId="31f0efc2-85cf-4cd2-861c-931ad9f86626" providerId="ADAL" clId="{EC4884C5-7839-2547-8675-C9ACDD551AE3}" dt="2024-09-05T12:08:25.760" v="2103" actId="208"/>
          <pc:sldLayoutMkLst>
            <pc:docMk/>
            <pc:sldMasterMk cId="664740756" sldId="2147483871"/>
            <pc:sldLayoutMk cId="3303258042" sldId="2147483894"/>
          </pc:sldLayoutMkLst>
          <pc:spChg chg="mod">
            <ac:chgData name="Nicole Duyzers" userId="31f0efc2-85cf-4cd2-861c-931ad9f86626" providerId="ADAL" clId="{EC4884C5-7839-2547-8675-C9ACDD551AE3}" dt="2024-09-05T12:08:22.233" v="2102" actId="207"/>
            <ac:spMkLst>
              <pc:docMk/>
              <pc:sldMasterMk cId="664740756" sldId="2147483871"/>
              <pc:sldLayoutMk cId="3303258042" sldId="2147483894"/>
              <ac:spMk id="7" creationId="{00000000-0000-0000-0000-000000000000}"/>
            </ac:spMkLst>
          </pc:spChg>
          <pc:spChg chg="mod">
            <ac:chgData name="Nicole Duyzers" userId="31f0efc2-85cf-4cd2-861c-931ad9f86626" providerId="ADAL" clId="{EC4884C5-7839-2547-8675-C9ACDD551AE3}" dt="2024-09-03T12:38:52.310" v="1427" actId="14100"/>
            <ac:spMkLst>
              <pc:docMk/>
              <pc:sldMasterMk cId="664740756" sldId="2147483871"/>
              <pc:sldLayoutMk cId="3303258042" sldId="2147483894"/>
              <ac:spMk id="9" creationId="{00000000-0000-0000-0000-000000000000}"/>
            </ac:spMkLst>
          </pc:spChg>
          <pc:spChg chg="mod">
            <ac:chgData name="Nicole Duyzers" userId="31f0efc2-85cf-4cd2-861c-931ad9f86626" providerId="ADAL" clId="{EC4884C5-7839-2547-8675-C9ACDD551AE3}" dt="2024-09-03T12:38:29.330" v="1421" actId="14100"/>
            <ac:spMkLst>
              <pc:docMk/>
              <pc:sldMasterMk cId="664740756" sldId="2147483871"/>
              <pc:sldLayoutMk cId="3303258042" sldId="2147483894"/>
              <ac:spMk id="11" creationId="{00000000-0000-0000-0000-000000000000}"/>
            </ac:spMkLst>
          </pc:spChg>
          <pc:picChg chg="add del mod">
            <ac:chgData name="Nicole Duyzers" userId="31f0efc2-85cf-4cd2-861c-931ad9f86626" providerId="ADAL" clId="{EC4884C5-7839-2547-8675-C9ACDD551AE3}" dt="2024-09-03T12:38:48.281" v="1426" actId="478"/>
            <ac:picMkLst>
              <pc:docMk/>
              <pc:sldMasterMk cId="664740756" sldId="2147483871"/>
              <pc:sldLayoutMk cId="3303258042" sldId="2147483894"/>
              <ac:picMk id="2" creationId="{A871C01F-7799-0454-803D-76F706F0E6A9}"/>
            </ac:picMkLst>
          </pc:picChg>
          <pc:picChg chg="del">
            <ac:chgData name="Nicole Duyzers" userId="31f0efc2-85cf-4cd2-861c-931ad9f86626" providerId="ADAL" clId="{EC4884C5-7839-2547-8675-C9ACDD551AE3}" dt="2024-09-03T11:57:37.116" v="925" actId="478"/>
            <ac:picMkLst>
              <pc:docMk/>
              <pc:sldMasterMk cId="664740756" sldId="2147483871"/>
              <pc:sldLayoutMk cId="3303258042" sldId="2147483894"/>
              <ac:picMk id="4" creationId="{1250446A-8B4C-CE72-5574-9F21612C8B09}"/>
            </ac:picMkLst>
          </pc:picChg>
          <pc:picChg chg="add del mod">
            <ac:chgData name="Nicole Duyzers" userId="31f0efc2-85cf-4cd2-861c-931ad9f86626" providerId="ADAL" clId="{EC4884C5-7839-2547-8675-C9ACDD551AE3}" dt="2024-09-03T12:47:59.378" v="1574" actId="478"/>
            <ac:picMkLst>
              <pc:docMk/>
              <pc:sldMasterMk cId="664740756" sldId="2147483871"/>
              <pc:sldLayoutMk cId="3303258042" sldId="2147483894"/>
              <ac:picMk id="6" creationId="{72F10774-6366-23D6-8BA1-C725E2C3B6CF}"/>
            </ac:picMkLst>
          </pc:picChg>
          <pc:picChg chg="add mod">
            <ac:chgData name="Nicole Duyzers" userId="31f0efc2-85cf-4cd2-861c-931ad9f86626" providerId="ADAL" clId="{EC4884C5-7839-2547-8675-C9ACDD551AE3}" dt="2024-09-03T12:56:11.121" v="1596" actId="1038"/>
            <ac:picMkLst>
              <pc:docMk/>
              <pc:sldMasterMk cId="664740756" sldId="2147483871"/>
              <pc:sldLayoutMk cId="3303258042" sldId="2147483894"/>
              <ac:picMk id="8" creationId="{9F847F35-430D-F96C-FE73-409299C82399}"/>
            </ac:picMkLst>
          </pc:picChg>
          <pc:cxnChg chg="add mod">
            <ac:chgData name="Nicole Duyzers" userId="31f0efc2-85cf-4cd2-861c-931ad9f86626" providerId="ADAL" clId="{EC4884C5-7839-2547-8675-C9ACDD551AE3}" dt="2024-09-05T12:08:25.760" v="2103" actId="208"/>
            <ac:cxnSpMkLst>
              <pc:docMk/>
              <pc:sldMasterMk cId="664740756" sldId="2147483871"/>
              <pc:sldLayoutMk cId="3303258042" sldId="2147483894"/>
              <ac:cxnSpMk id="3" creationId="{2C25FAEA-8BDC-BB04-99B8-A80C09EC07F9}"/>
            </ac:cxnSpMkLst>
          </pc:cxnChg>
        </pc:sldLayoutChg>
        <pc:sldLayoutChg chg="addSp delSp modSp mod">
          <pc:chgData name="Nicole Duyzers" userId="31f0efc2-85cf-4cd2-861c-931ad9f86626" providerId="ADAL" clId="{EC4884C5-7839-2547-8675-C9ACDD551AE3}" dt="2024-09-03T11:57:27.736" v="922"/>
          <pc:sldLayoutMkLst>
            <pc:docMk/>
            <pc:sldMasterMk cId="664740756" sldId="2147483871"/>
            <pc:sldLayoutMk cId="979294061" sldId="2147483896"/>
          </pc:sldLayoutMkLst>
          <pc:picChg chg="add mod">
            <ac:chgData name="Nicole Duyzers" userId="31f0efc2-85cf-4cd2-861c-931ad9f86626" providerId="ADAL" clId="{EC4884C5-7839-2547-8675-C9ACDD551AE3}" dt="2024-09-03T11:57:27.736" v="922"/>
            <ac:picMkLst>
              <pc:docMk/>
              <pc:sldMasterMk cId="664740756" sldId="2147483871"/>
              <pc:sldLayoutMk cId="979294061" sldId="2147483896"/>
              <ac:picMk id="2" creationId="{3E8A64D5-5F1C-942B-8CC7-EBBCF8F20321}"/>
            </ac:picMkLst>
          </pc:picChg>
          <pc:picChg chg="del">
            <ac:chgData name="Nicole Duyzers" userId="31f0efc2-85cf-4cd2-861c-931ad9f86626" providerId="ADAL" clId="{EC4884C5-7839-2547-8675-C9ACDD551AE3}" dt="2024-09-03T11:57:23.551" v="921" actId="478"/>
            <ac:picMkLst>
              <pc:docMk/>
              <pc:sldMasterMk cId="664740756" sldId="2147483871"/>
              <pc:sldLayoutMk cId="979294061" sldId="2147483896"/>
              <ac:picMk id="4" creationId="{3C5F283A-2856-6C88-6619-FF36A486B04A}"/>
            </ac:picMkLst>
          </pc:picChg>
        </pc:sldLayoutChg>
        <pc:sldLayoutChg chg="addSp delSp modSp mod">
          <pc:chgData name="Nicole Duyzers" userId="31f0efc2-85cf-4cd2-861c-931ad9f86626" providerId="ADAL" clId="{EC4884C5-7839-2547-8675-C9ACDD551AE3}" dt="2024-09-03T11:57:21.413" v="920"/>
          <pc:sldLayoutMkLst>
            <pc:docMk/>
            <pc:sldMasterMk cId="664740756" sldId="2147483871"/>
            <pc:sldLayoutMk cId="3744591885" sldId="2147483897"/>
          </pc:sldLayoutMkLst>
          <pc:spChg chg="mod">
            <ac:chgData name="Nicole Duyzers" userId="31f0efc2-85cf-4cd2-861c-931ad9f86626" providerId="ADAL" clId="{EC4884C5-7839-2547-8675-C9ACDD551AE3}" dt="2024-09-03T10:16:04.813" v="676" actId="2711"/>
            <ac:spMkLst>
              <pc:docMk/>
              <pc:sldMasterMk cId="664740756" sldId="2147483871"/>
              <pc:sldLayoutMk cId="3744591885" sldId="2147483897"/>
              <ac:spMk id="3" creationId="{00000000-0000-0000-0000-000000000000}"/>
            </ac:spMkLst>
          </pc:spChg>
          <pc:picChg chg="add mod">
            <ac:chgData name="Nicole Duyzers" userId="31f0efc2-85cf-4cd2-861c-931ad9f86626" providerId="ADAL" clId="{EC4884C5-7839-2547-8675-C9ACDD551AE3}" dt="2024-09-03T11:57:21.413" v="920"/>
            <ac:picMkLst>
              <pc:docMk/>
              <pc:sldMasterMk cId="664740756" sldId="2147483871"/>
              <pc:sldLayoutMk cId="3744591885" sldId="2147483897"/>
              <ac:picMk id="2" creationId="{E51AA062-4634-0794-F1FE-1A7B327F47FE}"/>
            </ac:picMkLst>
          </pc:picChg>
          <pc:picChg chg="del">
            <ac:chgData name="Nicole Duyzers" userId="31f0efc2-85cf-4cd2-861c-931ad9f86626" providerId="ADAL" clId="{EC4884C5-7839-2547-8675-C9ACDD551AE3}" dt="2024-09-03T11:57:16.342" v="919" actId="478"/>
            <ac:picMkLst>
              <pc:docMk/>
              <pc:sldMasterMk cId="664740756" sldId="2147483871"/>
              <pc:sldLayoutMk cId="3744591885" sldId="2147483897"/>
              <ac:picMk id="14" creationId="{CDD40697-2453-88B2-3E69-0E8BAD766A77}"/>
            </ac:picMkLst>
          </pc:picChg>
        </pc:sldLayoutChg>
        <pc:sldLayoutChg chg="addSp delSp modSp mod">
          <pc:chgData name="Nicole Duyzers" userId="31f0efc2-85cf-4cd2-861c-931ad9f86626" providerId="ADAL" clId="{EC4884C5-7839-2547-8675-C9ACDD551AE3}" dt="2024-09-03T11:57:10.164" v="918" actId="478"/>
          <pc:sldLayoutMkLst>
            <pc:docMk/>
            <pc:sldMasterMk cId="664740756" sldId="2147483871"/>
            <pc:sldLayoutMk cId="3668312007" sldId="2147483898"/>
          </pc:sldLayoutMkLst>
          <pc:spChg chg="mod">
            <ac:chgData name="Nicole Duyzers" userId="31f0efc2-85cf-4cd2-861c-931ad9f86626" providerId="ADAL" clId="{EC4884C5-7839-2547-8675-C9ACDD551AE3}" dt="2024-09-03T10:15:59.547" v="675" actId="2711"/>
            <ac:spMkLst>
              <pc:docMk/>
              <pc:sldMasterMk cId="664740756" sldId="2147483871"/>
              <pc:sldLayoutMk cId="3668312007" sldId="2147483898"/>
              <ac:spMk id="3" creationId="{00000000-0000-0000-0000-000000000000}"/>
            </ac:spMkLst>
          </pc:spChg>
          <pc:picChg chg="del">
            <ac:chgData name="Nicole Duyzers" userId="31f0efc2-85cf-4cd2-861c-931ad9f86626" providerId="ADAL" clId="{EC4884C5-7839-2547-8675-C9ACDD551AE3}" dt="2024-09-03T11:57:10.164" v="918" actId="478"/>
            <ac:picMkLst>
              <pc:docMk/>
              <pc:sldMasterMk cId="664740756" sldId="2147483871"/>
              <pc:sldLayoutMk cId="3668312007" sldId="2147483898"/>
              <ac:picMk id="4" creationId="{B634677A-8B1F-5395-3D51-68F1745D0FC6}"/>
            </ac:picMkLst>
          </pc:picChg>
          <pc:picChg chg="add mod">
            <ac:chgData name="Nicole Duyzers" userId="31f0efc2-85cf-4cd2-861c-931ad9f86626" providerId="ADAL" clId="{EC4884C5-7839-2547-8675-C9ACDD551AE3}" dt="2024-09-03T11:57:08.799" v="917" actId="167"/>
            <ac:picMkLst>
              <pc:docMk/>
              <pc:sldMasterMk cId="664740756" sldId="2147483871"/>
              <pc:sldLayoutMk cId="3668312007" sldId="2147483898"/>
              <ac:picMk id="5" creationId="{0067C55E-D286-1679-4589-69B3EF27B15A}"/>
            </ac:picMkLst>
          </pc:picChg>
          <pc:picChg chg="add del mod">
            <ac:chgData name="Nicole Duyzers" userId="31f0efc2-85cf-4cd2-861c-931ad9f86626" providerId="ADAL" clId="{EC4884C5-7839-2547-8675-C9ACDD551AE3}" dt="2024-09-03T11:56:47.998" v="910" actId="478"/>
            <ac:picMkLst>
              <pc:docMk/>
              <pc:sldMasterMk cId="664740756" sldId="2147483871"/>
              <pc:sldLayoutMk cId="3668312007" sldId="2147483898"/>
              <ac:picMk id="8" creationId="{09DCE9B4-6D78-877C-0631-47A604C55918}"/>
            </ac:picMkLst>
          </pc:picChg>
          <pc:picChg chg="add del mod">
            <ac:chgData name="Nicole Duyzers" userId="31f0efc2-85cf-4cd2-861c-931ad9f86626" providerId="ADAL" clId="{EC4884C5-7839-2547-8675-C9ACDD551AE3}" dt="2024-09-03T11:56:46.739" v="908" actId="478"/>
            <ac:picMkLst>
              <pc:docMk/>
              <pc:sldMasterMk cId="664740756" sldId="2147483871"/>
              <pc:sldLayoutMk cId="3668312007" sldId="2147483898"/>
              <ac:picMk id="13" creationId="{7CD959A3-AC08-495A-2605-CBE609B5F891}"/>
            </ac:picMkLst>
          </pc:picChg>
        </pc:sldLayoutChg>
        <pc:sldLayoutChg chg="modSp mod">
          <pc:chgData name="Nicole Duyzers" userId="31f0efc2-85cf-4cd2-861c-931ad9f86626" providerId="ADAL" clId="{EC4884C5-7839-2547-8675-C9ACDD551AE3}" dt="2024-09-13T12:32:33.486" v="2366" actId="1037"/>
          <pc:sldLayoutMkLst>
            <pc:docMk/>
            <pc:sldMasterMk cId="664740756" sldId="2147483871"/>
            <pc:sldLayoutMk cId="868958115" sldId="2147483899"/>
          </pc:sldLayoutMkLst>
          <pc:spChg chg="mod">
            <ac:chgData name="Nicole Duyzers" userId="31f0efc2-85cf-4cd2-861c-931ad9f86626" providerId="ADAL" clId="{EC4884C5-7839-2547-8675-C9ACDD551AE3}" dt="2024-09-13T12:30:41.758" v="2361" actId="20577"/>
            <ac:spMkLst>
              <pc:docMk/>
              <pc:sldMasterMk cId="664740756" sldId="2147483871"/>
              <pc:sldLayoutMk cId="868958115" sldId="2147483899"/>
              <ac:spMk id="11" creationId="{7C9237E2-512B-1BC4-8D59-A91424BA9462}"/>
            </ac:spMkLst>
          </pc:spChg>
          <pc:spChg chg="mod">
            <ac:chgData name="Nicole Duyzers" userId="31f0efc2-85cf-4cd2-861c-931ad9f86626" providerId="ADAL" clId="{EC4884C5-7839-2547-8675-C9ACDD551AE3}" dt="2024-09-13T12:30:27.009" v="2349" actId="20577"/>
            <ac:spMkLst>
              <pc:docMk/>
              <pc:sldMasterMk cId="664740756" sldId="2147483871"/>
              <pc:sldLayoutMk cId="868958115" sldId="2147483899"/>
              <ac:spMk id="14" creationId="{07D83FD2-BE82-AA39-85CC-721A8C6BEEDD}"/>
            </ac:spMkLst>
          </pc:spChg>
          <pc:spChg chg="mod">
            <ac:chgData name="Nicole Duyzers" userId="31f0efc2-85cf-4cd2-861c-931ad9f86626" providerId="ADAL" clId="{EC4884C5-7839-2547-8675-C9ACDD551AE3}" dt="2024-09-13T12:32:26.742" v="2364" actId="14826"/>
            <ac:spMkLst>
              <pc:docMk/>
              <pc:sldMasterMk cId="664740756" sldId="2147483871"/>
              <pc:sldLayoutMk cId="868958115" sldId="2147483899"/>
              <ac:spMk id="16" creationId="{9D2BEC9A-CB74-4E00-737D-D224467B65EA}"/>
            </ac:spMkLst>
          </pc:spChg>
          <pc:spChg chg="mod">
            <ac:chgData name="Nicole Duyzers" userId="31f0efc2-85cf-4cd2-861c-931ad9f86626" providerId="ADAL" clId="{EC4884C5-7839-2547-8675-C9ACDD551AE3}" dt="2024-09-03T10:16:49.782" v="684" actId="2711"/>
            <ac:spMkLst>
              <pc:docMk/>
              <pc:sldMasterMk cId="664740756" sldId="2147483871"/>
              <pc:sldLayoutMk cId="868958115" sldId="2147483899"/>
              <ac:spMk id="39" creationId="{43AD42DC-6664-42C6-BFDE-86F437C81272}"/>
            </ac:spMkLst>
          </pc:spChg>
          <pc:grpChg chg="mod">
            <ac:chgData name="Nicole Duyzers" userId="31f0efc2-85cf-4cd2-861c-931ad9f86626" providerId="ADAL" clId="{EC4884C5-7839-2547-8675-C9ACDD551AE3}" dt="2024-09-13T12:32:26.742" v="2364" actId="14826"/>
            <ac:grpSpMkLst>
              <pc:docMk/>
              <pc:sldMasterMk cId="664740756" sldId="2147483871"/>
              <pc:sldLayoutMk cId="868958115" sldId="2147483899"/>
              <ac:grpSpMk id="15" creationId="{3E3333D8-6202-894A-76C3-D1E5B44B678D}"/>
            </ac:grpSpMkLst>
          </pc:grpChg>
          <pc:picChg chg="mod">
            <ac:chgData name="Nicole Duyzers" userId="31f0efc2-85cf-4cd2-861c-931ad9f86626" providerId="ADAL" clId="{EC4884C5-7839-2547-8675-C9ACDD551AE3}" dt="2024-09-13T12:32:33.486" v="2366" actId="1037"/>
            <ac:picMkLst>
              <pc:docMk/>
              <pc:sldMasterMk cId="664740756" sldId="2147483871"/>
              <pc:sldLayoutMk cId="868958115" sldId="2147483899"/>
              <ac:picMk id="17" creationId="{8A80342F-98E3-A3EE-CCF1-73E928768312}"/>
            </ac:picMkLst>
          </pc:picChg>
        </pc:sldLayoutChg>
        <pc:sldLayoutChg chg="del">
          <pc:chgData name="Nicole Duyzers" userId="31f0efc2-85cf-4cd2-861c-931ad9f86626" providerId="ADAL" clId="{EC4884C5-7839-2547-8675-C9ACDD551AE3}" dt="2024-08-27T14:01:38.969" v="212" actId="2696"/>
          <pc:sldLayoutMkLst>
            <pc:docMk/>
            <pc:sldMasterMk cId="664740756" sldId="2147483871"/>
            <pc:sldLayoutMk cId="2983642645" sldId="2147483900"/>
          </pc:sldLayoutMkLst>
        </pc:sldLayoutChg>
        <pc:sldLayoutChg chg="addSp delSp modSp mod">
          <pc:chgData name="Nicole Duyzers" userId="31f0efc2-85cf-4cd2-861c-931ad9f86626" providerId="ADAL" clId="{EC4884C5-7839-2547-8675-C9ACDD551AE3}" dt="2024-09-03T11:58:08.643" v="930" actId="478"/>
          <pc:sldLayoutMkLst>
            <pc:docMk/>
            <pc:sldMasterMk cId="664740756" sldId="2147483871"/>
            <pc:sldLayoutMk cId="519473333" sldId="2147483903"/>
          </pc:sldLayoutMkLst>
          <pc:spChg chg="mod">
            <ac:chgData name="Nicole Duyzers" userId="31f0efc2-85cf-4cd2-861c-931ad9f86626" providerId="ADAL" clId="{EC4884C5-7839-2547-8675-C9ACDD551AE3}" dt="2024-09-03T10:16:10.329" v="677" actId="2711"/>
            <ac:spMkLst>
              <pc:docMk/>
              <pc:sldMasterMk cId="664740756" sldId="2147483871"/>
              <pc:sldLayoutMk cId="519473333" sldId="2147483903"/>
              <ac:spMk id="22" creationId="{00000000-0000-0000-0000-000000000000}"/>
            </ac:spMkLst>
          </pc:spChg>
          <pc:picChg chg="add del mod">
            <ac:chgData name="Nicole Duyzers" userId="31f0efc2-85cf-4cd2-861c-931ad9f86626" providerId="ADAL" clId="{EC4884C5-7839-2547-8675-C9ACDD551AE3}" dt="2024-09-03T11:58:08.643" v="930" actId="478"/>
            <ac:picMkLst>
              <pc:docMk/>
              <pc:sldMasterMk cId="664740756" sldId="2147483871"/>
              <pc:sldLayoutMk cId="519473333" sldId="2147483903"/>
              <ac:picMk id="3" creationId="{B8B014A8-9DA8-4F15-93CF-790406FEEBE8}"/>
            </ac:picMkLst>
          </pc:picChg>
        </pc:sldLayoutChg>
        <pc:sldLayoutChg chg="addSp delSp modSp mod">
          <pc:chgData name="Nicole Duyzers" userId="31f0efc2-85cf-4cd2-861c-931ad9f86626" providerId="ADAL" clId="{EC4884C5-7839-2547-8675-C9ACDD551AE3}" dt="2024-09-03T13:00:06.695" v="1609" actId="14100"/>
          <pc:sldLayoutMkLst>
            <pc:docMk/>
            <pc:sldMasterMk cId="664740756" sldId="2147483871"/>
            <pc:sldLayoutMk cId="3579840899" sldId="2147483904"/>
          </pc:sldLayoutMkLst>
          <pc:spChg chg="add del mod">
            <ac:chgData name="Nicole Duyzers" userId="31f0efc2-85cf-4cd2-861c-931ad9f86626" providerId="ADAL" clId="{EC4884C5-7839-2547-8675-C9ACDD551AE3}" dt="2024-09-03T13:00:00.128" v="1607" actId="478"/>
            <ac:spMkLst>
              <pc:docMk/>
              <pc:sldMasterMk cId="664740756" sldId="2147483871"/>
              <pc:sldLayoutMk cId="3579840899" sldId="2147483904"/>
              <ac:spMk id="2" creationId="{6D4CFB42-9F89-E7D4-2AB5-6EB577823FEB}"/>
            </ac:spMkLst>
          </pc:spChg>
          <pc:cxnChg chg="mod">
            <ac:chgData name="Nicole Duyzers" userId="31f0efc2-85cf-4cd2-861c-931ad9f86626" providerId="ADAL" clId="{EC4884C5-7839-2547-8675-C9ACDD551AE3}" dt="2024-09-03T13:00:06.695" v="1609" actId="14100"/>
            <ac:cxnSpMkLst>
              <pc:docMk/>
              <pc:sldMasterMk cId="664740756" sldId="2147483871"/>
              <pc:sldLayoutMk cId="3579840899" sldId="2147483904"/>
              <ac:cxnSpMk id="13" creationId="{601F751F-201D-BC7A-9688-FAB7A4B41CAA}"/>
            </ac:cxnSpMkLst>
          </pc:cxnChg>
        </pc:sldLayoutChg>
      </pc:sldMasterChg>
      <pc:sldMasterChg chg="new del mod addSldLayout">
        <pc:chgData name="Nicole Duyzers" userId="31f0efc2-85cf-4cd2-861c-931ad9f86626" providerId="ADAL" clId="{EC4884C5-7839-2547-8675-C9ACDD551AE3}" dt="2024-09-17T13:22:23.272" v="2928" actId="2696"/>
        <pc:sldMasterMkLst>
          <pc:docMk/>
          <pc:sldMasterMk cId="1703486706" sldId="2147483905"/>
        </pc:sldMasterMkLst>
        <pc:sldLayoutChg chg="new replId">
          <pc:chgData name="Nicole Duyzers" userId="31f0efc2-85cf-4cd2-861c-931ad9f86626" providerId="ADAL" clId="{EC4884C5-7839-2547-8675-C9ACDD551AE3}" dt="2024-09-17T13:21:57.040" v="2927" actId="6938"/>
          <pc:sldLayoutMkLst>
            <pc:docMk/>
            <pc:sldMasterMk cId="1703486706" sldId="2147483905"/>
            <pc:sldLayoutMk cId="17082162" sldId="2147483906"/>
          </pc:sldLayoutMkLst>
        </pc:sldLayoutChg>
        <pc:sldLayoutChg chg="new replId">
          <pc:chgData name="Nicole Duyzers" userId="31f0efc2-85cf-4cd2-861c-931ad9f86626" providerId="ADAL" clId="{EC4884C5-7839-2547-8675-C9ACDD551AE3}" dt="2024-09-17T13:21:57.040" v="2927" actId="6938"/>
          <pc:sldLayoutMkLst>
            <pc:docMk/>
            <pc:sldMasterMk cId="1703486706" sldId="2147483905"/>
            <pc:sldLayoutMk cId="2277531864" sldId="2147483907"/>
          </pc:sldLayoutMkLst>
        </pc:sldLayoutChg>
        <pc:sldLayoutChg chg="new replId">
          <pc:chgData name="Nicole Duyzers" userId="31f0efc2-85cf-4cd2-861c-931ad9f86626" providerId="ADAL" clId="{EC4884C5-7839-2547-8675-C9ACDD551AE3}" dt="2024-09-17T13:21:57.040" v="2927" actId="6938"/>
          <pc:sldLayoutMkLst>
            <pc:docMk/>
            <pc:sldMasterMk cId="1703486706" sldId="2147483905"/>
            <pc:sldLayoutMk cId="1368692342" sldId="2147483908"/>
          </pc:sldLayoutMkLst>
        </pc:sldLayoutChg>
        <pc:sldLayoutChg chg="new replId">
          <pc:chgData name="Nicole Duyzers" userId="31f0efc2-85cf-4cd2-861c-931ad9f86626" providerId="ADAL" clId="{EC4884C5-7839-2547-8675-C9ACDD551AE3}" dt="2024-09-17T13:21:57.040" v="2927" actId="6938"/>
          <pc:sldLayoutMkLst>
            <pc:docMk/>
            <pc:sldMasterMk cId="1703486706" sldId="2147483905"/>
            <pc:sldLayoutMk cId="1525705005" sldId="2147483909"/>
          </pc:sldLayoutMkLst>
        </pc:sldLayoutChg>
        <pc:sldLayoutChg chg="new replId">
          <pc:chgData name="Nicole Duyzers" userId="31f0efc2-85cf-4cd2-861c-931ad9f86626" providerId="ADAL" clId="{EC4884C5-7839-2547-8675-C9ACDD551AE3}" dt="2024-09-17T13:21:57.040" v="2927" actId="6938"/>
          <pc:sldLayoutMkLst>
            <pc:docMk/>
            <pc:sldMasterMk cId="1703486706" sldId="2147483905"/>
            <pc:sldLayoutMk cId="3473932750" sldId="2147483910"/>
          </pc:sldLayoutMkLst>
        </pc:sldLayoutChg>
        <pc:sldLayoutChg chg="new replId">
          <pc:chgData name="Nicole Duyzers" userId="31f0efc2-85cf-4cd2-861c-931ad9f86626" providerId="ADAL" clId="{EC4884C5-7839-2547-8675-C9ACDD551AE3}" dt="2024-09-17T13:21:57.040" v="2927" actId="6938"/>
          <pc:sldLayoutMkLst>
            <pc:docMk/>
            <pc:sldMasterMk cId="1703486706" sldId="2147483905"/>
            <pc:sldLayoutMk cId="3389024517" sldId="2147483911"/>
          </pc:sldLayoutMkLst>
        </pc:sldLayoutChg>
        <pc:sldLayoutChg chg="new replId">
          <pc:chgData name="Nicole Duyzers" userId="31f0efc2-85cf-4cd2-861c-931ad9f86626" providerId="ADAL" clId="{EC4884C5-7839-2547-8675-C9ACDD551AE3}" dt="2024-09-17T13:21:57.040" v="2927" actId="6938"/>
          <pc:sldLayoutMkLst>
            <pc:docMk/>
            <pc:sldMasterMk cId="1703486706" sldId="2147483905"/>
            <pc:sldLayoutMk cId="4135574082" sldId="2147483912"/>
          </pc:sldLayoutMkLst>
        </pc:sldLayoutChg>
        <pc:sldLayoutChg chg="new replId">
          <pc:chgData name="Nicole Duyzers" userId="31f0efc2-85cf-4cd2-861c-931ad9f86626" providerId="ADAL" clId="{EC4884C5-7839-2547-8675-C9ACDD551AE3}" dt="2024-09-17T13:21:57.040" v="2927" actId="6938"/>
          <pc:sldLayoutMkLst>
            <pc:docMk/>
            <pc:sldMasterMk cId="1703486706" sldId="2147483905"/>
            <pc:sldLayoutMk cId="632131461" sldId="2147483913"/>
          </pc:sldLayoutMkLst>
        </pc:sldLayoutChg>
        <pc:sldLayoutChg chg="new replId">
          <pc:chgData name="Nicole Duyzers" userId="31f0efc2-85cf-4cd2-861c-931ad9f86626" providerId="ADAL" clId="{EC4884C5-7839-2547-8675-C9ACDD551AE3}" dt="2024-09-17T13:21:57.040" v="2927" actId="6938"/>
          <pc:sldLayoutMkLst>
            <pc:docMk/>
            <pc:sldMasterMk cId="1703486706" sldId="2147483905"/>
            <pc:sldLayoutMk cId="1354764165" sldId="2147483914"/>
          </pc:sldLayoutMkLst>
        </pc:sldLayoutChg>
        <pc:sldLayoutChg chg="new replId">
          <pc:chgData name="Nicole Duyzers" userId="31f0efc2-85cf-4cd2-861c-931ad9f86626" providerId="ADAL" clId="{EC4884C5-7839-2547-8675-C9ACDD551AE3}" dt="2024-09-17T13:21:57.040" v="2927" actId="6938"/>
          <pc:sldLayoutMkLst>
            <pc:docMk/>
            <pc:sldMasterMk cId="1703486706" sldId="2147483905"/>
            <pc:sldLayoutMk cId="693755953" sldId="2147483915"/>
          </pc:sldLayoutMkLst>
        </pc:sldLayoutChg>
        <pc:sldLayoutChg chg="new replId">
          <pc:chgData name="Nicole Duyzers" userId="31f0efc2-85cf-4cd2-861c-931ad9f86626" providerId="ADAL" clId="{EC4884C5-7839-2547-8675-C9ACDD551AE3}" dt="2024-09-17T13:21:57.040" v="2927" actId="6938"/>
          <pc:sldLayoutMkLst>
            <pc:docMk/>
            <pc:sldMasterMk cId="1703486706" sldId="2147483905"/>
            <pc:sldLayoutMk cId="2007519605" sldId="2147483916"/>
          </pc:sldLayoutMkLst>
        </pc:sldLayoutChg>
      </pc:sldMasterChg>
    </pc:docChg>
  </pc:docChgLst>
  <pc:docChgLst>
    <pc:chgData name="Valentina Ughetto" userId="ec3dbeb6-a6a3-4bf1-8ccd-a40c75db4343" providerId="ADAL" clId="{A96E62A4-685B-6E4E-A883-755FE4191ECE}"/>
    <pc:docChg chg="modSld">
      <pc:chgData name="Valentina Ughetto" userId="ec3dbeb6-a6a3-4bf1-8ccd-a40c75db4343" providerId="ADAL" clId="{A96E62A4-685B-6E4E-A883-755FE4191ECE}" dt="2024-09-19T13:07:21.500" v="31" actId="20577"/>
      <pc:docMkLst>
        <pc:docMk/>
      </pc:docMkLst>
      <pc:sldChg chg="modSp mod">
        <pc:chgData name="Valentina Ughetto" userId="ec3dbeb6-a6a3-4bf1-8ccd-a40c75db4343" providerId="ADAL" clId="{A96E62A4-685B-6E4E-A883-755FE4191ECE}" dt="2024-09-18T09:01:14.927" v="30" actId="1076"/>
        <pc:sldMkLst>
          <pc:docMk/>
          <pc:sldMk cId="1350021132" sldId="2147472180"/>
        </pc:sldMkLst>
        <pc:spChg chg="mod">
          <ac:chgData name="Valentina Ughetto" userId="ec3dbeb6-a6a3-4bf1-8ccd-a40c75db4343" providerId="ADAL" clId="{A96E62A4-685B-6E4E-A883-755FE4191ECE}" dt="2024-09-18T09:00:14.301" v="28" actId="20577"/>
          <ac:spMkLst>
            <pc:docMk/>
            <pc:sldMk cId="1350021132" sldId="2147472180"/>
            <ac:spMk id="2" creationId="{A8B298B7-1C5F-9307-397E-FB351A5FE803}"/>
          </ac:spMkLst>
        </pc:spChg>
        <pc:picChg chg="mod">
          <ac:chgData name="Valentina Ughetto" userId="ec3dbeb6-a6a3-4bf1-8ccd-a40c75db4343" providerId="ADAL" clId="{A96E62A4-685B-6E4E-A883-755FE4191ECE}" dt="2024-09-18T09:01:14.927" v="30" actId="1076"/>
          <ac:picMkLst>
            <pc:docMk/>
            <pc:sldMk cId="1350021132" sldId="2147472180"/>
            <ac:picMk id="5" creationId="{049BE0AF-3BFE-D41A-649C-81FAA53D5A10}"/>
          </ac:picMkLst>
        </pc:picChg>
      </pc:sldChg>
      <pc:sldChg chg="modSp mod">
        <pc:chgData name="Valentina Ughetto" userId="ec3dbeb6-a6a3-4bf1-8ccd-a40c75db4343" providerId="ADAL" clId="{A96E62A4-685B-6E4E-A883-755FE4191ECE}" dt="2024-09-19T13:07:21.500" v="31" actId="20577"/>
        <pc:sldMkLst>
          <pc:docMk/>
          <pc:sldMk cId="1078689022" sldId="2147482550"/>
        </pc:sldMkLst>
        <pc:spChg chg="mod">
          <ac:chgData name="Valentina Ughetto" userId="ec3dbeb6-a6a3-4bf1-8ccd-a40c75db4343" providerId="ADAL" clId="{A96E62A4-685B-6E4E-A883-755FE4191ECE}" dt="2024-09-19T13:07:21.500" v="31" actId="20577"/>
          <ac:spMkLst>
            <pc:docMk/>
            <pc:sldMk cId="1078689022" sldId="2147482550"/>
            <ac:spMk id="2" creationId="{E70C8EFC-DD16-4407-5D7A-5F89F54EE32C}"/>
          </ac:spMkLst>
        </pc:spChg>
      </pc:sldChg>
    </pc:docChg>
  </pc:docChgLst>
  <pc:docChgLst>
    <pc:chgData name="Elsabe Matthee" userId="928e5330-9124-4934-8eb7-09f0f9bcffe9" providerId="ADAL" clId="{21BB3F9D-39B6-464C-846B-B52211B49010}"/>
    <pc:docChg chg="undo custSel addSld delSld modSld sldOrd">
      <pc:chgData name="Elsabe Matthee" userId="928e5330-9124-4934-8eb7-09f0f9bcffe9" providerId="ADAL" clId="{21BB3F9D-39B6-464C-846B-B52211B49010}" dt="2024-10-08T05:15:58.047" v="4565" actId="47"/>
      <pc:docMkLst>
        <pc:docMk/>
      </pc:docMkLst>
      <pc:sldChg chg="add del ord">
        <pc:chgData name="Elsabe Matthee" userId="928e5330-9124-4934-8eb7-09f0f9bcffe9" providerId="ADAL" clId="{21BB3F9D-39B6-464C-846B-B52211B49010}" dt="2024-10-08T05:13:05.672" v="4564" actId="47"/>
        <pc:sldMkLst>
          <pc:docMk/>
          <pc:sldMk cId="3921364560" sldId="259263"/>
        </pc:sldMkLst>
      </pc:sldChg>
      <pc:sldChg chg="modSp add mod ord">
        <pc:chgData name="Elsabe Matthee" userId="928e5330-9124-4934-8eb7-09f0f9bcffe9" providerId="ADAL" clId="{21BB3F9D-39B6-464C-846B-B52211B49010}" dt="2024-10-07T20:48:56.824" v="1167" actId="6549"/>
        <pc:sldMkLst>
          <pc:docMk/>
          <pc:sldMk cId="1914302859" sldId="259270"/>
        </pc:sldMkLst>
        <pc:spChg chg="mod">
          <ac:chgData name="Elsabe Matthee" userId="928e5330-9124-4934-8eb7-09f0f9bcffe9" providerId="ADAL" clId="{21BB3F9D-39B6-464C-846B-B52211B49010}" dt="2024-10-07T20:48:56.824" v="1167" actId="6549"/>
          <ac:spMkLst>
            <pc:docMk/>
            <pc:sldMk cId="1914302859" sldId="259270"/>
            <ac:spMk id="8" creationId="{7B05730F-DF07-31E7-312A-BEEF375119B6}"/>
          </ac:spMkLst>
        </pc:spChg>
      </pc:sldChg>
      <pc:sldChg chg="modSp add mod">
        <pc:chgData name="Elsabe Matthee" userId="928e5330-9124-4934-8eb7-09f0f9bcffe9" providerId="ADAL" clId="{21BB3F9D-39B6-464C-846B-B52211B49010}" dt="2024-10-08T05:06:46.813" v="4557" actId="207"/>
        <pc:sldMkLst>
          <pc:docMk/>
          <pc:sldMk cId="3529540488" sldId="259281"/>
        </pc:sldMkLst>
        <pc:spChg chg="mod">
          <ac:chgData name="Elsabe Matthee" userId="928e5330-9124-4934-8eb7-09f0f9bcffe9" providerId="ADAL" clId="{21BB3F9D-39B6-464C-846B-B52211B49010}" dt="2024-10-08T05:06:46.813" v="4557" actId="207"/>
          <ac:spMkLst>
            <pc:docMk/>
            <pc:sldMk cId="3529540488" sldId="259281"/>
            <ac:spMk id="3" creationId="{C68A33E6-E466-ED0E-EB95-56DFFFFC2106}"/>
          </ac:spMkLst>
        </pc:spChg>
        <pc:spChg chg="mod">
          <ac:chgData name="Elsabe Matthee" userId="928e5330-9124-4934-8eb7-09f0f9bcffe9" providerId="ADAL" clId="{21BB3F9D-39B6-464C-846B-B52211B49010}" dt="2024-10-08T05:06:08.046" v="4555" actId="207"/>
          <ac:spMkLst>
            <pc:docMk/>
            <pc:sldMk cId="3529540488" sldId="259281"/>
            <ac:spMk id="9" creationId="{C31ABD7C-DD94-FBFF-2359-6DB37CFCEEFC}"/>
          </ac:spMkLst>
        </pc:spChg>
        <pc:spChg chg="mod">
          <ac:chgData name="Elsabe Matthee" userId="928e5330-9124-4934-8eb7-09f0f9bcffe9" providerId="ADAL" clId="{21BB3F9D-39B6-464C-846B-B52211B49010}" dt="2024-10-07T21:29:05.812" v="1679" actId="207"/>
          <ac:spMkLst>
            <pc:docMk/>
            <pc:sldMk cId="3529540488" sldId="259281"/>
            <ac:spMk id="10" creationId="{7DBDBA99-E232-64D8-423D-17157492E8C8}"/>
          </ac:spMkLst>
        </pc:spChg>
      </pc:sldChg>
      <pc:sldChg chg="del">
        <pc:chgData name="Elsabe Matthee" userId="928e5330-9124-4934-8eb7-09f0f9bcffe9" providerId="ADAL" clId="{21BB3F9D-39B6-464C-846B-B52211B49010}" dt="2024-10-08T05:05:22.929" v="4553" actId="47"/>
        <pc:sldMkLst>
          <pc:docMk/>
          <pc:sldMk cId="855138816" sldId="2147472165"/>
        </pc:sldMkLst>
      </pc:sldChg>
      <pc:sldChg chg="addSp modSp mod">
        <pc:chgData name="Elsabe Matthee" userId="928e5330-9124-4934-8eb7-09f0f9bcffe9" providerId="ADAL" clId="{21BB3F9D-39B6-464C-846B-B52211B49010}" dt="2024-10-07T20:41:10.481" v="1138" actId="1076"/>
        <pc:sldMkLst>
          <pc:docMk/>
          <pc:sldMk cId="1350021132" sldId="2147472180"/>
        </pc:sldMkLst>
        <pc:picChg chg="add mod">
          <ac:chgData name="Elsabe Matthee" userId="928e5330-9124-4934-8eb7-09f0f9bcffe9" providerId="ADAL" clId="{21BB3F9D-39B6-464C-846B-B52211B49010}" dt="2024-10-07T20:41:10.481" v="1138" actId="1076"/>
          <ac:picMkLst>
            <pc:docMk/>
            <pc:sldMk cId="1350021132" sldId="2147472180"/>
            <ac:picMk id="3" creationId="{8840BE43-A3AD-E85B-4C2F-41CBA0F19FD2}"/>
          </ac:picMkLst>
        </pc:picChg>
      </pc:sldChg>
      <pc:sldChg chg="modSp mod modNotesTx">
        <pc:chgData name="Elsabe Matthee" userId="928e5330-9124-4934-8eb7-09f0f9bcffe9" providerId="ADAL" clId="{21BB3F9D-39B6-464C-846B-B52211B49010}" dt="2024-10-07T21:50:27.344" v="2536" actId="20577"/>
        <pc:sldMkLst>
          <pc:docMk/>
          <pc:sldMk cId="3903285682" sldId="2147472185"/>
        </pc:sldMkLst>
        <pc:spChg chg="mod">
          <ac:chgData name="Elsabe Matthee" userId="928e5330-9124-4934-8eb7-09f0f9bcffe9" providerId="ADAL" clId="{21BB3F9D-39B6-464C-846B-B52211B49010}" dt="2024-10-06T21:44:22.127" v="589" actId="20577"/>
          <ac:spMkLst>
            <pc:docMk/>
            <pc:sldMk cId="3903285682" sldId="2147472185"/>
            <ac:spMk id="5" creationId="{21429840-52D4-E2AB-DB8F-733049D34FB4}"/>
          </ac:spMkLst>
        </pc:spChg>
        <pc:spChg chg="mod">
          <ac:chgData name="Elsabe Matthee" userId="928e5330-9124-4934-8eb7-09f0f9bcffe9" providerId="ADAL" clId="{21BB3F9D-39B6-464C-846B-B52211B49010}" dt="2024-10-06T21:43:56.816" v="584" actId="6549"/>
          <ac:spMkLst>
            <pc:docMk/>
            <pc:sldMk cId="3903285682" sldId="2147472185"/>
            <ac:spMk id="8" creationId="{0115439D-D74E-5637-FC04-50886A4D8D12}"/>
          </ac:spMkLst>
        </pc:spChg>
        <pc:spChg chg="mod">
          <ac:chgData name="Elsabe Matthee" userId="928e5330-9124-4934-8eb7-09f0f9bcffe9" providerId="ADAL" clId="{21BB3F9D-39B6-464C-846B-B52211B49010}" dt="2024-10-06T21:43:42.136" v="571" actId="20577"/>
          <ac:spMkLst>
            <pc:docMk/>
            <pc:sldMk cId="3903285682" sldId="2147472185"/>
            <ac:spMk id="10" creationId="{8C562D18-1764-B0B4-9129-660E3CF5AADA}"/>
          </ac:spMkLst>
        </pc:spChg>
      </pc:sldChg>
      <pc:sldChg chg="addSp delSp modSp mod">
        <pc:chgData name="Elsabe Matthee" userId="928e5330-9124-4934-8eb7-09f0f9bcffe9" providerId="ADAL" clId="{21BB3F9D-39B6-464C-846B-B52211B49010}" dt="2024-10-08T05:10:12.845" v="4560" actId="478"/>
        <pc:sldMkLst>
          <pc:docMk/>
          <pc:sldMk cId="2754150740" sldId="2147472188"/>
        </pc:sldMkLst>
        <pc:spChg chg="mod">
          <ac:chgData name="Elsabe Matthee" userId="928e5330-9124-4934-8eb7-09f0f9bcffe9" providerId="ADAL" clId="{21BB3F9D-39B6-464C-846B-B52211B49010}" dt="2024-10-07T21:09:52.764" v="1532" actId="20577"/>
          <ac:spMkLst>
            <pc:docMk/>
            <pc:sldMk cId="2754150740" sldId="2147472188"/>
            <ac:spMk id="12" creationId="{F976E4CE-227C-C242-1026-304927071C2E}"/>
          </ac:spMkLst>
        </pc:spChg>
        <pc:spChg chg="mod">
          <ac:chgData name="Elsabe Matthee" userId="928e5330-9124-4934-8eb7-09f0f9bcffe9" providerId="ADAL" clId="{21BB3F9D-39B6-464C-846B-B52211B49010}" dt="2024-10-06T21:59:26.454" v="1127" actId="6549"/>
          <ac:spMkLst>
            <pc:docMk/>
            <pc:sldMk cId="2754150740" sldId="2147472188"/>
            <ac:spMk id="15" creationId="{A5FBCCAC-3409-946A-C834-41E6D4DDC05A}"/>
          </ac:spMkLst>
        </pc:spChg>
        <pc:picChg chg="add del mod">
          <ac:chgData name="Elsabe Matthee" userId="928e5330-9124-4934-8eb7-09f0f9bcffe9" providerId="ADAL" clId="{21BB3F9D-39B6-464C-846B-B52211B49010}" dt="2024-10-08T05:10:12.845" v="4560" actId="478"/>
          <ac:picMkLst>
            <pc:docMk/>
            <pc:sldMk cId="2754150740" sldId="2147472188"/>
            <ac:picMk id="20" creationId="{A043EC6D-A6FE-3796-63C3-989EE8DB9E3D}"/>
          </ac:picMkLst>
        </pc:picChg>
      </pc:sldChg>
      <pc:sldChg chg="modNotesTx">
        <pc:chgData name="Elsabe Matthee" userId="928e5330-9124-4934-8eb7-09f0f9bcffe9" providerId="ADAL" clId="{21BB3F9D-39B6-464C-846B-B52211B49010}" dt="2024-10-07T21:59:59.707" v="3035" actId="6549"/>
        <pc:sldMkLst>
          <pc:docMk/>
          <pc:sldMk cId="286896644" sldId="2147472189"/>
        </pc:sldMkLst>
      </pc:sldChg>
      <pc:sldChg chg="modNotesTx">
        <pc:chgData name="Elsabe Matthee" userId="928e5330-9124-4934-8eb7-09f0f9bcffe9" providerId="ADAL" clId="{21BB3F9D-39B6-464C-846B-B52211B49010}" dt="2024-10-07T21:24:15.762" v="1630" actId="6549"/>
        <pc:sldMkLst>
          <pc:docMk/>
          <pc:sldMk cId="2710122777" sldId="2147472191"/>
        </pc:sldMkLst>
      </pc:sldChg>
      <pc:sldChg chg="addSp modSp mod modNotesTx">
        <pc:chgData name="Elsabe Matthee" userId="928e5330-9124-4934-8eb7-09f0f9bcffe9" providerId="ADAL" clId="{21BB3F9D-39B6-464C-846B-B52211B49010}" dt="2024-10-07T21:27:49.431" v="1678" actId="1076"/>
        <pc:sldMkLst>
          <pc:docMk/>
          <pc:sldMk cId="2982769415" sldId="2147472192"/>
        </pc:sldMkLst>
        <pc:spChg chg="add mod">
          <ac:chgData name="Elsabe Matthee" userId="928e5330-9124-4934-8eb7-09f0f9bcffe9" providerId="ADAL" clId="{21BB3F9D-39B6-464C-846B-B52211B49010}" dt="2024-10-07T21:27:49.431" v="1678" actId="1076"/>
          <ac:spMkLst>
            <pc:docMk/>
            <pc:sldMk cId="2982769415" sldId="2147472192"/>
            <ac:spMk id="5" creationId="{BFB18E11-528D-A724-0243-97D99ED15552}"/>
          </ac:spMkLst>
        </pc:spChg>
        <pc:graphicFrameChg chg="mod">
          <ac:chgData name="Elsabe Matthee" userId="928e5330-9124-4934-8eb7-09f0f9bcffe9" providerId="ADAL" clId="{21BB3F9D-39B6-464C-846B-B52211B49010}" dt="2024-10-07T21:27:44.071" v="1677" actId="1076"/>
          <ac:graphicFrameMkLst>
            <pc:docMk/>
            <pc:sldMk cId="2982769415" sldId="2147472192"/>
            <ac:graphicFrameMk id="3" creationId="{5720D479-C0D4-B839-C406-039E699C9F30}"/>
          </ac:graphicFrameMkLst>
        </pc:graphicFrameChg>
      </pc:sldChg>
      <pc:sldChg chg="del">
        <pc:chgData name="Elsabe Matthee" userId="928e5330-9124-4934-8eb7-09f0f9bcffe9" providerId="ADAL" clId="{21BB3F9D-39B6-464C-846B-B52211B49010}" dt="2024-10-08T05:09:04.010" v="4558" actId="47"/>
        <pc:sldMkLst>
          <pc:docMk/>
          <pc:sldMk cId="3877814365" sldId="2147472193"/>
        </pc:sldMkLst>
      </pc:sldChg>
      <pc:sldChg chg="del">
        <pc:chgData name="Elsabe Matthee" userId="928e5330-9124-4934-8eb7-09f0f9bcffe9" providerId="ADAL" clId="{21BB3F9D-39B6-464C-846B-B52211B49010}" dt="2024-10-08T05:15:58.047" v="4565" actId="47"/>
        <pc:sldMkLst>
          <pc:docMk/>
          <pc:sldMk cId="153598475" sldId="2147472196"/>
        </pc:sldMkLst>
      </pc:sldChg>
      <pc:sldChg chg="modNotesTx">
        <pc:chgData name="Elsabe Matthee" userId="928e5330-9124-4934-8eb7-09f0f9bcffe9" providerId="ADAL" clId="{21BB3F9D-39B6-464C-846B-B52211B49010}" dt="2024-10-07T21:55:50.894" v="2912" actId="20577"/>
        <pc:sldMkLst>
          <pc:docMk/>
          <pc:sldMk cId="3769492332" sldId="2147472199"/>
        </pc:sldMkLst>
      </pc:sldChg>
      <pc:sldChg chg="modNotesTx">
        <pc:chgData name="Elsabe Matthee" userId="928e5330-9124-4934-8eb7-09f0f9bcffe9" providerId="ADAL" clId="{21BB3F9D-39B6-464C-846B-B52211B49010}" dt="2024-10-07T21:42:48.802" v="1772" actId="20577"/>
        <pc:sldMkLst>
          <pc:docMk/>
          <pc:sldMk cId="2982127854" sldId="2147482551"/>
        </pc:sldMkLst>
      </pc:sldChg>
      <pc:sldChg chg="modSp mod">
        <pc:chgData name="Elsabe Matthee" userId="928e5330-9124-4934-8eb7-09f0f9bcffe9" providerId="ADAL" clId="{21BB3F9D-39B6-464C-846B-B52211B49010}" dt="2024-10-07T21:43:24.494" v="1801" actId="20577"/>
        <pc:sldMkLst>
          <pc:docMk/>
          <pc:sldMk cId="1997712246" sldId="2147482552"/>
        </pc:sldMkLst>
        <pc:spChg chg="mod">
          <ac:chgData name="Elsabe Matthee" userId="928e5330-9124-4934-8eb7-09f0f9bcffe9" providerId="ADAL" clId="{21BB3F9D-39B6-464C-846B-B52211B49010}" dt="2024-10-07T21:43:24.494" v="1801" actId="20577"/>
          <ac:spMkLst>
            <pc:docMk/>
            <pc:sldMk cId="1997712246" sldId="2147482552"/>
            <ac:spMk id="2" creationId="{87277D4A-A643-4798-A6EF-C2D238FFBAA3}"/>
          </ac:spMkLst>
        </pc:spChg>
      </pc:sldChg>
      <pc:sldChg chg="modSp mod ord modNotesTx">
        <pc:chgData name="Elsabe Matthee" userId="928e5330-9124-4934-8eb7-09f0f9bcffe9" providerId="ADAL" clId="{21BB3F9D-39B6-464C-846B-B52211B49010}" dt="2024-10-07T22:06:36.604" v="3750" actId="20577"/>
        <pc:sldMkLst>
          <pc:docMk/>
          <pc:sldMk cId="735859458" sldId="2147482553"/>
        </pc:sldMkLst>
        <pc:spChg chg="mod">
          <ac:chgData name="Elsabe Matthee" userId="928e5330-9124-4934-8eb7-09f0f9bcffe9" providerId="ADAL" clId="{21BB3F9D-39B6-464C-846B-B52211B49010}" dt="2024-10-07T22:05:16.765" v="3610" actId="20577"/>
          <ac:spMkLst>
            <pc:docMk/>
            <pc:sldMk cId="735859458" sldId="2147482553"/>
            <ac:spMk id="3" creationId="{3433FA17-6E22-5669-2F81-7547AC97FBFC}"/>
          </ac:spMkLst>
        </pc:spChg>
      </pc:sldChg>
      <pc:sldChg chg="del modNotesTx">
        <pc:chgData name="Elsabe Matthee" userId="928e5330-9124-4934-8eb7-09f0f9bcffe9" providerId="ADAL" clId="{21BB3F9D-39B6-464C-846B-B52211B49010}" dt="2024-10-06T21:54:06.016" v="1112" actId="47"/>
        <pc:sldMkLst>
          <pc:docMk/>
          <pc:sldMk cId="734223629" sldId="2147482554"/>
        </pc:sldMkLst>
      </pc:sldChg>
      <pc:sldChg chg="modSp mod modNotesTx">
        <pc:chgData name="Elsabe Matthee" userId="928e5330-9124-4934-8eb7-09f0f9bcffe9" providerId="ADAL" clId="{21BB3F9D-39B6-464C-846B-B52211B49010}" dt="2024-10-07T22:13:36.341" v="4552" actId="20577"/>
        <pc:sldMkLst>
          <pc:docMk/>
          <pc:sldMk cId="3897799531" sldId="2147482555"/>
        </pc:sldMkLst>
        <pc:spChg chg="mod">
          <ac:chgData name="Elsabe Matthee" userId="928e5330-9124-4934-8eb7-09f0f9bcffe9" providerId="ADAL" clId="{21BB3F9D-39B6-464C-846B-B52211B49010}" dt="2024-10-07T21:08:27.819" v="1529" actId="20577"/>
          <ac:spMkLst>
            <pc:docMk/>
            <pc:sldMk cId="3897799531" sldId="2147482555"/>
            <ac:spMk id="7" creationId="{2FE33BF3-F152-47A0-324E-FE9F4918A492}"/>
          </ac:spMkLst>
        </pc:spChg>
      </pc:sldChg>
      <pc:sldChg chg="add del">
        <pc:chgData name="Elsabe Matthee" userId="928e5330-9124-4934-8eb7-09f0f9bcffe9" providerId="ADAL" clId="{21BB3F9D-39B6-464C-846B-B52211B49010}" dt="2024-10-08T05:12:03.408" v="4563" actId="47"/>
        <pc:sldMkLst>
          <pc:docMk/>
          <pc:sldMk cId="2190120628" sldId="2147482556"/>
        </pc:sldMkLst>
      </pc:sldChg>
      <pc:sldChg chg="del">
        <pc:chgData name="Elsabe Matthee" userId="928e5330-9124-4934-8eb7-09f0f9bcffe9" providerId="ADAL" clId="{21BB3F9D-39B6-464C-846B-B52211B49010}" dt="2024-10-08T05:05:44.335" v="4554" actId="47"/>
        <pc:sldMkLst>
          <pc:docMk/>
          <pc:sldMk cId="3934651971" sldId="2147482560"/>
        </pc:sldMkLst>
      </pc:sldChg>
      <pc:sldChg chg="modNotesTx">
        <pc:chgData name="Elsabe Matthee" userId="928e5330-9124-4934-8eb7-09f0f9bcffe9" providerId="ADAL" clId="{21BB3F9D-39B6-464C-846B-B52211B49010}" dt="2024-10-07T21:14:14.935" v="1545" actId="6549"/>
        <pc:sldMkLst>
          <pc:docMk/>
          <pc:sldMk cId="2261104105" sldId="2147482562"/>
        </pc:sldMkLst>
      </pc:sldChg>
      <pc:sldChg chg="modSp mod modNotesTx">
        <pc:chgData name="Elsabe Matthee" userId="928e5330-9124-4934-8eb7-09f0f9bcffe9" providerId="ADAL" clId="{21BB3F9D-39B6-464C-846B-B52211B49010}" dt="2024-10-07T21:15:08.612" v="1562" actId="20577"/>
        <pc:sldMkLst>
          <pc:docMk/>
          <pc:sldMk cId="2358615874" sldId="2147482565"/>
        </pc:sldMkLst>
        <pc:spChg chg="mod">
          <ac:chgData name="Elsabe Matthee" userId="928e5330-9124-4934-8eb7-09f0f9bcffe9" providerId="ADAL" clId="{21BB3F9D-39B6-464C-846B-B52211B49010}" dt="2024-10-07T21:15:08.612" v="1562" actId="20577"/>
          <ac:spMkLst>
            <pc:docMk/>
            <pc:sldMk cId="2358615874" sldId="2147482565"/>
            <ac:spMk id="4" creationId="{BA76FF73-C239-6FC8-E6F6-BB3D95F12900}"/>
          </ac:spMkLst>
        </pc:spChg>
      </pc:sldChg>
      <pc:sldMasterChg chg="delSldLayout">
        <pc:chgData name="Elsabe Matthee" userId="928e5330-9124-4934-8eb7-09f0f9bcffe9" providerId="ADAL" clId="{21BB3F9D-39B6-464C-846B-B52211B49010}" dt="2024-10-08T05:05:44.335" v="4554" actId="47"/>
        <pc:sldMasterMkLst>
          <pc:docMk/>
          <pc:sldMasterMk cId="664740756" sldId="2147483871"/>
        </pc:sldMasterMkLst>
        <pc:sldLayoutChg chg="del">
          <pc:chgData name="Elsabe Matthee" userId="928e5330-9124-4934-8eb7-09f0f9bcffe9" providerId="ADAL" clId="{21BB3F9D-39B6-464C-846B-B52211B49010}" dt="2024-10-08T05:05:44.335" v="4554" actId="47"/>
          <pc:sldLayoutMkLst>
            <pc:docMk/>
            <pc:sldMasterMk cId="664740756" sldId="2147483871"/>
            <pc:sldLayoutMk cId="3303258042" sldId="2147483894"/>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BF0924-920E-40D7-A8A7-C813C4AC0D04}" type="datetimeFigureOut">
              <a:rPr lang="en-US" smtClean="0"/>
              <a:t>10/8/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0036CE3-0FA3-41C4-804E-CAFBA8170EEE}" type="slidenum">
              <a:rPr lang="en-US" smtClean="0"/>
              <a:t>‹#›</a:t>
            </a:fld>
            <a:endParaRPr lang="en-US"/>
          </a:p>
        </p:txBody>
      </p:sp>
    </p:spTree>
    <p:extLst>
      <p:ext uri="{BB962C8B-B14F-4D97-AF65-F5344CB8AC3E}">
        <p14:creationId xmlns:p14="http://schemas.microsoft.com/office/powerpoint/2010/main" val="16048332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8A15F5-5C93-44EC-A386-569A72C1E7FB}" type="datetimeFigureOut">
              <a:rPr lang="en-US" smtClean="0"/>
              <a:t>10/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FE841-F19C-41F1-8C10-86F81307A1E9}" type="slidenum">
              <a:rPr lang="en-US" smtClean="0"/>
              <a:t>‹#›</a:t>
            </a:fld>
            <a:endParaRPr lang="en-US"/>
          </a:p>
        </p:txBody>
      </p:sp>
    </p:spTree>
    <p:extLst>
      <p:ext uri="{BB962C8B-B14F-4D97-AF65-F5344CB8AC3E}">
        <p14:creationId xmlns:p14="http://schemas.microsoft.com/office/powerpoint/2010/main" val="31235966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finance.ec.europa.eu/capital-markets-union-and-financial-markets/company-reporting-and-auditing/company-reporting/corporate-sustainability-reporting_en"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s://www.parl.ca/DocumentViewer/en/44-1/bill/S-211/third-reading" TargetMode="External"/><Relationship Id="rId4" Type="http://schemas.openxmlformats.org/officeDocument/2006/relationships/hyperlink" Target="https://ec.europa.eu/commission/presscorner/detail/en/ip_23_6599"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FSSC is a non-profit organization based in the Netherlands.  We are a Scheme owner.  This graphic shows what we call our branded house. As every house needs a strong foundation, you will see that our values form the foundation of our house.  </a:t>
            </a:r>
          </a:p>
          <a:p>
            <a:endParaRPr lang="en-US" dirty="0">
              <a:ea typeface="Calibri"/>
              <a:cs typeface="Calibri"/>
            </a:endParaRPr>
          </a:p>
          <a:p>
            <a:r>
              <a:rPr lang="en-US" dirty="0">
                <a:ea typeface="Calibri"/>
                <a:cs typeface="Calibri"/>
              </a:rPr>
              <a:t>Our values include </a:t>
            </a:r>
            <a:r>
              <a:rPr lang="en-US" dirty="0"/>
              <a:t>transparency, integrity, ambition, engagement, and care. These values are important for us in everything we do and in our collaboration with others.  Then our house has three pillars. The first pillar is our Schemes, including FSSC 24000, as well as our Scheme FSSC 22000, for Food Safety Management Systems.  </a:t>
            </a:r>
          </a:p>
          <a:p>
            <a:endParaRPr lang="en-US" dirty="0"/>
          </a:p>
          <a:p>
            <a:r>
              <a:rPr lang="en-US" dirty="0"/>
              <a:t>The second pillar is Assurance. Reliable certification and audits are very important, and we have an integrity program in place to ensure that FSSC audits are delivered to a high quality and provide a high level of assurance to the consumer goods industry. Together with our partners, such as Certification Bodies and Accreditation Bodies, we ensure that FSSC audits are delivered to a high quality and provide a high level of assurance to the consumer goods industry.</a:t>
            </a:r>
          </a:p>
          <a:p>
            <a:endParaRPr lang="en-US" dirty="0">
              <a:ea typeface="Calibri"/>
              <a:cs typeface="Calibri"/>
            </a:endParaRPr>
          </a:p>
          <a:p>
            <a:r>
              <a:rPr lang="en-US" dirty="0"/>
              <a:t>Our third and final pillar is improvement, as continuous improvement is a must for our organization. Then, it all leads upwards to supporting the brands and, together with us, creating a better world. </a:t>
            </a:r>
            <a:endParaRPr lang="en-US" dirty="0">
              <a:ea typeface="Calibri"/>
              <a:cs typeface="Calibri"/>
            </a:endParaRPr>
          </a:p>
          <a:p>
            <a:endParaRPr lang="en-US" dirty="0"/>
          </a:p>
        </p:txBody>
      </p:sp>
      <p:sp>
        <p:nvSpPr>
          <p:cNvPr id="4" name="Slide Number Placeholder 3"/>
          <p:cNvSpPr>
            <a:spLocks noGrp="1"/>
          </p:cNvSpPr>
          <p:nvPr>
            <p:ph type="sldNum" sz="quarter" idx="5"/>
          </p:nvPr>
        </p:nvSpPr>
        <p:spPr/>
        <p:txBody>
          <a:bodyPr/>
          <a:lstStyle/>
          <a:p>
            <a:fld id="{0DBFE841-F19C-41F1-8C10-86F81307A1E9}" type="slidenum">
              <a:rPr lang="en-US" smtClean="0"/>
              <a:t>3</a:t>
            </a:fld>
            <a:endParaRPr lang="en-US"/>
          </a:p>
        </p:txBody>
      </p:sp>
    </p:spTree>
    <p:extLst>
      <p:ext uri="{BB962C8B-B14F-4D97-AF65-F5344CB8AC3E}">
        <p14:creationId xmlns:p14="http://schemas.microsoft.com/office/powerpoint/2010/main" val="3833766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gnoring social risks could have the following impact on your business:</a:t>
            </a:r>
          </a:p>
        </p:txBody>
      </p:sp>
      <p:sp>
        <p:nvSpPr>
          <p:cNvPr id="4" name="Slide Number Placeholder 3"/>
          <p:cNvSpPr>
            <a:spLocks noGrp="1"/>
          </p:cNvSpPr>
          <p:nvPr>
            <p:ph type="sldNum" sz="quarter" idx="5"/>
          </p:nvPr>
        </p:nvSpPr>
        <p:spPr/>
        <p:txBody>
          <a:bodyPr/>
          <a:lstStyle/>
          <a:p>
            <a:fld id="{0DBFE841-F19C-41F1-8C10-86F81307A1E9}" type="slidenum">
              <a:rPr lang="en-US" smtClean="0"/>
              <a:t>12</a:t>
            </a:fld>
            <a:endParaRPr lang="en-US"/>
          </a:p>
        </p:txBody>
      </p:sp>
    </p:spTree>
    <p:extLst>
      <p:ext uri="{BB962C8B-B14F-4D97-AF65-F5344CB8AC3E}">
        <p14:creationId xmlns:p14="http://schemas.microsoft.com/office/powerpoint/2010/main" val="649366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entify and assess through the risk assessment – include working conditions, H&amp;S, Human rights, and Business ethics – needs to be embedded in your social policy</a:t>
            </a:r>
          </a:p>
          <a:p>
            <a:r>
              <a:rPr lang="en-US" dirty="0"/>
              <a:t>Define &amp; agree actions - planning</a:t>
            </a:r>
          </a:p>
          <a:p>
            <a:r>
              <a:rPr lang="en-US" dirty="0"/>
              <a:t>Communicate and live it by integrating it into the SMS</a:t>
            </a:r>
          </a:p>
          <a:p>
            <a:r>
              <a:rPr lang="en-US" dirty="0"/>
              <a:t>Reflect, review, evaluate and improve</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DBFE841-F19C-41F1-8C10-86F81307A1E9}" type="slidenum">
              <a:rPr lang="en-US" smtClean="0"/>
              <a:t>15</a:t>
            </a:fld>
            <a:endParaRPr lang="en-US"/>
          </a:p>
        </p:txBody>
      </p:sp>
    </p:spTree>
    <p:extLst>
      <p:ext uri="{BB962C8B-B14F-4D97-AF65-F5344CB8AC3E}">
        <p14:creationId xmlns:p14="http://schemas.microsoft.com/office/powerpoint/2010/main" val="15913077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pply Chain Visibility:</a:t>
            </a:r>
          </a:p>
          <a:p>
            <a:r>
              <a:rPr lang="en-US" dirty="0"/>
              <a:t>Accredited Certificate (3 years)</a:t>
            </a:r>
          </a:p>
          <a:p>
            <a:r>
              <a:rPr lang="en-US" dirty="0"/>
              <a:t>SSCI recognition (in progress) </a:t>
            </a:r>
          </a:p>
          <a:p>
            <a:r>
              <a:rPr lang="en-US" dirty="0"/>
              <a:t>IAF – MLA</a:t>
            </a:r>
          </a:p>
          <a:p>
            <a:r>
              <a:rPr lang="en-US" dirty="0"/>
              <a:t>Publicly available register </a:t>
            </a:r>
          </a:p>
          <a:p>
            <a:r>
              <a:rPr lang="en-US" dirty="0"/>
              <a:t>Future: the possibility for audit report and data sharing through the Assurance Platform</a:t>
            </a:r>
          </a:p>
          <a:p>
            <a:endParaRPr lang="en-US" dirty="0"/>
          </a:p>
          <a:p>
            <a:r>
              <a:rPr lang="en-US" dirty="0"/>
              <a:t>Foundation FSSC:</a:t>
            </a:r>
          </a:p>
          <a:p>
            <a:r>
              <a:rPr lang="en-US" dirty="0"/>
              <a:t>Non-Profit Foundation</a:t>
            </a:r>
          </a:p>
          <a:p>
            <a:r>
              <a:rPr lang="en-US" dirty="0"/>
              <a:t>Robust Integrity Program and Scheme Governance</a:t>
            </a:r>
          </a:p>
          <a:p>
            <a:r>
              <a:rPr lang="en-US" dirty="0"/>
              <a:t>Reliable audits and accredited third-party certification</a:t>
            </a:r>
          </a:p>
          <a:p>
            <a:r>
              <a:rPr lang="en-US" dirty="0"/>
              <a:t>Affordable annual certification fee</a:t>
            </a:r>
          </a:p>
          <a:p>
            <a:endParaRPr lang="en-US" dirty="0"/>
          </a:p>
          <a:p>
            <a:r>
              <a:rPr lang="en-US" dirty="0"/>
              <a:t>Integrated Management Systems:</a:t>
            </a:r>
          </a:p>
          <a:p>
            <a:r>
              <a:rPr lang="en-US" dirty="0"/>
              <a:t>ISO Management System Approach</a:t>
            </a:r>
          </a:p>
          <a:p>
            <a:r>
              <a:rPr lang="en-US" dirty="0"/>
              <a:t>PAS 24000: independent international standard according to the Harmonized Structure (HS)</a:t>
            </a:r>
          </a:p>
          <a:p>
            <a:r>
              <a:rPr lang="en-US" dirty="0"/>
              <a:t>Possible to integrate with other Management Systems, including combined audits,</a:t>
            </a:r>
          </a:p>
          <a:p>
            <a:endParaRPr lang="en-US" dirty="0"/>
          </a:p>
          <a:p>
            <a:r>
              <a:rPr lang="en-US" dirty="0"/>
              <a:t>Scheme:</a:t>
            </a:r>
          </a:p>
          <a:p>
            <a:r>
              <a:rPr lang="en-US" dirty="0"/>
              <a:t>Risk Based Approach</a:t>
            </a:r>
          </a:p>
          <a:p>
            <a:r>
              <a:rPr lang="en-US" dirty="0"/>
              <a:t>Allows for customization to add organization-specific requirements</a:t>
            </a:r>
          </a:p>
          <a:p>
            <a:r>
              <a:rPr lang="en-US" dirty="0"/>
              <a:t>Supporting FSSC Guidance Documents</a:t>
            </a:r>
          </a:p>
          <a:p>
            <a:r>
              <a:rPr lang="en-US" dirty="0"/>
              <a:t>Organizations used to work with ISO-based management systems are likely to experience a smooth implementation of the management principles of the scheme</a:t>
            </a:r>
          </a:p>
          <a:p>
            <a:r>
              <a:rPr lang="en-US" dirty="0"/>
              <a:t>Facilitates supply chain management through responsible social procurement and due diligence processes</a:t>
            </a:r>
          </a:p>
          <a:p>
            <a:endParaRPr lang="en-NL" dirty="0"/>
          </a:p>
        </p:txBody>
      </p:sp>
      <p:sp>
        <p:nvSpPr>
          <p:cNvPr id="4" name="Slide Number Placeholder 3"/>
          <p:cNvSpPr>
            <a:spLocks noGrp="1"/>
          </p:cNvSpPr>
          <p:nvPr>
            <p:ph type="sldNum" sz="quarter" idx="5"/>
          </p:nvPr>
        </p:nvSpPr>
        <p:spPr/>
        <p:txBody>
          <a:bodyPr/>
          <a:lstStyle/>
          <a:p>
            <a:fld id="{0DBFE841-F19C-41F1-8C10-86F81307A1E9}" type="slidenum">
              <a:rPr lang="en-US" smtClean="0"/>
              <a:t>16</a:t>
            </a:fld>
            <a:endParaRPr lang="en-US"/>
          </a:p>
        </p:txBody>
      </p:sp>
    </p:spTree>
    <p:extLst>
      <p:ext uri="{BB962C8B-B14F-4D97-AF65-F5344CB8AC3E}">
        <p14:creationId xmlns:p14="http://schemas.microsoft.com/office/powerpoint/2010/main" val="1726040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m is to provide safe and fair working conditions, apply good business ethics, and due diligence in the supply chain</a:t>
            </a:r>
            <a:endParaRPr lang="en-NL" dirty="0"/>
          </a:p>
        </p:txBody>
      </p:sp>
      <p:sp>
        <p:nvSpPr>
          <p:cNvPr id="4" name="Slide Number Placeholder 3"/>
          <p:cNvSpPr>
            <a:spLocks noGrp="1"/>
          </p:cNvSpPr>
          <p:nvPr>
            <p:ph type="sldNum" sz="quarter" idx="5"/>
          </p:nvPr>
        </p:nvSpPr>
        <p:spPr/>
        <p:txBody>
          <a:bodyPr/>
          <a:lstStyle/>
          <a:p>
            <a:fld id="{0DBFE841-F19C-41F1-8C10-86F81307A1E9}" type="slidenum">
              <a:rPr lang="en-US" smtClean="0"/>
              <a:t>17</a:t>
            </a:fld>
            <a:endParaRPr lang="en-US"/>
          </a:p>
        </p:txBody>
      </p:sp>
    </p:spTree>
    <p:extLst>
      <p:ext uri="{BB962C8B-B14F-4D97-AF65-F5344CB8AC3E}">
        <p14:creationId xmlns:p14="http://schemas.microsoft.com/office/powerpoint/2010/main" val="2164373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et and exceed stakeholder needs and requirements.  SSCI benchmarking provides gateway for market acceptance.</a:t>
            </a:r>
          </a:p>
          <a:p>
            <a:r>
              <a:rPr lang="en-US" dirty="0"/>
              <a:t>The management system, that has the PDCA cycle embedded provides solid platform to address changes in legislation, e.g. reporting actions on ESG </a:t>
            </a:r>
          </a:p>
          <a:p>
            <a:r>
              <a:rPr lang="en-US" dirty="0"/>
              <a:t>People needs to be at the heart of what you do, they need to be represented and involved in the business – it is part of maintaining involvement and a health culture in your business</a:t>
            </a:r>
          </a:p>
          <a:p>
            <a:r>
              <a:rPr lang="en-US" dirty="0"/>
              <a:t>It goes broader than your organization and its people as well – also reflect on how the local community is impacted, and the larger supply chain.</a:t>
            </a:r>
          </a:p>
          <a:p>
            <a:r>
              <a:rPr lang="en-US" dirty="0"/>
              <a:t>Cross-functional effort focused on continuous improv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Trebuchet MS"/>
                <a:ea typeface="LF_Kai"/>
              </a:rPr>
              <a:t>ESG externally verified – independent, accredited third party certification – provides credibility and trust – could lead to reduced supplier audits</a:t>
            </a:r>
          </a:p>
          <a:p>
            <a:endParaRPr lang="en-US" dirty="0"/>
          </a:p>
          <a:p>
            <a:endParaRPr lang="en-US" dirty="0"/>
          </a:p>
          <a:p>
            <a:endParaRPr lang="en-NL" dirty="0"/>
          </a:p>
        </p:txBody>
      </p:sp>
      <p:sp>
        <p:nvSpPr>
          <p:cNvPr id="4" name="Slide Number Placeholder 3"/>
          <p:cNvSpPr>
            <a:spLocks noGrp="1"/>
          </p:cNvSpPr>
          <p:nvPr>
            <p:ph type="sldNum" sz="quarter" idx="5"/>
          </p:nvPr>
        </p:nvSpPr>
        <p:spPr/>
        <p:txBody>
          <a:bodyPr/>
          <a:lstStyle/>
          <a:p>
            <a:fld id="{0DBFE841-F19C-41F1-8C10-86F81307A1E9}" type="slidenum">
              <a:rPr lang="en-US" smtClean="0"/>
              <a:t>19</a:t>
            </a:fld>
            <a:endParaRPr lang="en-US"/>
          </a:p>
        </p:txBody>
      </p:sp>
    </p:spTree>
    <p:extLst>
      <p:ext uri="{BB962C8B-B14F-4D97-AF65-F5344CB8AC3E}">
        <p14:creationId xmlns:p14="http://schemas.microsoft.com/office/powerpoint/2010/main" val="12990991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0DBFE841-F19C-41F1-8C10-86F81307A1E9}" type="slidenum">
              <a:rPr lang="en-US" smtClean="0"/>
              <a:t>20</a:t>
            </a:fld>
            <a:endParaRPr lang="en-US"/>
          </a:p>
        </p:txBody>
      </p:sp>
    </p:spTree>
    <p:extLst>
      <p:ext uri="{BB962C8B-B14F-4D97-AF65-F5344CB8AC3E}">
        <p14:creationId xmlns:p14="http://schemas.microsoft.com/office/powerpoint/2010/main" val="3216797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00" kern="100" dirty="0">
                <a:effectLst/>
                <a:latin typeface="Open Sans" panose="020B0606030504020204" pitchFamily="34" charset="0"/>
                <a:ea typeface="Calibri" panose="020F0502020204030204" pitchFamily="34" charset="0"/>
                <a:cs typeface="Arial" panose="020B0604020202020204" pitchFamily="34" charset="0"/>
              </a:rPr>
              <a:t>FSSC 24000 can have a positive effect on the following SDG's: </a:t>
            </a:r>
          </a:p>
          <a:p>
            <a:pPr>
              <a:lnSpc>
                <a:spcPct val="107000"/>
              </a:lnSpc>
              <a:spcAft>
                <a:spcPts val="800"/>
              </a:spcAft>
            </a:pPr>
            <a:r>
              <a:rPr lang="en-US" sz="1200" kern="100" dirty="0">
                <a:effectLst/>
                <a:latin typeface="Open Sans" panose="020B0606030504020204" pitchFamily="34" charset="0"/>
                <a:ea typeface="Calibri" panose="020F0502020204030204" pitchFamily="34" charset="0"/>
                <a:cs typeface="Arial" panose="020B0604020202020204" pitchFamily="34" charset="0"/>
              </a:rPr>
              <a:t>SDG 3 - Health and Wellbeing, </a:t>
            </a:r>
          </a:p>
          <a:p>
            <a:pPr>
              <a:lnSpc>
                <a:spcPct val="107000"/>
              </a:lnSpc>
              <a:spcAft>
                <a:spcPts val="800"/>
              </a:spcAft>
            </a:pPr>
            <a:r>
              <a:rPr lang="en-US" sz="1200" kern="100" dirty="0">
                <a:effectLst/>
                <a:latin typeface="Open Sans" panose="020B0606030504020204" pitchFamily="34" charset="0"/>
                <a:ea typeface="Calibri" panose="020F0502020204030204" pitchFamily="34" charset="0"/>
                <a:cs typeface="Arial" panose="020B0604020202020204" pitchFamily="34" charset="0"/>
              </a:rPr>
              <a:t>SDG 4 – Quality Education,</a:t>
            </a:r>
          </a:p>
          <a:p>
            <a:pPr>
              <a:lnSpc>
                <a:spcPct val="107000"/>
              </a:lnSpc>
              <a:spcAft>
                <a:spcPts val="800"/>
              </a:spcAft>
            </a:pPr>
            <a:r>
              <a:rPr lang="en-US" sz="1200" kern="100" dirty="0">
                <a:effectLst/>
                <a:latin typeface="Open Sans" panose="020B0606030504020204" pitchFamily="34" charset="0"/>
                <a:ea typeface="Calibri" panose="020F0502020204030204" pitchFamily="34" charset="0"/>
                <a:cs typeface="Arial" panose="020B0604020202020204" pitchFamily="34" charset="0"/>
              </a:rPr>
              <a:t>SDG 5 - Gender Equality, </a:t>
            </a:r>
          </a:p>
          <a:p>
            <a:pPr>
              <a:lnSpc>
                <a:spcPct val="107000"/>
              </a:lnSpc>
              <a:spcAft>
                <a:spcPts val="800"/>
              </a:spcAft>
            </a:pPr>
            <a:r>
              <a:rPr lang="en-US" sz="1200" kern="100" dirty="0">
                <a:effectLst/>
                <a:latin typeface="Open Sans" panose="020B0606030504020204" pitchFamily="34" charset="0"/>
                <a:ea typeface="Calibri" panose="020F0502020204030204" pitchFamily="34" charset="0"/>
                <a:cs typeface="Arial" panose="020B0604020202020204" pitchFamily="34" charset="0"/>
              </a:rPr>
              <a:t>SDG 6 – Clean Water and Sanitation,</a:t>
            </a:r>
          </a:p>
          <a:p>
            <a:pPr>
              <a:lnSpc>
                <a:spcPct val="107000"/>
              </a:lnSpc>
              <a:spcAft>
                <a:spcPts val="800"/>
              </a:spcAft>
            </a:pPr>
            <a:r>
              <a:rPr lang="en-US" sz="1200" kern="100" dirty="0">
                <a:effectLst/>
                <a:latin typeface="Open Sans" panose="020B0606030504020204" pitchFamily="34" charset="0"/>
                <a:ea typeface="Calibri" panose="020F0502020204030204" pitchFamily="34" charset="0"/>
                <a:cs typeface="Arial" panose="020B0604020202020204" pitchFamily="34" charset="0"/>
              </a:rPr>
              <a:t>SDG 8 - Decent Work Conditions, </a:t>
            </a:r>
          </a:p>
          <a:p>
            <a:pPr>
              <a:lnSpc>
                <a:spcPct val="107000"/>
              </a:lnSpc>
              <a:spcAft>
                <a:spcPts val="800"/>
              </a:spcAft>
            </a:pPr>
            <a:r>
              <a:rPr lang="en-US" sz="1200" kern="100" dirty="0">
                <a:effectLst/>
                <a:latin typeface="Open Sans" panose="020B0606030504020204" pitchFamily="34" charset="0"/>
                <a:ea typeface="Calibri" panose="020F0502020204030204" pitchFamily="34" charset="0"/>
                <a:cs typeface="Arial" panose="020B0604020202020204" pitchFamily="34" charset="0"/>
              </a:rPr>
              <a:t>SDG 10 - Reduced Inequalities,</a:t>
            </a:r>
          </a:p>
          <a:p>
            <a:pPr>
              <a:lnSpc>
                <a:spcPct val="107000"/>
              </a:lnSpc>
              <a:spcAft>
                <a:spcPts val="800"/>
              </a:spcAft>
            </a:pPr>
            <a:r>
              <a:rPr lang="en-US" sz="1200" kern="100" dirty="0">
                <a:effectLst/>
                <a:latin typeface="Open Sans" panose="020B0606030504020204" pitchFamily="34" charset="0"/>
                <a:ea typeface="Calibri" panose="020F0502020204030204" pitchFamily="34" charset="0"/>
                <a:cs typeface="Arial" panose="020B0604020202020204" pitchFamily="34" charset="0"/>
              </a:rPr>
              <a:t>SDG 12 - Responsible Production, </a:t>
            </a:r>
          </a:p>
          <a:p>
            <a:pPr>
              <a:lnSpc>
                <a:spcPct val="107000"/>
              </a:lnSpc>
              <a:spcAft>
                <a:spcPts val="800"/>
              </a:spcAft>
            </a:pPr>
            <a:r>
              <a:rPr lang="en-US" sz="1200" kern="100" dirty="0">
                <a:effectLst/>
                <a:latin typeface="Open Sans" panose="020B0606030504020204" pitchFamily="34" charset="0"/>
                <a:ea typeface="Calibri" panose="020F0502020204030204" pitchFamily="34" charset="0"/>
                <a:cs typeface="Arial" panose="020B0604020202020204" pitchFamily="34" charset="0"/>
              </a:rPr>
              <a:t>SDG 16 - Peace, Justice, and Strong Institutions (all matters related to Compliance and Governance are included in that SDG).</a:t>
            </a:r>
          </a:p>
        </p:txBody>
      </p:sp>
      <p:sp>
        <p:nvSpPr>
          <p:cNvPr id="4" name="Slide Number Placeholder 3"/>
          <p:cNvSpPr>
            <a:spLocks noGrp="1"/>
          </p:cNvSpPr>
          <p:nvPr>
            <p:ph type="sldNum" sz="quarter" idx="5"/>
          </p:nvPr>
        </p:nvSpPr>
        <p:spPr/>
        <p:txBody>
          <a:bodyPr/>
          <a:lstStyle/>
          <a:p>
            <a:fld id="{0DBFE841-F19C-41F1-8C10-86F81307A1E9}" type="slidenum">
              <a:rPr lang="en-US" smtClean="0"/>
              <a:t>22</a:t>
            </a:fld>
            <a:endParaRPr lang="en-US"/>
          </a:p>
        </p:txBody>
      </p:sp>
    </p:spTree>
    <p:extLst>
      <p:ext uri="{BB962C8B-B14F-4D97-AF65-F5344CB8AC3E}">
        <p14:creationId xmlns:p14="http://schemas.microsoft.com/office/powerpoint/2010/main" val="40791892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0DBFE841-F19C-41F1-8C10-86F81307A1E9}" type="slidenum">
              <a:rPr lang="en-US" smtClean="0"/>
              <a:t>23</a:t>
            </a:fld>
            <a:endParaRPr lang="en-US"/>
          </a:p>
        </p:txBody>
      </p:sp>
    </p:spTree>
    <p:extLst>
      <p:ext uri="{BB962C8B-B14F-4D97-AF65-F5344CB8AC3E}">
        <p14:creationId xmlns:p14="http://schemas.microsoft.com/office/powerpoint/2010/main" val="20339679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Obtain the FSSC 24000 documents - website</a:t>
            </a:r>
          </a:p>
          <a:p>
            <a:r>
              <a:rPr lang="en-US" dirty="0"/>
              <a:t>Scheme document &amp; PAS 24000</a:t>
            </a:r>
          </a:p>
          <a:p>
            <a:r>
              <a:rPr lang="en-US" dirty="0"/>
              <a:t>Conduct internal audit against requirements of FSSC 24000</a:t>
            </a:r>
          </a:p>
          <a:p>
            <a:r>
              <a:rPr lang="en-US" dirty="0"/>
              <a:t>Also refer to the Guidance documents on the FSSC website</a:t>
            </a:r>
          </a:p>
          <a:p>
            <a:r>
              <a:rPr lang="en-US" dirty="0"/>
              <a:t>Action and implement any identified issues/shortcomings</a:t>
            </a:r>
          </a:p>
          <a:p>
            <a:r>
              <a:rPr lang="en-US" dirty="0"/>
              <a:t>Contact an FSSC 24000 licensed CB to arrange audit– refer website</a:t>
            </a:r>
          </a:p>
          <a:p>
            <a:r>
              <a:rPr lang="en-US" dirty="0"/>
              <a:t>Conduct initial or transition audit – see certification cycle</a:t>
            </a:r>
          </a:p>
          <a:p>
            <a:r>
              <a:rPr lang="en-US" dirty="0"/>
              <a:t>Obtain certification and be displayed on FSSC public register</a:t>
            </a:r>
          </a:p>
          <a:p>
            <a:endParaRPr lang="en-NL" dirty="0"/>
          </a:p>
        </p:txBody>
      </p:sp>
      <p:sp>
        <p:nvSpPr>
          <p:cNvPr id="4" name="Slide Number Placeholder 3"/>
          <p:cNvSpPr>
            <a:spLocks noGrp="1"/>
          </p:cNvSpPr>
          <p:nvPr>
            <p:ph type="sldNum" sz="quarter" idx="5"/>
          </p:nvPr>
        </p:nvSpPr>
        <p:spPr/>
        <p:txBody>
          <a:bodyPr/>
          <a:lstStyle/>
          <a:p>
            <a:fld id="{0DBFE841-F19C-41F1-8C10-86F81307A1E9}" type="slidenum">
              <a:rPr lang="en-US" smtClean="0"/>
              <a:t>24</a:t>
            </a:fld>
            <a:endParaRPr lang="en-US"/>
          </a:p>
        </p:txBody>
      </p:sp>
    </p:spTree>
    <p:extLst>
      <p:ext uri="{BB962C8B-B14F-4D97-AF65-F5344CB8AC3E}">
        <p14:creationId xmlns:p14="http://schemas.microsoft.com/office/powerpoint/2010/main" val="4616100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BFE841-F19C-41F1-8C10-86F81307A1E9}" type="slidenum">
              <a:rPr lang="en-US" smtClean="0"/>
              <a:t>25</a:t>
            </a:fld>
            <a:endParaRPr lang="en-US"/>
          </a:p>
        </p:txBody>
      </p:sp>
    </p:spTree>
    <p:extLst>
      <p:ext uri="{BB962C8B-B14F-4D97-AF65-F5344CB8AC3E}">
        <p14:creationId xmlns:p14="http://schemas.microsoft.com/office/powerpoint/2010/main" val="230864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0DBFE841-F19C-41F1-8C10-86F81307A1E9}" type="slidenum">
              <a:rPr lang="en-US" smtClean="0"/>
              <a:t>4</a:t>
            </a:fld>
            <a:endParaRPr lang="en-US"/>
          </a:p>
        </p:txBody>
      </p:sp>
    </p:spTree>
    <p:extLst>
      <p:ext uri="{BB962C8B-B14F-4D97-AF65-F5344CB8AC3E}">
        <p14:creationId xmlns:p14="http://schemas.microsoft.com/office/powerpoint/2010/main" val="28663614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In order to understand the social landscape better, we need to go back and understand some of the events that have shaped it and contributed to where we are today.  In 2010 there was the Foxconn scandal where workers were living in bunks of a few square meters, eating and living inside the factories, doing exhausting shifts. This led to a wave of suicides in its Chinese factories.</a:t>
            </a:r>
          </a:p>
          <a:p>
            <a:r>
              <a:rPr lang="en-US" noProof="0" dirty="0"/>
              <a:t>The Rana Plaza disaster occurred in  Bangladesh, on 24 April 2013. 1100 people lost their lives. The disaster had worldwide visibility, demonstrations, and impact; and as a result local and other countries' laws have changed. </a:t>
            </a:r>
          </a:p>
          <a:p>
            <a:r>
              <a:rPr lang="en-US" noProof="0" dirty="0"/>
              <a:t>The Thai seafood industry employs more than 800,000 people, while seafood exports are valued at $6 billion. A growing number of independent reports over the past decade have documented abuses of workers tracked onto Thai fishing vessels, including bonded, forced and slave labor,</a:t>
            </a:r>
          </a:p>
          <a:p>
            <a:r>
              <a:rPr lang="en-US" noProof="0" dirty="0"/>
              <a:t>Unfortunately, these type disasters were needed to highlight the need for safer working conditions and the importance of managing social risks throughout the supply chain.  These are just 3 examples, but sadly, similar activities still take place today, across the globe.  And whilst it might not be happening in your organization, what happens in your supply chain can have a direct and significant impact on your organization and how it is perceived.</a:t>
            </a:r>
          </a:p>
          <a:p>
            <a:endParaRPr lang="en-US" noProof="0" dirty="0"/>
          </a:p>
          <a:p>
            <a:endParaRPr lang="en-US" noProof="0" dirty="0"/>
          </a:p>
        </p:txBody>
      </p:sp>
      <p:sp>
        <p:nvSpPr>
          <p:cNvPr id="4" name="Slide Number Placeholder 3"/>
          <p:cNvSpPr>
            <a:spLocks noGrp="1"/>
          </p:cNvSpPr>
          <p:nvPr>
            <p:ph type="sldNum" sz="quarter" idx="5"/>
          </p:nvPr>
        </p:nvSpPr>
        <p:spPr/>
        <p:txBody>
          <a:bodyPr/>
          <a:lstStyle/>
          <a:p>
            <a:fld id="{0DBFE841-F19C-41F1-8C10-86F81307A1E9}" type="slidenum">
              <a:rPr lang="en-US" smtClean="0"/>
              <a:t>5</a:t>
            </a:fld>
            <a:endParaRPr lang="en-US"/>
          </a:p>
        </p:txBody>
      </p:sp>
    </p:spTree>
    <p:extLst>
      <p:ext uri="{BB962C8B-B14F-4D97-AF65-F5344CB8AC3E}">
        <p14:creationId xmlns:p14="http://schemas.microsoft.com/office/powerpoint/2010/main" val="3083052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today there is still a shocking amount of forced </a:t>
            </a:r>
            <a:r>
              <a:rPr lang="en-US" dirty="0" err="1"/>
              <a:t>labour</a:t>
            </a:r>
            <a:r>
              <a:rPr lang="en-US" dirty="0"/>
              <a:t> taking place – according to the ILO publication on forced </a:t>
            </a:r>
            <a:r>
              <a:rPr lang="en-US" dirty="0" err="1"/>
              <a:t>labour</a:t>
            </a:r>
            <a:r>
              <a:rPr lang="en-US" dirty="0"/>
              <a:t>, modern slavery and human trafficking, there is still 28 million people working as forced </a:t>
            </a:r>
            <a:r>
              <a:rPr lang="en-US" dirty="0" err="1"/>
              <a:t>labour</a:t>
            </a:r>
            <a:r>
              <a:rPr lang="en-US" dirty="0"/>
              <a:t>, and 63% of this happens in the private economy.  As a result the ILO Forced </a:t>
            </a:r>
            <a:r>
              <a:rPr lang="en-US" dirty="0" err="1"/>
              <a:t>labour</a:t>
            </a:r>
            <a:r>
              <a:rPr lang="en-US" dirty="0"/>
              <a:t> protocol was established.</a:t>
            </a:r>
          </a:p>
        </p:txBody>
      </p:sp>
      <p:sp>
        <p:nvSpPr>
          <p:cNvPr id="4" name="Slide Number Placeholder 3"/>
          <p:cNvSpPr>
            <a:spLocks noGrp="1"/>
          </p:cNvSpPr>
          <p:nvPr>
            <p:ph type="sldNum" sz="quarter" idx="5"/>
          </p:nvPr>
        </p:nvSpPr>
        <p:spPr/>
        <p:txBody>
          <a:bodyPr/>
          <a:lstStyle/>
          <a:p>
            <a:fld id="{0DBFE841-F19C-41F1-8C10-86F81307A1E9}" type="slidenum">
              <a:rPr lang="en-US" smtClean="0"/>
              <a:t>6</a:t>
            </a:fld>
            <a:endParaRPr lang="en-US"/>
          </a:p>
        </p:txBody>
      </p:sp>
    </p:spTree>
    <p:extLst>
      <p:ext uri="{BB962C8B-B14F-4D97-AF65-F5344CB8AC3E}">
        <p14:creationId xmlns:p14="http://schemas.microsoft.com/office/powerpoint/2010/main" val="345641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0"/>
              </a:spcBef>
              <a:buClr>
                <a:srgbClr val="B1503A"/>
              </a:buClr>
            </a:pPr>
            <a:r>
              <a:rPr lang="en-US" sz="1500" b="1" noProof="0" dirty="0"/>
              <a:t>The other aspect that has evolved, is the regulatory context.  The responsibility of enterprises is extended down to the customers/end users and out to all suppliers</a:t>
            </a:r>
          </a:p>
          <a:p>
            <a:pPr algn="just">
              <a:lnSpc>
                <a:spcPct val="100000"/>
              </a:lnSpc>
              <a:spcBef>
                <a:spcPts val="0"/>
              </a:spcBef>
              <a:buClr>
                <a:srgbClr val="B1503A"/>
              </a:buClr>
            </a:pPr>
            <a:r>
              <a:rPr lang="en-US" sz="1500" noProof="0" dirty="0"/>
              <a:t>Legislation incorporates the concepts and principles of “universality.” Areas involved include Bribery and Corruption, Money laundering and terrorism financing, Human Rights across the supply chain, and Compliance with e</a:t>
            </a:r>
            <a:r>
              <a:rPr lang="en-US" sz="1500" dirty="0" err="1"/>
              <a:t>conomic</a:t>
            </a:r>
            <a:r>
              <a:rPr lang="en-US" sz="1500" dirty="0"/>
              <a:t> and Trade Sanctions.</a:t>
            </a:r>
            <a:endParaRPr lang="en-US" sz="1500" noProof="0" dirty="0"/>
          </a:p>
          <a:p>
            <a:pPr>
              <a:lnSpc>
                <a:spcPct val="100000"/>
              </a:lnSpc>
              <a:spcBef>
                <a:spcPts val="0"/>
              </a:spcBef>
              <a:buClr>
                <a:srgbClr val="B1503A"/>
              </a:buClr>
            </a:pPr>
            <a:r>
              <a:rPr lang="en-US" sz="1500" dirty="0"/>
              <a:t>European Union’s new Directives require new laws in all EU countries to be implemented , related to</a:t>
            </a:r>
          </a:p>
          <a:p>
            <a:pPr lvl="1">
              <a:lnSpc>
                <a:spcPct val="100000"/>
              </a:lnSpc>
              <a:spcBef>
                <a:spcPts val="0"/>
              </a:spcBef>
              <a:buClr>
                <a:srgbClr val="B1503A"/>
              </a:buClr>
            </a:pPr>
            <a:r>
              <a:rPr lang="en-US" sz="1500" noProof="0" dirty="0"/>
              <a:t>ESG Reporting (active from 2023)</a:t>
            </a:r>
          </a:p>
          <a:p>
            <a:pPr marL="342900" lvl="1" indent="0">
              <a:lnSpc>
                <a:spcPct val="100000"/>
              </a:lnSpc>
              <a:spcBef>
                <a:spcPts val="0"/>
              </a:spcBef>
              <a:buClr>
                <a:srgbClr val="B1503A"/>
              </a:buClr>
              <a:buNone/>
            </a:pPr>
            <a:r>
              <a:rPr lang="en-US" sz="1000" dirty="0">
                <a:solidFill>
                  <a:srgbClr val="B1503A"/>
                </a:solidFill>
                <a:hlinkClick r:id="rId3">
                  <a:extLst>
                    <a:ext uri="{A12FA001-AC4F-418D-AE19-62706E023703}">
                      <ahyp:hlinkClr xmlns:ahyp="http://schemas.microsoft.com/office/drawing/2018/hyperlinkcolor" val="tx"/>
                    </a:ext>
                  </a:extLst>
                </a:hlinkClick>
              </a:rPr>
              <a:t>Corporate sustainability reporting - European Commission (europa.eu)</a:t>
            </a:r>
            <a:endParaRPr lang="en-US" sz="1000" noProof="0" dirty="0">
              <a:solidFill>
                <a:srgbClr val="B1503A"/>
              </a:solidFill>
            </a:endParaRPr>
          </a:p>
          <a:p>
            <a:pPr lvl="1">
              <a:lnSpc>
                <a:spcPct val="100000"/>
              </a:lnSpc>
              <a:spcBef>
                <a:spcPts val="0"/>
              </a:spcBef>
              <a:buClr>
                <a:srgbClr val="B1503A"/>
              </a:buClr>
            </a:pPr>
            <a:r>
              <a:rPr lang="en-US" sz="1500" dirty="0"/>
              <a:t>ESG Due Diligence ( active from 2027)</a:t>
            </a:r>
            <a:endParaRPr lang="en-US" sz="1500" noProof="0" dirty="0"/>
          </a:p>
          <a:p>
            <a:pPr marL="342900" lvl="1" indent="0">
              <a:lnSpc>
                <a:spcPct val="100000"/>
              </a:lnSpc>
              <a:spcBef>
                <a:spcPts val="0"/>
              </a:spcBef>
              <a:buClr>
                <a:srgbClr val="B1503A"/>
              </a:buClr>
              <a:buNone/>
            </a:pPr>
            <a:r>
              <a:rPr lang="en-US" sz="1000" dirty="0">
                <a:solidFill>
                  <a:srgbClr val="218455"/>
                </a:solidFill>
                <a:hlinkClick r:id="rId4">
                  <a:extLst>
                    <a:ext uri="{A12FA001-AC4F-418D-AE19-62706E023703}">
                      <ahyp:hlinkClr xmlns:ahyp="http://schemas.microsoft.com/office/drawing/2018/hyperlinkcolor" val="tx"/>
                    </a:ext>
                  </a:extLst>
                </a:hlinkClick>
              </a:rPr>
              <a:t>Rules enforcing rights and environmental sustainability (europa.eu</a:t>
            </a:r>
            <a:r>
              <a:rPr lang="en-US" sz="1000" dirty="0">
                <a:solidFill>
                  <a:srgbClr val="B1503A"/>
                </a:solidFill>
                <a:hlinkClick r:id="rId4">
                  <a:extLst>
                    <a:ext uri="{A12FA001-AC4F-418D-AE19-62706E023703}">
                      <ahyp:hlinkClr xmlns:ahyp="http://schemas.microsoft.com/office/drawing/2018/hyperlinkcolor" val="tx"/>
                    </a:ext>
                  </a:extLst>
                </a:hlinkClick>
              </a:rPr>
              <a:t>)</a:t>
            </a:r>
            <a:endParaRPr lang="en-US" sz="1000" noProof="0" dirty="0">
              <a:solidFill>
                <a:srgbClr val="B1503A"/>
              </a:solidFill>
            </a:endParaRPr>
          </a:p>
          <a:p>
            <a:pPr>
              <a:lnSpc>
                <a:spcPct val="100000"/>
              </a:lnSpc>
              <a:spcBef>
                <a:spcPts val="0"/>
              </a:spcBef>
              <a:buClr>
                <a:srgbClr val="B1503A"/>
              </a:buClr>
            </a:pPr>
            <a:r>
              <a:rPr lang="en-US" sz="1500" noProof="0" dirty="0"/>
              <a:t>Canada’s BILL S-211: Fighting Against Forced </a:t>
            </a:r>
            <a:r>
              <a:rPr lang="en-US" sz="1500" noProof="0" dirty="0" err="1"/>
              <a:t>Labour</a:t>
            </a:r>
            <a:r>
              <a:rPr lang="en-US" sz="1500" noProof="0" dirty="0"/>
              <a:t> and Child </a:t>
            </a:r>
            <a:r>
              <a:rPr lang="en-US" sz="1500" noProof="0" dirty="0" err="1"/>
              <a:t>Labour</a:t>
            </a:r>
            <a:r>
              <a:rPr lang="en-US" sz="1500" noProof="0" dirty="0"/>
              <a:t> in Supply Chains</a:t>
            </a:r>
          </a:p>
          <a:p>
            <a:pPr lvl="1">
              <a:lnSpc>
                <a:spcPct val="100000"/>
              </a:lnSpc>
              <a:spcBef>
                <a:spcPts val="0"/>
              </a:spcBef>
              <a:buClr>
                <a:srgbClr val="B1503A"/>
              </a:buClr>
            </a:pPr>
            <a:r>
              <a:rPr lang="en-US" sz="1000" dirty="0">
                <a:solidFill>
                  <a:srgbClr val="B1503A"/>
                </a:solidFill>
                <a:hlinkClick r:id="rId5">
                  <a:extLst>
                    <a:ext uri="{A12FA001-AC4F-418D-AE19-62706E023703}">
                      <ahyp:hlinkClr xmlns:ahyp="http://schemas.microsoft.com/office/drawing/2018/hyperlinkcolor" val="tx"/>
                    </a:ext>
                  </a:extLst>
                </a:hlinkClick>
              </a:rPr>
              <a:t>Public Bill (Senate) S-211 (44-1) - Third Reading - Fighting Against Forced </a:t>
            </a:r>
            <a:r>
              <a:rPr lang="en-US" sz="1000" dirty="0" err="1">
                <a:solidFill>
                  <a:srgbClr val="B1503A"/>
                </a:solidFill>
                <a:hlinkClick r:id="rId5">
                  <a:extLst>
                    <a:ext uri="{A12FA001-AC4F-418D-AE19-62706E023703}">
                      <ahyp:hlinkClr xmlns:ahyp="http://schemas.microsoft.com/office/drawing/2018/hyperlinkcolor" val="tx"/>
                    </a:ext>
                  </a:extLst>
                </a:hlinkClick>
              </a:rPr>
              <a:t>Labour</a:t>
            </a:r>
            <a:r>
              <a:rPr lang="en-US" sz="1000" dirty="0">
                <a:solidFill>
                  <a:srgbClr val="B1503A"/>
                </a:solidFill>
                <a:hlinkClick r:id="rId5">
                  <a:extLst>
                    <a:ext uri="{A12FA001-AC4F-418D-AE19-62706E023703}">
                      <ahyp:hlinkClr xmlns:ahyp="http://schemas.microsoft.com/office/drawing/2018/hyperlinkcolor" val="tx"/>
                    </a:ext>
                  </a:extLst>
                </a:hlinkClick>
              </a:rPr>
              <a:t> and Child </a:t>
            </a:r>
            <a:r>
              <a:rPr lang="en-US" sz="1000" dirty="0" err="1">
                <a:solidFill>
                  <a:srgbClr val="B1503A"/>
                </a:solidFill>
                <a:hlinkClick r:id="rId5">
                  <a:extLst>
                    <a:ext uri="{A12FA001-AC4F-418D-AE19-62706E023703}">
                      <ahyp:hlinkClr xmlns:ahyp="http://schemas.microsoft.com/office/drawing/2018/hyperlinkcolor" val="tx"/>
                    </a:ext>
                  </a:extLst>
                </a:hlinkClick>
              </a:rPr>
              <a:t>Labour</a:t>
            </a:r>
            <a:r>
              <a:rPr lang="en-US" sz="1000" dirty="0">
                <a:solidFill>
                  <a:srgbClr val="B1503A"/>
                </a:solidFill>
                <a:hlinkClick r:id="rId5">
                  <a:extLst>
                    <a:ext uri="{A12FA001-AC4F-418D-AE19-62706E023703}">
                      <ahyp:hlinkClr xmlns:ahyp="http://schemas.microsoft.com/office/drawing/2018/hyperlinkcolor" val="tx"/>
                    </a:ext>
                  </a:extLst>
                </a:hlinkClick>
              </a:rPr>
              <a:t> in Supply Chains Act - Parliament of Canada</a:t>
            </a:r>
            <a:endParaRPr lang="en-US" sz="1000" noProof="0" dirty="0">
              <a:solidFill>
                <a:srgbClr val="B1503A"/>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ese regulations require a risk assessment of the organization and its supply chain, and a management system for environmental and social sustainability. This includes a mechanism to manage risk, monitor it and report on it.  </a:t>
            </a:r>
            <a:endParaRPr lang="en-US" dirty="0"/>
          </a:p>
        </p:txBody>
      </p:sp>
      <p:sp>
        <p:nvSpPr>
          <p:cNvPr id="4" name="Slide Number Placeholder 3"/>
          <p:cNvSpPr>
            <a:spLocks noGrp="1"/>
          </p:cNvSpPr>
          <p:nvPr>
            <p:ph type="sldNum" sz="quarter" idx="5"/>
          </p:nvPr>
        </p:nvSpPr>
        <p:spPr/>
        <p:txBody>
          <a:bodyPr/>
          <a:lstStyle/>
          <a:p>
            <a:fld id="{0DBFE841-F19C-41F1-8C10-86F81307A1E9}" type="slidenum">
              <a:rPr lang="en-US" smtClean="0"/>
              <a:t>7</a:t>
            </a:fld>
            <a:endParaRPr lang="en-US"/>
          </a:p>
        </p:txBody>
      </p:sp>
    </p:spTree>
    <p:extLst>
      <p:ext uri="{BB962C8B-B14F-4D97-AF65-F5344CB8AC3E}">
        <p14:creationId xmlns:p14="http://schemas.microsoft.com/office/powerpoint/2010/main" val="641210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Maybe you think: why is all of this relevant to us?  As you are all aware, sustainability is top of mind and has also been taken up in the UN SDGs.  ESG issues are at the core of the sustainability concept, and sustainability is only complete if you consider the financial, environmental and social impacts of a company.  </a:t>
            </a:r>
          </a:p>
          <a:p>
            <a:r>
              <a:rPr lang="en-US" noProof="0" dirty="0"/>
              <a:t>However, the measure of risk and the appetite for risk differs for each business.  The first and obvious risk for any business is not delivering on its objectives.  The social component goes a step further and looks at the impact on employees, the community you operate in, as well as the overall society.  There are new reporting requirements based on legislation, and the broader concept of supply chain management, as well as reputational risk for the organization.</a:t>
            </a:r>
          </a:p>
        </p:txBody>
      </p:sp>
      <p:sp>
        <p:nvSpPr>
          <p:cNvPr id="4" name="Slide Number Placeholder 3"/>
          <p:cNvSpPr>
            <a:spLocks noGrp="1"/>
          </p:cNvSpPr>
          <p:nvPr>
            <p:ph type="sldNum" sz="quarter" idx="5"/>
          </p:nvPr>
        </p:nvSpPr>
        <p:spPr/>
        <p:txBody>
          <a:bodyPr/>
          <a:lstStyle/>
          <a:p>
            <a:fld id="{0DBFE841-F19C-41F1-8C10-86F81307A1E9}" type="slidenum">
              <a:rPr lang="en-US" smtClean="0"/>
              <a:t>8</a:t>
            </a:fld>
            <a:endParaRPr lang="en-US"/>
          </a:p>
        </p:txBody>
      </p:sp>
    </p:spTree>
    <p:extLst>
      <p:ext uri="{BB962C8B-B14F-4D97-AF65-F5344CB8AC3E}">
        <p14:creationId xmlns:p14="http://schemas.microsoft.com/office/powerpoint/2010/main" val="4018748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look at social issues, and the evolution of society, people are far less tolerant, and the public reacts strongly to social scandals.  It is an emotional topic and if something goes wrong on the social front, it can have a significant impact on the company’s reputation.  It is also very difficult to recover from such events.</a:t>
            </a:r>
          </a:p>
          <a:p>
            <a:r>
              <a:rPr lang="en-US" dirty="0"/>
              <a:t>Social issues are difficult to foresee, and it might also include situations beyond the control of the company.  This is where your supply chain is one of the major risks, due to the public associating your name with what happens in the supply chain.</a:t>
            </a:r>
          </a:p>
        </p:txBody>
      </p:sp>
      <p:sp>
        <p:nvSpPr>
          <p:cNvPr id="4" name="Slide Number Placeholder 3"/>
          <p:cNvSpPr>
            <a:spLocks noGrp="1"/>
          </p:cNvSpPr>
          <p:nvPr>
            <p:ph type="sldNum" sz="quarter" idx="5"/>
          </p:nvPr>
        </p:nvSpPr>
        <p:spPr/>
        <p:txBody>
          <a:bodyPr/>
          <a:lstStyle/>
          <a:p>
            <a:fld id="{0DBFE841-F19C-41F1-8C10-86F81307A1E9}" type="slidenum">
              <a:rPr lang="en-US" smtClean="0"/>
              <a:t>9</a:t>
            </a:fld>
            <a:endParaRPr lang="en-US"/>
          </a:p>
        </p:txBody>
      </p:sp>
    </p:spTree>
    <p:extLst>
      <p:ext uri="{BB962C8B-B14F-4D97-AF65-F5344CB8AC3E}">
        <p14:creationId xmlns:p14="http://schemas.microsoft.com/office/powerpoint/2010/main" val="3620662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0DBFE841-F19C-41F1-8C10-86F81307A1E9}" type="slidenum">
              <a:rPr lang="en-US" smtClean="0"/>
              <a:t>10</a:t>
            </a:fld>
            <a:endParaRPr lang="en-US"/>
          </a:p>
        </p:txBody>
      </p:sp>
    </p:spTree>
    <p:extLst>
      <p:ext uri="{BB962C8B-B14F-4D97-AF65-F5344CB8AC3E}">
        <p14:creationId xmlns:p14="http://schemas.microsoft.com/office/powerpoint/2010/main" val="1140894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0DBFE841-F19C-41F1-8C10-86F81307A1E9}" type="slidenum">
              <a:rPr lang="en-US" smtClean="0"/>
              <a:t>11</a:t>
            </a:fld>
            <a:endParaRPr lang="en-US"/>
          </a:p>
        </p:txBody>
      </p:sp>
    </p:spTree>
    <p:extLst>
      <p:ext uri="{BB962C8B-B14F-4D97-AF65-F5344CB8AC3E}">
        <p14:creationId xmlns:p14="http://schemas.microsoft.com/office/powerpoint/2010/main" val="32306189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0.jpeg"/><Relationship Id="rId5" Type="http://schemas.openxmlformats.org/officeDocument/2006/relationships/image" Target="../media/image9.png"/><Relationship Id="rId10" Type="http://schemas.openxmlformats.org/officeDocument/2006/relationships/image" Target="../media/image14.jpeg"/><Relationship Id="rId4" Type="http://schemas.openxmlformats.org/officeDocument/2006/relationships/image" Target="../media/image8.jpeg"/><Relationship Id="rId9" Type="http://schemas.openxmlformats.org/officeDocument/2006/relationships/image" Target="../media/image13.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23.png"/></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23.png"/></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23.png"/></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23.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23.png"/></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23.png"/></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2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_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64EBA17-F57B-6499-7114-B219220516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397" t="-100" r="-4397" b="38724"/>
          <a:stretch/>
        </p:blipFill>
        <p:spPr>
          <a:xfrm>
            <a:off x="1" y="0"/>
            <a:ext cx="9560312" cy="3931022"/>
          </a:xfrm>
          <a:prstGeom prst="rect">
            <a:avLst/>
          </a:prstGeom>
        </p:spPr>
      </p:pic>
      <p:sp>
        <p:nvSpPr>
          <p:cNvPr id="10" name="Picture Placeholder 6"/>
          <p:cNvSpPr>
            <a:spLocks noGrp="1"/>
          </p:cNvSpPr>
          <p:nvPr>
            <p:ph type="pic" sz="quarter" idx="13" hasCustomPrompt="1"/>
          </p:nvPr>
        </p:nvSpPr>
        <p:spPr>
          <a:xfrm>
            <a:off x="618066" y="0"/>
            <a:ext cx="3149601" cy="4597400"/>
          </a:xfrm>
          <a:solidFill>
            <a:schemeClr val="accent4"/>
          </a:solidFill>
        </p:spPr>
        <p:txBody>
          <a:bodyPr anchor="ctr">
            <a:normAutofit/>
          </a:bodyPr>
          <a:lstStyle>
            <a:lvl1pPr marL="0" indent="0" algn="ctr">
              <a:buNone/>
              <a:defRPr sz="1400"/>
            </a:lvl1pPr>
          </a:lstStyle>
          <a:p>
            <a:r>
              <a:rPr lang="en-US"/>
              <a:t> </a:t>
            </a:r>
          </a:p>
        </p:txBody>
      </p:sp>
      <p:sp>
        <p:nvSpPr>
          <p:cNvPr id="7" name="Text Placeholder 2"/>
          <p:cNvSpPr>
            <a:spLocks noGrp="1"/>
          </p:cNvSpPr>
          <p:nvPr>
            <p:ph idx="1" hasCustomPrompt="1"/>
          </p:nvPr>
        </p:nvSpPr>
        <p:spPr>
          <a:xfrm>
            <a:off x="625957" y="4036627"/>
            <a:ext cx="3139017" cy="254445"/>
          </a:xfrm>
          <a:prstGeom prst="rect">
            <a:avLst/>
          </a:prstGeom>
        </p:spPr>
        <p:txBody>
          <a:bodyPr vert="horz" lIns="68580" tIns="34290" rIns="68580" bIns="34290" rtlCol="0" anchor="ctr">
            <a:normAutofit/>
          </a:bodyPr>
          <a:lstStyle>
            <a:lvl1pPr marL="0" indent="0" algn="ctr">
              <a:buNone/>
              <a:defRPr sz="1200" b="0" baseline="0">
                <a:solidFill>
                  <a:srgbClr val="FFFFFF"/>
                </a:solidFill>
                <a:latin typeface="Open Sans"/>
                <a:cs typeface="Open Sans"/>
              </a:defRPr>
            </a:lvl1pPr>
            <a:lvl2pPr>
              <a:defRPr>
                <a:latin typeface="Open Sans"/>
                <a:cs typeface="Open Sans"/>
              </a:defRPr>
            </a:lvl2pPr>
            <a:lvl3pPr>
              <a:defRPr>
                <a:latin typeface="Open Sans"/>
                <a:cs typeface="Open Sans"/>
              </a:defRPr>
            </a:lvl3pPr>
            <a:lvl4pPr>
              <a:defRPr>
                <a:latin typeface="Open Sans"/>
                <a:cs typeface="Open Sans"/>
              </a:defRPr>
            </a:lvl4pPr>
            <a:lvl5pPr>
              <a:defRPr>
                <a:latin typeface="Open Sans"/>
                <a:cs typeface="Open Sans"/>
              </a:defRPr>
            </a:lvl5pPr>
          </a:lstStyle>
          <a:p>
            <a:pPr lvl="0"/>
            <a:r>
              <a:rPr lang="en-US" noProof="0"/>
              <a:t>Date</a:t>
            </a:r>
          </a:p>
        </p:txBody>
      </p:sp>
      <p:sp>
        <p:nvSpPr>
          <p:cNvPr id="8" name="Text Placeholder 2"/>
          <p:cNvSpPr>
            <a:spLocks noGrp="1"/>
          </p:cNvSpPr>
          <p:nvPr>
            <p:ph idx="11" hasCustomPrompt="1"/>
          </p:nvPr>
        </p:nvSpPr>
        <p:spPr>
          <a:xfrm>
            <a:off x="625957" y="2538351"/>
            <a:ext cx="3139017" cy="276165"/>
          </a:xfrm>
          <a:prstGeom prst="rect">
            <a:avLst/>
          </a:prstGeom>
        </p:spPr>
        <p:txBody>
          <a:bodyPr vert="horz" lIns="68580" tIns="34290" rIns="68580" bIns="34290" rtlCol="0" anchor="t">
            <a:normAutofit/>
          </a:bodyPr>
          <a:lstStyle>
            <a:lvl1pPr marL="0" indent="0" algn="ctr">
              <a:buNone/>
              <a:defRPr sz="1400" b="1" baseline="0">
                <a:solidFill>
                  <a:srgbClr val="FFFFFF"/>
                </a:solidFill>
                <a:latin typeface="Open Sans"/>
                <a:cs typeface="Open Sans"/>
              </a:defRPr>
            </a:lvl1pPr>
            <a:lvl2pPr>
              <a:defRPr>
                <a:latin typeface="Open Sans"/>
                <a:cs typeface="Open Sans"/>
              </a:defRPr>
            </a:lvl2pPr>
            <a:lvl3pPr>
              <a:defRPr>
                <a:latin typeface="Open Sans"/>
                <a:cs typeface="Open Sans"/>
              </a:defRPr>
            </a:lvl3pPr>
            <a:lvl4pPr>
              <a:defRPr>
                <a:latin typeface="Open Sans"/>
                <a:cs typeface="Open Sans"/>
              </a:defRPr>
            </a:lvl4pPr>
            <a:lvl5pPr>
              <a:defRPr>
                <a:latin typeface="Open Sans"/>
                <a:cs typeface="Open Sans"/>
              </a:defRPr>
            </a:lvl5pPr>
          </a:lstStyle>
          <a:p>
            <a:pPr lvl="0"/>
            <a:r>
              <a:rPr lang="en-US" noProof="0"/>
              <a:t>Presenter or Writer name</a:t>
            </a:r>
          </a:p>
        </p:txBody>
      </p:sp>
      <p:sp>
        <p:nvSpPr>
          <p:cNvPr id="9" name="Text Placeholder 2"/>
          <p:cNvSpPr>
            <a:spLocks noGrp="1"/>
          </p:cNvSpPr>
          <p:nvPr>
            <p:ph idx="12" hasCustomPrompt="1"/>
          </p:nvPr>
        </p:nvSpPr>
        <p:spPr>
          <a:xfrm>
            <a:off x="625957" y="618733"/>
            <a:ext cx="3139017" cy="1642533"/>
          </a:xfrm>
          <a:prstGeom prst="rect">
            <a:avLst/>
          </a:prstGeom>
        </p:spPr>
        <p:txBody>
          <a:bodyPr vert="horz" lIns="68580" tIns="34290" rIns="68580" bIns="34290" rtlCol="0" anchor="ctr">
            <a:noAutofit/>
          </a:bodyPr>
          <a:lstStyle>
            <a:lvl1pPr marL="0" indent="0" algn="ctr">
              <a:lnSpc>
                <a:spcPct val="80000"/>
              </a:lnSpc>
              <a:buNone/>
              <a:defRPr sz="3000" b="1" i="0" cap="all" baseline="0">
                <a:solidFill>
                  <a:srgbClr val="FFFFFF"/>
                </a:solidFill>
                <a:latin typeface="AvenirNext LT Pro Bold" panose="020B0504020202020204" pitchFamily="34" charset="77"/>
                <a:cs typeface="AvenirNext LT Pro Bold" panose="020B0504020202020204" pitchFamily="34" charset="77"/>
              </a:defRPr>
            </a:lvl1pPr>
            <a:lvl2pPr>
              <a:defRPr>
                <a:latin typeface="Open Sans"/>
                <a:cs typeface="Open Sans"/>
              </a:defRPr>
            </a:lvl2pPr>
            <a:lvl3pPr>
              <a:defRPr>
                <a:latin typeface="Open Sans"/>
                <a:cs typeface="Open Sans"/>
              </a:defRPr>
            </a:lvl3pPr>
            <a:lvl4pPr>
              <a:defRPr>
                <a:latin typeface="Open Sans"/>
                <a:cs typeface="Open Sans"/>
              </a:defRPr>
            </a:lvl4pPr>
            <a:lvl5pPr>
              <a:defRPr>
                <a:latin typeface="Open Sans"/>
                <a:cs typeface="Open Sans"/>
              </a:defRPr>
            </a:lvl5pPr>
          </a:lstStyle>
          <a:p>
            <a:pPr lvl="0"/>
            <a:r>
              <a:rPr lang="en-US" noProof="0"/>
              <a:t>Click here   To edit Title</a:t>
            </a:r>
          </a:p>
        </p:txBody>
      </p:sp>
      <p:sp>
        <p:nvSpPr>
          <p:cNvPr id="15" name="Text Placeholder 2"/>
          <p:cNvSpPr>
            <a:spLocks noGrp="1"/>
          </p:cNvSpPr>
          <p:nvPr>
            <p:ph idx="14" hasCustomPrompt="1"/>
          </p:nvPr>
        </p:nvSpPr>
        <p:spPr>
          <a:xfrm>
            <a:off x="623890" y="2747962"/>
            <a:ext cx="3139017" cy="295378"/>
          </a:xfrm>
          <a:prstGeom prst="rect">
            <a:avLst/>
          </a:prstGeom>
        </p:spPr>
        <p:txBody>
          <a:bodyPr vert="horz" lIns="68580" tIns="34290" rIns="68580" bIns="34290" rtlCol="0" anchor="t">
            <a:normAutofit/>
          </a:bodyPr>
          <a:lstStyle>
            <a:lvl1pPr marL="0" indent="0" algn="ctr">
              <a:buNone/>
              <a:defRPr sz="1200" b="0" baseline="0">
                <a:solidFill>
                  <a:srgbClr val="FFFFFF"/>
                </a:solidFill>
                <a:latin typeface="Open Sans"/>
                <a:cs typeface="Open Sans"/>
              </a:defRPr>
            </a:lvl1pPr>
            <a:lvl2pPr>
              <a:defRPr>
                <a:latin typeface="Open Sans"/>
                <a:cs typeface="Open Sans"/>
              </a:defRPr>
            </a:lvl2pPr>
            <a:lvl3pPr>
              <a:defRPr>
                <a:latin typeface="Open Sans"/>
                <a:cs typeface="Open Sans"/>
              </a:defRPr>
            </a:lvl3pPr>
            <a:lvl4pPr>
              <a:defRPr>
                <a:latin typeface="Open Sans"/>
                <a:cs typeface="Open Sans"/>
              </a:defRPr>
            </a:lvl4pPr>
            <a:lvl5pPr>
              <a:defRPr>
                <a:latin typeface="Open Sans"/>
                <a:cs typeface="Open Sans"/>
              </a:defRPr>
            </a:lvl5pPr>
          </a:lstStyle>
          <a:p>
            <a:pPr lvl="0"/>
            <a:r>
              <a:rPr lang="en-US" noProof="0"/>
              <a:t>Function</a:t>
            </a:r>
          </a:p>
        </p:txBody>
      </p:sp>
      <p:pic>
        <p:nvPicPr>
          <p:cNvPr id="12" name="Picture 4">
            <a:extLst>
              <a:ext uri="{FF2B5EF4-FFF2-40B4-BE49-F238E27FC236}">
                <a16:creationId xmlns:a16="http://schemas.microsoft.com/office/drawing/2014/main" id="{7B9611B0-C3D5-484D-A463-B0F115067864}"/>
              </a:ext>
            </a:extLst>
          </p:cNvPr>
          <p:cNvPicPr>
            <a:picLocks noChangeAspect="1"/>
          </p:cNvPicPr>
          <p:nvPr userDrawn="1"/>
        </p:nvPicPr>
        <p:blipFill>
          <a:blip r:embed="rId3">
            <a:extLst>
              <a:ext uri="{28A0092B-C50C-407E-A947-70E740481C1C}">
                <a14:useLocalDpi xmlns:a14="http://schemas.microsoft.com/office/drawing/2010/main" val="0"/>
              </a:ext>
            </a:extLst>
          </a:blip>
          <a:srcRect t="7642" b="7642"/>
          <a:stretch/>
        </p:blipFill>
        <p:spPr>
          <a:xfrm>
            <a:off x="7296640" y="4264202"/>
            <a:ext cx="1382898" cy="435365"/>
          </a:xfrm>
          <a:prstGeom prst="rect">
            <a:avLst/>
          </a:prstGeom>
        </p:spPr>
      </p:pic>
    </p:spTree>
    <p:extLst>
      <p:ext uri="{BB962C8B-B14F-4D97-AF65-F5344CB8AC3E}">
        <p14:creationId xmlns:p14="http://schemas.microsoft.com/office/powerpoint/2010/main" val="25035117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basic_slide_table">
    <p:spTree>
      <p:nvGrpSpPr>
        <p:cNvPr id="1" name=""/>
        <p:cNvGrpSpPr/>
        <p:nvPr/>
      </p:nvGrpSpPr>
      <p:grpSpPr>
        <a:xfrm>
          <a:off x="0" y="0"/>
          <a:ext cx="0" cy="0"/>
          <a:chOff x="0" y="0"/>
          <a:chExt cx="0" cy="0"/>
        </a:xfrm>
      </p:grpSpPr>
      <p:pic>
        <p:nvPicPr>
          <p:cNvPr id="5" name="Picture 4" descr="A black and orange logo&#10;&#10;Description automatically generated">
            <a:extLst>
              <a:ext uri="{FF2B5EF4-FFF2-40B4-BE49-F238E27FC236}">
                <a16:creationId xmlns:a16="http://schemas.microsoft.com/office/drawing/2014/main" id="{0067C55E-D286-1679-4589-69B3EF27B1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6099" y="4693617"/>
            <a:ext cx="1315621" cy="238122"/>
          </a:xfrm>
          <a:prstGeom prst="rect">
            <a:avLst/>
          </a:prstGeom>
        </p:spPr>
      </p:pic>
      <p:sp>
        <p:nvSpPr>
          <p:cNvPr id="3" name="Title Placeholder 1"/>
          <p:cNvSpPr>
            <a:spLocks noGrp="1"/>
          </p:cNvSpPr>
          <p:nvPr>
            <p:ph type="title" hasCustomPrompt="1"/>
          </p:nvPr>
        </p:nvSpPr>
        <p:spPr>
          <a:xfrm>
            <a:off x="713319" y="364068"/>
            <a:ext cx="7178401" cy="558800"/>
          </a:xfrm>
          <a:prstGeom prst="rect">
            <a:avLst/>
          </a:prstGeom>
        </p:spPr>
        <p:txBody>
          <a:bodyPr vert="horz" lIns="68580" tIns="34290" rIns="68580" bIns="34290" rtlCol="0" anchor="ctr">
            <a:normAutofit/>
          </a:bodyPr>
          <a:lstStyle>
            <a:lvl1pPr>
              <a:defRPr sz="3000" b="1" i="0" cap="all" baseline="0">
                <a:solidFill>
                  <a:srgbClr val="B44A31"/>
                </a:solidFill>
                <a:latin typeface="AvenirNext LT Pro Bold" panose="020B0504020202020204" pitchFamily="34" charset="77"/>
              </a:defRPr>
            </a:lvl1pPr>
          </a:lstStyle>
          <a:p>
            <a:r>
              <a:rPr lang="en-US" noProof="0"/>
              <a:t>TITLE OF SLIDE</a:t>
            </a:r>
          </a:p>
        </p:txBody>
      </p:sp>
      <p:cxnSp>
        <p:nvCxnSpPr>
          <p:cNvPr id="12" name="Straight Connector 11"/>
          <p:cNvCxnSpPr>
            <a:cxnSpLocks/>
          </p:cNvCxnSpPr>
          <p:nvPr/>
        </p:nvCxnSpPr>
        <p:spPr>
          <a:xfrm flipH="1">
            <a:off x="791655" y="961175"/>
            <a:ext cx="2829322" cy="0"/>
          </a:xfrm>
          <a:prstGeom prst="line">
            <a:avLst/>
          </a:prstGeom>
          <a:ln w="28575">
            <a:solidFill>
              <a:srgbClr val="218455"/>
            </a:solidFill>
          </a:ln>
        </p:spPr>
        <p:style>
          <a:lnRef idx="1">
            <a:schemeClr val="accent1"/>
          </a:lnRef>
          <a:fillRef idx="0">
            <a:schemeClr val="accent1"/>
          </a:fillRef>
          <a:effectRef idx="0">
            <a:schemeClr val="accent1"/>
          </a:effectRef>
          <a:fontRef idx="minor">
            <a:schemeClr val="tx1"/>
          </a:fontRef>
        </p:style>
      </p:cxnSp>
      <p:sp>
        <p:nvSpPr>
          <p:cNvPr id="7" name="Rectangle 3"/>
          <p:cNvSpPr/>
          <p:nvPr/>
        </p:nvSpPr>
        <p:spPr>
          <a:xfrm>
            <a:off x="8122093" y="0"/>
            <a:ext cx="1021906" cy="5143500"/>
          </a:xfrm>
          <a:prstGeom prst="rect">
            <a:avLst/>
          </a:prstGeom>
          <a:solidFill>
            <a:srgbClr val="218455"/>
          </a:solidFill>
          <a:ln>
            <a:no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cxnSp>
        <p:nvCxnSpPr>
          <p:cNvPr id="9" name="Straight Connector 11">
            <a:extLst>
              <a:ext uri="{FF2B5EF4-FFF2-40B4-BE49-F238E27FC236}">
                <a16:creationId xmlns:a16="http://schemas.microsoft.com/office/drawing/2014/main" id="{76E6C0D8-DE1E-4B94-88EA-1CD490D6F5E8}"/>
              </a:ext>
            </a:extLst>
          </p:cNvPr>
          <p:cNvCxnSpPr>
            <a:cxnSpLocks/>
          </p:cNvCxnSpPr>
          <p:nvPr userDrawn="1"/>
        </p:nvCxnSpPr>
        <p:spPr>
          <a:xfrm flipH="1">
            <a:off x="791655" y="961175"/>
            <a:ext cx="2829322" cy="0"/>
          </a:xfrm>
          <a:prstGeom prst="line">
            <a:avLst/>
          </a:prstGeom>
          <a:ln w="28575">
            <a:solidFill>
              <a:srgbClr val="B44A31"/>
            </a:solidFill>
          </a:ln>
        </p:spPr>
        <p:style>
          <a:lnRef idx="1">
            <a:schemeClr val="accent1"/>
          </a:lnRef>
          <a:fillRef idx="0">
            <a:schemeClr val="accent1"/>
          </a:fillRef>
          <a:effectRef idx="0">
            <a:schemeClr val="accent1"/>
          </a:effectRef>
          <a:fontRef idx="minor">
            <a:schemeClr val="tx1"/>
          </a:fontRef>
        </p:style>
      </p:cxnSp>
      <p:sp>
        <p:nvSpPr>
          <p:cNvPr id="10" name="Rectangle 3">
            <a:extLst>
              <a:ext uri="{FF2B5EF4-FFF2-40B4-BE49-F238E27FC236}">
                <a16:creationId xmlns:a16="http://schemas.microsoft.com/office/drawing/2014/main" id="{F548A2A8-966A-4AE8-924D-A85FB872F052}"/>
              </a:ext>
            </a:extLst>
          </p:cNvPr>
          <p:cNvSpPr/>
          <p:nvPr userDrawn="1"/>
        </p:nvSpPr>
        <p:spPr>
          <a:xfrm>
            <a:off x="8122093" y="0"/>
            <a:ext cx="1021906" cy="5143500"/>
          </a:xfrm>
          <a:prstGeom prst="rect">
            <a:avLst/>
          </a:prstGeom>
          <a:solidFill>
            <a:srgbClr val="B44A31"/>
          </a:solidFill>
          <a:ln>
            <a:no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spTree>
    <p:extLst>
      <p:ext uri="{BB962C8B-B14F-4D97-AF65-F5344CB8AC3E}">
        <p14:creationId xmlns:p14="http://schemas.microsoft.com/office/powerpoint/2010/main" val="36683120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Final_slide">
    <p:spTree>
      <p:nvGrpSpPr>
        <p:cNvPr id="1" name=""/>
        <p:cNvGrpSpPr/>
        <p:nvPr/>
      </p:nvGrpSpPr>
      <p:grpSpPr>
        <a:xfrm>
          <a:off x="0" y="0"/>
          <a:ext cx="0" cy="0"/>
          <a:chOff x="0" y="0"/>
          <a:chExt cx="0" cy="0"/>
        </a:xfrm>
      </p:grpSpPr>
      <p:sp>
        <p:nvSpPr>
          <p:cNvPr id="34" name="Rectangle 3">
            <a:extLst>
              <a:ext uri="{FF2B5EF4-FFF2-40B4-BE49-F238E27FC236}">
                <a16:creationId xmlns:a16="http://schemas.microsoft.com/office/drawing/2014/main" id="{EFFAF4D1-A847-7D27-7FCC-F2125A37AEB6}"/>
              </a:ext>
            </a:extLst>
          </p:cNvPr>
          <p:cNvSpPr/>
          <p:nvPr userDrawn="1"/>
        </p:nvSpPr>
        <p:spPr>
          <a:xfrm>
            <a:off x="0" y="3726533"/>
            <a:ext cx="9144000" cy="1416967"/>
          </a:xfrm>
          <a:prstGeom prst="rect">
            <a:avLst/>
          </a:prstGeom>
          <a:solidFill>
            <a:srgbClr val="B44A31"/>
          </a:solidFill>
          <a:ln>
            <a:no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pic>
        <p:nvPicPr>
          <p:cNvPr id="35" name="Picture 34" descr="Logo&#10;&#10;Description automatically generated">
            <a:extLst>
              <a:ext uri="{FF2B5EF4-FFF2-40B4-BE49-F238E27FC236}">
                <a16:creationId xmlns:a16="http://schemas.microsoft.com/office/drawing/2014/main" id="{EA7E7CFA-71D1-DFF2-BE47-280B996CBC8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87745" y="1627291"/>
            <a:ext cx="3063649" cy="564087"/>
          </a:xfrm>
          <a:prstGeom prst="rect">
            <a:avLst/>
          </a:prstGeom>
        </p:spPr>
      </p:pic>
      <p:grpSp>
        <p:nvGrpSpPr>
          <p:cNvPr id="37" name="Group 3">
            <a:extLst>
              <a:ext uri="{FF2B5EF4-FFF2-40B4-BE49-F238E27FC236}">
                <a16:creationId xmlns:a16="http://schemas.microsoft.com/office/drawing/2014/main" id="{55DF444B-C9AF-F191-29B4-F8C707D9929A}"/>
              </a:ext>
            </a:extLst>
          </p:cNvPr>
          <p:cNvGrpSpPr/>
          <p:nvPr userDrawn="1"/>
        </p:nvGrpSpPr>
        <p:grpSpPr>
          <a:xfrm>
            <a:off x="1355107" y="841817"/>
            <a:ext cx="2866845" cy="2160917"/>
            <a:chOff x="1991744" y="2005640"/>
            <a:chExt cx="3822460" cy="2881223"/>
          </a:xfrm>
        </p:grpSpPr>
        <p:sp>
          <p:nvSpPr>
            <p:cNvPr id="39" name="TextBox 4">
              <a:extLst>
                <a:ext uri="{FF2B5EF4-FFF2-40B4-BE49-F238E27FC236}">
                  <a16:creationId xmlns:a16="http://schemas.microsoft.com/office/drawing/2014/main" id="{43AD42DC-6664-42C6-BFDE-86F437C81272}"/>
                </a:ext>
              </a:extLst>
            </p:cNvPr>
            <p:cNvSpPr txBox="1"/>
            <p:nvPr/>
          </p:nvSpPr>
          <p:spPr>
            <a:xfrm>
              <a:off x="1991744" y="2707588"/>
              <a:ext cx="2821927" cy="1477328"/>
            </a:xfrm>
            <a:prstGeom prst="rect">
              <a:avLst/>
            </a:prstGeom>
            <a:noFill/>
          </p:spPr>
          <p:txBody>
            <a:bodyPr wrap="square" rtlCol="0" anchor="ctr">
              <a:spAutoFit/>
            </a:bodyPr>
            <a:lstStyle/>
            <a:p>
              <a:pPr algn="r"/>
              <a:r>
                <a:rPr lang="en-US" sz="3300" b="1" i="0">
                  <a:solidFill>
                    <a:srgbClr val="B44A31"/>
                  </a:solidFill>
                  <a:latin typeface="AvenirNext LT Pro Bold" panose="020B0504020202020204" pitchFamily="34" charset="77"/>
                  <a:cs typeface="Avenir Next Bold"/>
                </a:rPr>
                <a:t>THANK YOU </a:t>
              </a:r>
            </a:p>
          </p:txBody>
        </p:sp>
        <p:cxnSp>
          <p:nvCxnSpPr>
            <p:cNvPr id="41" name="Straight Connector 5">
              <a:extLst>
                <a:ext uri="{FF2B5EF4-FFF2-40B4-BE49-F238E27FC236}">
                  <a16:creationId xmlns:a16="http://schemas.microsoft.com/office/drawing/2014/main" id="{86416D3A-363C-A15F-06CD-2689CD818883}"/>
                </a:ext>
              </a:extLst>
            </p:cNvPr>
            <p:cNvCxnSpPr/>
            <p:nvPr/>
          </p:nvCxnSpPr>
          <p:spPr>
            <a:xfrm>
              <a:off x="5814204" y="2005640"/>
              <a:ext cx="0" cy="2881223"/>
            </a:xfrm>
            <a:prstGeom prst="line">
              <a:avLst/>
            </a:prstGeom>
            <a:ln w="28575">
              <a:solidFill>
                <a:srgbClr val="218455"/>
              </a:solidFill>
            </a:ln>
          </p:spPr>
          <p:style>
            <a:lnRef idx="1">
              <a:schemeClr val="accent1"/>
            </a:lnRef>
            <a:fillRef idx="0">
              <a:schemeClr val="accent1"/>
            </a:fillRef>
            <a:effectRef idx="0">
              <a:schemeClr val="accent1"/>
            </a:effectRef>
            <a:fontRef idx="minor">
              <a:schemeClr val="tx1"/>
            </a:fontRef>
          </p:style>
        </p:cxnSp>
      </p:grpSp>
      <p:cxnSp>
        <p:nvCxnSpPr>
          <p:cNvPr id="54" name="Straight Connector 11">
            <a:extLst>
              <a:ext uri="{FF2B5EF4-FFF2-40B4-BE49-F238E27FC236}">
                <a16:creationId xmlns:a16="http://schemas.microsoft.com/office/drawing/2014/main" id="{6F735174-694B-5695-44E7-391A0F17B97E}"/>
              </a:ext>
            </a:extLst>
          </p:cNvPr>
          <p:cNvCxnSpPr>
            <a:cxnSpLocks/>
          </p:cNvCxnSpPr>
          <p:nvPr userDrawn="1"/>
        </p:nvCxnSpPr>
        <p:spPr>
          <a:xfrm flipV="1">
            <a:off x="4220167" y="841817"/>
            <a:ext cx="0" cy="2160917"/>
          </a:xfrm>
          <a:prstGeom prst="line">
            <a:avLst/>
          </a:prstGeom>
          <a:ln w="28575">
            <a:solidFill>
              <a:srgbClr val="B44A31"/>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B1D6C40-C953-F5B5-E920-2EEB033A4E9B}"/>
              </a:ext>
            </a:extLst>
          </p:cNvPr>
          <p:cNvGrpSpPr/>
          <p:nvPr userDrawn="1"/>
        </p:nvGrpSpPr>
        <p:grpSpPr>
          <a:xfrm>
            <a:off x="4627304" y="4516362"/>
            <a:ext cx="360000" cy="360000"/>
            <a:chOff x="4627304" y="4512435"/>
            <a:chExt cx="360000" cy="360000"/>
          </a:xfrm>
        </p:grpSpPr>
        <p:pic>
          <p:nvPicPr>
            <p:cNvPr id="3" name="Afbeelding 26" descr="Phone-wit.png">
              <a:extLst>
                <a:ext uri="{FF2B5EF4-FFF2-40B4-BE49-F238E27FC236}">
                  <a16:creationId xmlns:a16="http://schemas.microsoft.com/office/drawing/2014/main" id="{4FEFBF83-3672-4AB9-B74F-731B66B7FC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27304" y="4512435"/>
              <a:ext cx="360000" cy="360000"/>
            </a:xfrm>
            <a:prstGeom prst="rect">
              <a:avLst/>
            </a:prstGeom>
          </p:spPr>
        </p:pic>
        <p:pic>
          <p:nvPicPr>
            <p:cNvPr id="4" name="Picture 3" descr="Logo, icon&#10;&#10;Description automatically generated">
              <a:extLst>
                <a:ext uri="{FF2B5EF4-FFF2-40B4-BE49-F238E27FC236}">
                  <a16:creationId xmlns:a16="http://schemas.microsoft.com/office/drawing/2014/main" id="{3504A726-678F-7DF9-B816-F8247C46EC3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8658" t="8981" r="17065" b="16296"/>
            <a:stretch/>
          </p:blipFill>
          <p:spPr>
            <a:xfrm>
              <a:off x="4697332" y="4579543"/>
              <a:ext cx="219944" cy="225783"/>
            </a:xfrm>
            <a:prstGeom prst="rect">
              <a:avLst/>
            </a:prstGeom>
          </p:spPr>
        </p:pic>
      </p:grpSp>
      <p:grpSp>
        <p:nvGrpSpPr>
          <p:cNvPr id="5" name="Group 4">
            <a:extLst>
              <a:ext uri="{FF2B5EF4-FFF2-40B4-BE49-F238E27FC236}">
                <a16:creationId xmlns:a16="http://schemas.microsoft.com/office/drawing/2014/main" id="{BE40AF50-A10F-D213-9C47-F8C20C39E57E}"/>
              </a:ext>
            </a:extLst>
          </p:cNvPr>
          <p:cNvGrpSpPr/>
          <p:nvPr userDrawn="1"/>
        </p:nvGrpSpPr>
        <p:grpSpPr>
          <a:xfrm>
            <a:off x="4627304" y="3973165"/>
            <a:ext cx="360000" cy="360000"/>
            <a:chOff x="4627304" y="3976357"/>
            <a:chExt cx="360000" cy="360000"/>
          </a:xfrm>
        </p:grpSpPr>
        <p:grpSp>
          <p:nvGrpSpPr>
            <p:cNvPr id="6" name="Group 5">
              <a:extLst>
                <a:ext uri="{FF2B5EF4-FFF2-40B4-BE49-F238E27FC236}">
                  <a16:creationId xmlns:a16="http://schemas.microsoft.com/office/drawing/2014/main" id="{C4DF3DEE-75E0-CA97-D801-794800D1E2F8}"/>
                </a:ext>
              </a:extLst>
            </p:cNvPr>
            <p:cNvGrpSpPr/>
            <p:nvPr userDrawn="1"/>
          </p:nvGrpSpPr>
          <p:grpSpPr>
            <a:xfrm>
              <a:off x="4627304" y="3976357"/>
              <a:ext cx="360000" cy="360000"/>
              <a:chOff x="4627304" y="3976357"/>
              <a:chExt cx="360000" cy="360000"/>
            </a:xfrm>
          </p:grpSpPr>
          <p:pic>
            <p:nvPicPr>
              <p:cNvPr id="8" name="Afbeelding 18" descr="Mail-wit.png">
                <a:extLst>
                  <a:ext uri="{FF2B5EF4-FFF2-40B4-BE49-F238E27FC236}">
                    <a16:creationId xmlns:a16="http://schemas.microsoft.com/office/drawing/2014/main" id="{AE63C0A3-FF57-BF3E-1863-31654062868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27304" y="3976357"/>
                <a:ext cx="360000" cy="360000"/>
              </a:xfrm>
              <a:prstGeom prst="rect">
                <a:avLst/>
              </a:prstGeom>
            </p:spPr>
          </p:pic>
          <p:sp>
            <p:nvSpPr>
              <p:cNvPr id="9" name="Oval 8">
                <a:extLst>
                  <a:ext uri="{FF2B5EF4-FFF2-40B4-BE49-F238E27FC236}">
                    <a16:creationId xmlns:a16="http://schemas.microsoft.com/office/drawing/2014/main" id="{AC86C07D-9810-C00B-5D8F-81A023F1D498}"/>
                  </a:ext>
                </a:extLst>
              </p:cNvPr>
              <p:cNvSpPr/>
              <p:nvPr userDrawn="1"/>
            </p:nvSpPr>
            <p:spPr>
              <a:xfrm>
                <a:off x="4649546" y="4034792"/>
                <a:ext cx="315262" cy="2867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Picture 6" descr="Icon&#10;&#10;Description automatically generated">
              <a:extLst>
                <a:ext uri="{FF2B5EF4-FFF2-40B4-BE49-F238E27FC236}">
                  <a16:creationId xmlns:a16="http://schemas.microsoft.com/office/drawing/2014/main" id="{C75EA29A-475C-BF71-EB8A-62FFC023946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690468" y="4087095"/>
              <a:ext cx="233418" cy="160777"/>
            </a:xfrm>
            <a:prstGeom prst="rect">
              <a:avLst/>
            </a:prstGeom>
          </p:spPr>
        </p:pic>
      </p:grpSp>
      <p:pic>
        <p:nvPicPr>
          <p:cNvPr id="10" name="Afbeelding 16" descr="LinkedIn_wit.png">
            <a:extLst>
              <a:ext uri="{FF2B5EF4-FFF2-40B4-BE49-F238E27FC236}">
                <a16:creationId xmlns:a16="http://schemas.microsoft.com/office/drawing/2014/main" id="{95825921-9B78-6944-F7FE-2F06C754DD3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74976" y="4522845"/>
            <a:ext cx="360000" cy="360000"/>
          </a:xfrm>
          <a:prstGeom prst="rect">
            <a:avLst/>
          </a:prstGeom>
        </p:spPr>
      </p:pic>
      <p:sp>
        <p:nvSpPr>
          <p:cNvPr id="11" name="TextBox 10">
            <a:extLst>
              <a:ext uri="{FF2B5EF4-FFF2-40B4-BE49-F238E27FC236}">
                <a16:creationId xmlns:a16="http://schemas.microsoft.com/office/drawing/2014/main" id="{7C9237E2-512B-1BC4-8D59-A91424BA9462}"/>
              </a:ext>
            </a:extLst>
          </p:cNvPr>
          <p:cNvSpPr txBox="1"/>
          <p:nvPr userDrawn="1"/>
        </p:nvSpPr>
        <p:spPr>
          <a:xfrm>
            <a:off x="1943524" y="3965965"/>
            <a:ext cx="2130537" cy="380781"/>
          </a:xfrm>
          <a:prstGeom prst="rect">
            <a:avLst/>
          </a:prstGeom>
        </p:spPr>
        <p:txBody>
          <a:bodyPr vert="horz" wrap="square" lIns="68580" tIns="34290" rIns="68580" bIns="34290" rtlCol="0" anchor="ctr">
            <a:noAutofit/>
          </a:bodyPr>
          <a:lstStyle/>
          <a:p>
            <a:pPr algn="l"/>
            <a:r>
              <a:rPr lang="en-US" sz="1800" b="0">
                <a:solidFill>
                  <a:schemeClr val="bg1"/>
                </a:solidFill>
                <a:latin typeface="Open Sans" panose="020B0606030504020204" pitchFamily="34" charset="0"/>
                <a:ea typeface="Open Sans" panose="020B0606030504020204" pitchFamily="34" charset="0"/>
                <a:cs typeface="Open Sans" panose="020B0606030504020204" pitchFamily="34" charset="0"/>
              </a:rPr>
              <a:t>www.fssc.com</a:t>
            </a:r>
          </a:p>
        </p:txBody>
      </p:sp>
      <p:sp>
        <p:nvSpPr>
          <p:cNvPr id="12" name="TextBox 11">
            <a:extLst>
              <a:ext uri="{FF2B5EF4-FFF2-40B4-BE49-F238E27FC236}">
                <a16:creationId xmlns:a16="http://schemas.microsoft.com/office/drawing/2014/main" id="{F24E4872-FA01-EDFF-04AB-F2ADAF64B662}"/>
              </a:ext>
            </a:extLst>
          </p:cNvPr>
          <p:cNvSpPr txBox="1"/>
          <p:nvPr userDrawn="1"/>
        </p:nvSpPr>
        <p:spPr>
          <a:xfrm>
            <a:off x="1943524" y="4525441"/>
            <a:ext cx="2130537" cy="380781"/>
          </a:xfrm>
          <a:prstGeom prst="rect">
            <a:avLst/>
          </a:prstGeom>
        </p:spPr>
        <p:txBody>
          <a:bodyPr vert="horz" wrap="square" lIns="68580" tIns="34290" rIns="68580" bIns="34290" rtlCol="0" anchor="ctr">
            <a:noAutofit/>
          </a:bodyPr>
          <a:lstStyle/>
          <a:p>
            <a:pPr algn="l"/>
            <a:r>
              <a:rPr lang="en-US" sz="1800" b="0">
                <a:solidFill>
                  <a:schemeClr val="bg1"/>
                </a:solidFill>
                <a:latin typeface="Open Sans" panose="020B0606030504020204" pitchFamily="34" charset="0"/>
                <a:ea typeface="Open Sans" panose="020B0606030504020204" pitchFamily="34" charset="0"/>
                <a:cs typeface="Open Sans" panose="020B0606030504020204" pitchFamily="34" charset="0"/>
              </a:rPr>
              <a:t>Foundation FSSC</a:t>
            </a:r>
          </a:p>
        </p:txBody>
      </p:sp>
      <p:sp>
        <p:nvSpPr>
          <p:cNvPr id="13" name="TextBox 12">
            <a:extLst>
              <a:ext uri="{FF2B5EF4-FFF2-40B4-BE49-F238E27FC236}">
                <a16:creationId xmlns:a16="http://schemas.microsoft.com/office/drawing/2014/main" id="{FE7830F8-7A77-F7F8-8D50-8DA9B0B43125}"/>
              </a:ext>
            </a:extLst>
          </p:cNvPr>
          <p:cNvSpPr txBox="1"/>
          <p:nvPr userDrawn="1"/>
        </p:nvSpPr>
        <p:spPr>
          <a:xfrm>
            <a:off x="5096048" y="4512435"/>
            <a:ext cx="2624811" cy="380781"/>
          </a:xfrm>
          <a:prstGeom prst="rect">
            <a:avLst/>
          </a:prstGeom>
        </p:spPr>
        <p:txBody>
          <a:bodyPr vert="horz" wrap="square" lIns="68580" tIns="34290" rIns="68580" bIns="34290" rtlCol="0" anchor="ctr">
            <a:noAutofit/>
          </a:bodyPr>
          <a:lstStyle/>
          <a:p>
            <a:pPr algn="l"/>
            <a:r>
              <a:rPr lang="en-US" sz="1800" b="0">
                <a:solidFill>
                  <a:schemeClr val="bg1"/>
                </a:solidFill>
                <a:latin typeface="Open Sans" panose="020B0606030504020204" pitchFamily="34" charset="0"/>
                <a:ea typeface="Open Sans" panose="020B0606030504020204" pitchFamily="34" charset="0"/>
                <a:cs typeface="Open Sans" panose="020B0606030504020204" pitchFamily="34" charset="0"/>
              </a:rPr>
              <a:t>+31 (0) 183 64 50 28</a:t>
            </a:r>
          </a:p>
        </p:txBody>
      </p:sp>
      <p:sp>
        <p:nvSpPr>
          <p:cNvPr id="14" name="TextBox 13">
            <a:extLst>
              <a:ext uri="{FF2B5EF4-FFF2-40B4-BE49-F238E27FC236}">
                <a16:creationId xmlns:a16="http://schemas.microsoft.com/office/drawing/2014/main" id="{07D83FD2-BE82-AA39-85CC-721A8C6BEEDD}"/>
              </a:ext>
            </a:extLst>
          </p:cNvPr>
          <p:cNvSpPr txBox="1"/>
          <p:nvPr userDrawn="1"/>
        </p:nvSpPr>
        <p:spPr>
          <a:xfrm>
            <a:off x="5098959" y="3976356"/>
            <a:ext cx="2492012" cy="380781"/>
          </a:xfrm>
          <a:prstGeom prst="rect">
            <a:avLst/>
          </a:prstGeom>
        </p:spPr>
        <p:txBody>
          <a:bodyPr vert="horz" wrap="square" lIns="68580" tIns="34290" rIns="68580" bIns="34290" rtlCol="0" anchor="ctr">
            <a:noAutofit/>
          </a:bodyPr>
          <a:lstStyle/>
          <a:p>
            <a:pPr algn="l"/>
            <a:r>
              <a:rPr lang="en-US" sz="1800" b="0">
                <a:solidFill>
                  <a:schemeClr val="bg1"/>
                </a:solidFill>
                <a:latin typeface="Open Sans" panose="020B0606030504020204" pitchFamily="34" charset="0"/>
                <a:ea typeface="Open Sans" panose="020B0606030504020204" pitchFamily="34" charset="0"/>
                <a:cs typeface="Open Sans" panose="020B0606030504020204" pitchFamily="34" charset="0"/>
              </a:rPr>
              <a:t>questions@fssc.com</a:t>
            </a:r>
          </a:p>
        </p:txBody>
      </p:sp>
      <p:grpSp>
        <p:nvGrpSpPr>
          <p:cNvPr id="15" name="Group 14">
            <a:extLst>
              <a:ext uri="{FF2B5EF4-FFF2-40B4-BE49-F238E27FC236}">
                <a16:creationId xmlns:a16="http://schemas.microsoft.com/office/drawing/2014/main" id="{3E3333D8-6202-894A-76C3-D1E5B44B678D}"/>
              </a:ext>
            </a:extLst>
          </p:cNvPr>
          <p:cNvGrpSpPr/>
          <p:nvPr userDrawn="1"/>
        </p:nvGrpSpPr>
        <p:grpSpPr>
          <a:xfrm>
            <a:off x="1469955" y="3983754"/>
            <a:ext cx="360000" cy="345202"/>
            <a:chOff x="879149" y="4023242"/>
            <a:chExt cx="360000" cy="345202"/>
          </a:xfrm>
        </p:grpSpPr>
        <p:sp>
          <p:nvSpPr>
            <p:cNvPr id="16" name="Oval 15">
              <a:extLst>
                <a:ext uri="{FF2B5EF4-FFF2-40B4-BE49-F238E27FC236}">
                  <a16:creationId xmlns:a16="http://schemas.microsoft.com/office/drawing/2014/main" id="{9D2BEC9A-CB74-4E00-737D-D224467B65EA}"/>
                </a:ext>
              </a:extLst>
            </p:cNvPr>
            <p:cNvSpPr/>
            <p:nvPr userDrawn="1"/>
          </p:nvSpPr>
          <p:spPr>
            <a:xfrm>
              <a:off x="879149" y="4023242"/>
              <a:ext cx="360000" cy="345202"/>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17" name="Picture 16" descr="Internet with solid fill">
              <a:extLst>
                <a:ext uri="{FF2B5EF4-FFF2-40B4-BE49-F238E27FC236}">
                  <a16:creationId xmlns:a16="http://schemas.microsoft.com/office/drawing/2014/main" id="{8A80342F-98E3-A3EE-CCF1-73E928768312}"/>
                </a:ext>
              </a:extLst>
            </p:cNvPr>
            <p:cNvPicPr>
              <a:picLocks noChangeAspect="1"/>
            </p:cNvPicPr>
            <p:nvPr userDrawn="1"/>
          </p:nvPicPr>
          <p:blipFill>
            <a:blip r:embed="rId8">
              <a:extLst>
                <a:ext uri="{96DAC541-7B7A-43D3-8B79-37D633B846F1}">
                  <asvg:svgBlip xmlns:asvg="http://schemas.microsoft.com/office/drawing/2016/SVG/main" r:embed="rId9"/>
                </a:ext>
              </a:extLst>
            </a:blip>
            <a:srcRect t="3595" b="3595"/>
            <a:stretch/>
          </p:blipFill>
          <p:spPr>
            <a:xfrm>
              <a:off x="932678" y="4089281"/>
              <a:ext cx="245013" cy="227398"/>
            </a:xfrm>
            <a:prstGeom prst="rect">
              <a:avLst/>
            </a:prstGeom>
          </p:spPr>
        </p:pic>
      </p:grpSp>
      <p:grpSp>
        <p:nvGrpSpPr>
          <p:cNvPr id="18" name="Group 17">
            <a:extLst>
              <a:ext uri="{FF2B5EF4-FFF2-40B4-BE49-F238E27FC236}">
                <a16:creationId xmlns:a16="http://schemas.microsoft.com/office/drawing/2014/main" id="{37B5D3FE-27B0-E42C-8E5A-6C4D81AA4F7A}"/>
              </a:ext>
            </a:extLst>
          </p:cNvPr>
          <p:cNvGrpSpPr/>
          <p:nvPr userDrawn="1"/>
        </p:nvGrpSpPr>
        <p:grpSpPr>
          <a:xfrm>
            <a:off x="1474976" y="4522845"/>
            <a:ext cx="360000" cy="360000"/>
            <a:chOff x="1474976" y="4522845"/>
            <a:chExt cx="360000" cy="360000"/>
          </a:xfrm>
        </p:grpSpPr>
        <p:pic>
          <p:nvPicPr>
            <p:cNvPr id="19" name="Afbeelding 24" descr="LinkedIn_wit.png">
              <a:extLst>
                <a:ext uri="{FF2B5EF4-FFF2-40B4-BE49-F238E27FC236}">
                  <a16:creationId xmlns:a16="http://schemas.microsoft.com/office/drawing/2014/main" id="{10F7022D-9B4D-1991-2873-F89F2473C71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74976" y="4522845"/>
              <a:ext cx="360000" cy="360000"/>
            </a:xfrm>
            <a:prstGeom prst="rect">
              <a:avLst/>
            </a:prstGeom>
          </p:spPr>
        </p:pic>
        <p:pic>
          <p:nvPicPr>
            <p:cNvPr id="20" name="Picture 19" descr="Logo&#10;&#10;Description automatically generated">
              <a:extLst>
                <a:ext uri="{FF2B5EF4-FFF2-40B4-BE49-F238E27FC236}">
                  <a16:creationId xmlns:a16="http://schemas.microsoft.com/office/drawing/2014/main" id="{97957DB3-B385-742B-639D-39C50BBDA651}"/>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535434" y="4593667"/>
              <a:ext cx="240693" cy="225783"/>
            </a:xfrm>
            <a:prstGeom prst="rect">
              <a:avLst/>
            </a:prstGeom>
          </p:spPr>
        </p:pic>
      </p:grpSp>
    </p:spTree>
    <p:extLst>
      <p:ext uri="{BB962C8B-B14F-4D97-AF65-F5344CB8AC3E}">
        <p14:creationId xmlns:p14="http://schemas.microsoft.com/office/powerpoint/2010/main" val="8689581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tandard_Text_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713319" y="364068"/>
            <a:ext cx="7178401" cy="558800"/>
          </a:xfrm>
          <a:prstGeom prst="rect">
            <a:avLst/>
          </a:prstGeom>
        </p:spPr>
        <p:txBody>
          <a:bodyPr vert="horz" lIns="68580" tIns="34290" rIns="68580" bIns="34290" rtlCol="0" anchor="ctr">
            <a:normAutofit/>
          </a:bodyPr>
          <a:lstStyle>
            <a:lvl1pPr>
              <a:defRPr sz="3000" b="1" i="0" cap="all" baseline="0">
                <a:solidFill>
                  <a:srgbClr val="B1503A"/>
                </a:solidFill>
                <a:latin typeface="AvenirNext LT Pro Bold" panose="020B0504020202020204" pitchFamily="34" charset="77"/>
              </a:defRPr>
            </a:lvl1pPr>
          </a:lstStyle>
          <a:p>
            <a:r>
              <a:rPr lang="en-US" noProof="0"/>
              <a:t>TITLE OF SLIDE</a:t>
            </a:r>
          </a:p>
        </p:txBody>
      </p:sp>
      <p:cxnSp>
        <p:nvCxnSpPr>
          <p:cNvPr id="12" name="Straight Connector 11"/>
          <p:cNvCxnSpPr>
            <a:cxnSpLocks/>
          </p:cNvCxnSpPr>
          <p:nvPr/>
        </p:nvCxnSpPr>
        <p:spPr>
          <a:xfrm flipH="1">
            <a:off x="791655" y="961175"/>
            <a:ext cx="2829322" cy="0"/>
          </a:xfrm>
          <a:prstGeom prst="line">
            <a:avLst/>
          </a:prstGeom>
          <a:ln w="28575">
            <a:solidFill>
              <a:srgbClr val="218455"/>
            </a:solidFill>
          </a:ln>
        </p:spPr>
        <p:style>
          <a:lnRef idx="1">
            <a:schemeClr val="accent1"/>
          </a:lnRef>
          <a:fillRef idx="0">
            <a:schemeClr val="accent1"/>
          </a:fillRef>
          <a:effectRef idx="0">
            <a:schemeClr val="accent1"/>
          </a:effectRef>
          <a:fontRef idx="minor">
            <a:schemeClr val="tx1"/>
          </a:fontRef>
        </p:style>
      </p:cxnSp>
      <p:sp>
        <p:nvSpPr>
          <p:cNvPr id="13" name="Text Placeholder 2"/>
          <p:cNvSpPr>
            <a:spLocks noGrp="1"/>
          </p:cNvSpPr>
          <p:nvPr>
            <p:ph idx="1"/>
          </p:nvPr>
        </p:nvSpPr>
        <p:spPr>
          <a:xfrm>
            <a:off x="713316" y="1369219"/>
            <a:ext cx="7172497" cy="3167339"/>
          </a:xfrm>
          <a:prstGeom prst="rect">
            <a:avLst/>
          </a:prstGeom>
        </p:spPr>
        <p:txBody>
          <a:bodyPr vert="horz" lIns="68580" tIns="34290" rIns="68580" bIns="34290" rtlCol="0">
            <a:noAutofit/>
          </a:bodyPr>
          <a:lstStyle>
            <a:lvl1pPr>
              <a:defRPr sz="1800" baseline="0">
                <a:latin typeface="Open Sans"/>
                <a:cs typeface="Open Sans"/>
              </a:defRPr>
            </a:lvl1pPr>
            <a:lvl2pPr>
              <a:defRPr sz="1800" baseline="0">
                <a:latin typeface="Open Sans"/>
                <a:cs typeface="Open Sans"/>
              </a:defRPr>
            </a:lvl2pPr>
            <a:lvl3pPr>
              <a:defRPr sz="1800" baseline="0">
                <a:latin typeface="Open Sans"/>
                <a:cs typeface="Open Sans"/>
              </a:defRPr>
            </a:lvl3pPr>
            <a:lvl4pPr>
              <a:defRPr sz="1800" baseline="0">
                <a:latin typeface="Open Sans"/>
                <a:cs typeface="Open Sans"/>
              </a:defRPr>
            </a:lvl4pPr>
            <a:lvl5pPr>
              <a:defRPr sz="1000">
                <a:latin typeface="Open Sans"/>
                <a:cs typeface="Open Sans"/>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Rectangle 3"/>
          <p:cNvSpPr/>
          <p:nvPr/>
        </p:nvSpPr>
        <p:spPr>
          <a:xfrm>
            <a:off x="8122093" y="0"/>
            <a:ext cx="1021906" cy="5143500"/>
          </a:xfrm>
          <a:prstGeom prst="rect">
            <a:avLst/>
          </a:prstGeom>
          <a:solidFill>
            <a:srgbClr val="218455"/>
          </a:solidFill>
          <a:ln>
            <a:no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cxnSp>
        <p:nvCxnSpPr>
          <p:cNvPr id="9" name="Straight Connector 11">
            <a:extLst>
              <a:ext uri="{FF2B5EF4-FFF2-40B4-BE49-F238E27FC236}">
                <a16:creationId xmlns:a16="http://schemas.microsoft.com/office/drawing/2014/main" id="{76E6C0D8-DE1E-4B94-88EA-1CD490D6F5E8}"/>
              </a:ext>
            </a:extLst>
          </p:cNvPr>
          <p:cNvCxnSpPr>
            <a:cxnSpLocks/>
          </p:cNvCxnSpPr>
          <p:nvPr userDrawn="1"/>
        </p:nvCxnSpPr>
        <p:spPr>
          <a:xfrm flipH="1">
            <a:off x="791655" y="961175"/>
            <a:ext cx="2829322" cy="0"/>
          </a:xfrm>
          <a:prstGeom prst="line">
            <a:avLst/>
          </a:prstGeom>
          <a:ln w="28575">
            <a:solidFill>
              <a:srgbClr val="B1503A"/>
            </a:solidFill>
          </a:ln>
        </p:spPr>
        <p:style>
          <a:lnRef idx="1">
            <a:schemeClr val="accent1"/>
          </a:lnRef>
          <a:fillRef idx="0">
            <a:schemeClr val="accent1"/>
          </a:fillRef>
          <a:effectRef idx="0">
            <a:schemeClr val="accent1"/>
          </a:effectRef>
          <a:fontRef idx="minor">
            <a:schemeClr val="tx1"/>
          </a:fontRef>
        </p:style>
      </p:cxnSp>
      <p:sp>
        <p:nvSpPr>
          <p:cNvPr id="10" name="Rectangle 3">
            <a:extLst>
              <a:ext uri="{FF2B5EF4-FFF2-40B4-BE49-F238E27FC236}">
                <a16:creationId xmlns:a16="http://schemas.microsoft.com/office/drawing/2014/main" id="{F548A2A8-966A-4AE8-924D-A85FB872F052}"/>
              </a:ext>
            </a:extLst>
          </p:cNvPr>
          <p:cNvSpPr/>
          <p:nvPr userDrawn="1"/>
        </p:nvSpPr>
        <p:spPr>
          <a:xfrm>
            <a:off x="8122093" y="0"/>
            <a:ext cx="1021906" cy="5143500"/>
          </a:xfrm>
          <a:prstGeom prst="rect">
            <a:avLst/>
          </a:prstGeom>
          <a:solidFill>
            <a:srgbClr val="B1503A"/>
          </a:solidFill>
          <a:ln>
            <a:solidFill>
              <a:srgbClr val="B1503A"/>
            </a:solid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pic>
        <p:nvPicPr>
          <p:cNvPr id="4" name="Picture 3" descr="A black and orange logo&#10;&#10;Description automatically generated">
            <a:extLst>
              <a:ext uri="{FF2B5EF4-FFF2-40B4-BE49-F238E27FC236}">
                <a16:creationId xmlns:a16="http://schemas.microsoft.com/office/drawing/2014/main" id="{EEA78835-70F4-DDDA-4856-FC4413D39D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6099" y="4693617"/>
            <a:ext cx="1315621" cy="238122"/>
          </a:xfrm>
          <a:prstGeom prst="rect">
            <a:avLst/>
          </a:prstGeom>
        </p:spPr>
      </p:pic>
    </p:spTree>
    <p:extLst>
      <p:ext uri="{BB962C8B-B14F-4D97-AF65-F5344CB8AC3E}">
        <p14:creationId xmlns:p14="http://schemas.microsoft.com/office/powerpoint/2010/main" val="14970005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_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69625" y="364068"/>
            <a:ext cx="7322095" cy="558800"/>
          </a:xfrm>
          <a:prstGeom prst="rect">
            <a:avLst/>
          </a:prstGeom>
        </p:spPr>
        <p:txBody>
          <a:bodyPr vert="horz" lIns="68580" tIns="34290" rIns="68580" bIns="34290" rtlCol="0" anchor="ctr">
            <a:normAutofit/>
          </a:bodyPr>
          <a:lstStyle>
            <a:lvl1pPr>
              <a:defRPr sz="3000" cap="all" baseline="0">
                <a:solidFill>
                  <a:srgbClr val="B1503A"/>
                </a:solidFill>
              </a:defRPr>
            </a:lvl1pPr>
          </a:lstStyle>
          <a:p>
            <a:r>
              <a:rPr lang="en-US" noProof="0"/>
              <a:t>TITLE OF SLIDE</a:t>
            </a:r>
          </a:p>
        </p:txBody>
      </p:sp>
      <p:cxnSp>
        <p:nvCxnSpPr>
          <p:cNvPr id="12" name="Straight Connector 11"/>
          <p:cNvCxnSpPr>
            <a:cxnSpLocks/>
          </p:cNvCxnSpPr>
          <p:nvPr/>
        </p:nvCxnSpPr>
        <p:spPr>
          <a:xfrm flipH="1">
            <a:off x="791655" y="961175"/>
            <a:ext cx="2829322" cy="0"/>
          </a:xfrm>
          <a:prstGeom prst="line">
            <a:avLst/>
          </a:prstGeom>
          <a:ln w="28575">
            <a:solidFill>
              <a:srgbClr val="218455"/>
            </a:solidFill>
          </a:ln>
        </p:spPr>
        <p:style>
          <a:lnRef idx="1">
            <a:schemeClr val="accent1"/>
          </a:lnRef>
          <a:fillRef idx="0">
            <a:schemeClr val="accent1"/>
          </a:fillRef>
          <a:effectRef idx="0">
            <a:schemeClr val="accent1"/>
          </a:effectRef>
          <a:fontRef idx="minor">
            <a:schemeClr val="tx1"/>
          </a:fontRef>
        </p:style>
      </p:cxnSp>
      <p:cxnSp>
        <p:nvCxnSpPr>
          <p:cNvPr id="9" name="Straight Connector 11">
            <a:extLst>
              <a:ext uri="{FF2B5EF4-FFF2-40B4-BE49-F238E27FC236}">
                <a16:creationId xmlns:a16="http://schemas.microsoft.com/office/drawing/2014/main" id="{76E6C0D8-DE1E-4B94-88EA-1CD490D6F5E8}"/>
              </a:ext>
            </a:extLst>
          </p:cNvPr>
          <p:cNvCxnSpPr>
            <a:cxnSpLocks/>
          </p:cNvCxnSpPr>
          <p:nvPr userDrawn="1"/>
        </p:nvCxnSpPr>
        <p:spPr>
          <a:xfrm flipH="1">
            <a:off x="569625" y="961175"/>
            <a:ext cx="3051352" cy="0"/>
          </a:xfrm>
          <a:prstGeom prst="line">
            <a:avLst/>
          </a:prstGeom>
          <a:ln w="28575">
            <a:solidFill>
              <a:srgbClr val="B1503A"/>
            </a:solidFill>
          </a:ln>
        </p:spPr>
        <p:style>
          <a:lnRef idx="1">
            <a:schemeClr val="accent1"/>
          </a:lnRef>
          <a:fillRef idx="0">
            <a:schemeClr val="accent1"/>
          </a:fillRef>
          <a:effectRef idx="0">
            <a:schemeClr val="accent1"/>
          </a:effectRef>
          <a:fontRef idx="minor">
            <a:schemeClr val="tx1"/>
          </a:fontRef>
        </p:style>
      </p:cxnSp>
      <p:sp>
        <p:nvSpPr>
          <p:cNvPr id="5" name="Rectangle 3">
            <a:extLst>
              <a:ext uri="{FF2B5EF4-FFF2-40B4-BE49-F238E27FC236}">
                <a16:creationId xmlns:a16="http://schemas.microsoft.com/office/drawing/2014/main" id="{356B3C91-D364-A955-D60E-34A734AAFAA5}"/>
              </a:ext>
            </a:extLst>
          </p:cNvPr>
          <p:cNvSpPr/>
          <p:nvPr userDrawn="1"/>
        </p:nvSpPr>
        <p:spPr>
          <a:xfrm>
            <a:off x="8574374" y="0"/>
            <a:ext cx="569625" cy="5143500"/>
          </a:xfrm>
          <a:prstGeom prst="rect">
            <a:avLst/>
          </a:prstGeom>
          <a:solidFill>
            <a:srgbClr val="B1503A"/>
          </a:solidFill>
          <a:ln>
            <a:no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pic>
        <p:nvPicPr>
          <p:cNvPr id="6" name="Picture 5" descr="A black and orange logo&#10;&#10;Description automatically generated">
            <a:extLst>
              <a:ext uri="{FF2B5EF4-FFF2-40B4-BE49-F238E27FC236}">
                <a16:creationId xmlns:a16="http://schemas.microsoft.com/office/drawing/2014/main" id="{7255FDF1-DA79-0D4D-5E62-93C84C3BAE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31338" y="4689336"/>
            <a:ext cx="1315621" cy="238122"/>
          </a:xfrm>
          <a:prstGeom prst="rect">
            <a:avLst/>
          </a:prstGeom>
        </p:spPr>
      </p:pic>
      <p:cxnSp>
        <p:nvCxnSpPr>
          <p:cNvPr id="13" name="Straight Connector 11">
            <a:extLst>
              <a:ext uri="{FF2B5EF4-FFF2-40B4-BE49-F238E27FC236}">
                <a16:creationId xmlns:a16="http://schemas.microsoft.com/office/drawing/2014/main" id="{601F751F-201D-BC7A-9688-FAB7A4B41CAA}"/>
              </a:ext>
            </a:extLst>
          </p:cNvPr>
          <p:cNvCxnSpPr>
            <a:cxnSpLocks/>
          </p:cNvCxnSpPr>
          <p:nvPr userDrawn="1"/>
        </p:nvCxnSpPr>
        <p:spPr>
          <a:xfrm flipH="1">
            <a:off x="0" y="961175"/>
            <a:ext cx="6795436" cy="0"/>
          </a:xfrm>
          <a:prstGeom prst="line">
            <a:avLst/>
          </a:prstGeom>
          <a:ln w="28575">
            <a:solidFill>
              <a:srgbClr val="B44A3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7945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Picture_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69625" y="364068"/>
            <a:ext cx="7322095" cy="558800"/>
          </a:xfrm>
          <a:prstGeom prst="rect">
            <a:avLst/>
          </a:prstGeom>
        </p:spPr>
        <p:txBody>
          <a:bodyPr vert="horz" lIns="68580" tIns="34290" rIns="68580" bIns="34290" rtlCol="0" anchor="ctr">
            <a:normAutofit/>
          </a:bodyPr>
          <a:lstStyle>
            <a:lvl1pPr>
              <a:defRPr sz="3000" cap="all" baseline="0">
                <a:solidFill>
                  <a:srgbClr val="B1503A"/>
                </a:solidFill>
              </a:defRPr>
            </a:lvl1pPr>
          </a:lstStyle>
          <a:p>
            <a:r>
              <a:rPr lang="en-US" noProof="0"/>
              <a:t>TITLE OF SLIDE</a:t>
            </a:r>
          </a:p>
        </p:txBody>
      </p:sp>
      <p:cxnSp>
        <p:nvCxnSpPr>
          <p:cNvPr id="12" name="Straight Connector 11"/>
          <p:cNvCxnSpPr>
            <a:cxnSpLocks/>
          </p:cNvCxnSpPr>
          <p:nvPr/>
        </p:nvCxnSpPr>
        <p:spPr>
          <a:xfrm flipH="1">
            <a:off x="791655" y="961175"/>
            <a:ext cx="2829322" cy="0"/>
          </a:xfrm>
          <a:prstGeom prst="line">
            <a:avLst/>
          </a:prstGeom>
          <a:ln w="28575">
            <a:solidFill>
              <a:srgbClr val="218455"/>
            </a:solidFill>
          </a:ln>
        </p:spPr>
        <p:style>
          <a:lnRef idx="1">
            <a:schemeClr val="accent1"/>
          </a:lnRef>
          <a:fillRef idx="0">
            <a:schemeClr val="accent1"/>
          </a:fillRef>
          <a:effectRef idx="0">
            <a:schemeClr val="accent1"/>
          </a:effectRef>
          <a:fontRef idx="minor">
            <a:schemeClr val="tx1"/>
          </a:fontRef>
        </p:style>
      </p:cxnSp>
      <p:cxnSp>
        <p:nvCxnSpPr>
          <p:cNvPr id="9" name="Straight Connector 11">
            <a:extLst>
              <a:ext uri="{FF2B5EF4-FFF2-40B4-BE49-F238E27FC236}">
                <a16:creationId xmlns:a16="http://schemas.microsoft.com/office/drawing/2014/main" id="{76E6C0D8-DE1E-4B94-88EA-1CD490D6F5E8}"/>
              </a:ext>
            </a:extLst>
          </p:cNvPr>
          <p:cNvCxnSpPr>
            <a:cxnSpLocks/>
          </p:cNvCxnSpPr>
          <p:nvPr userDrawn="1"/>
        </p:nvCxnSpPr>
        <p:spPr>
          <a:xfrm flipH="1">
            <a:off x="569625" y="961175"/>
            <a:ext cx="3051352" cy="0"/>
          </a:xfrm>
          <a:prstGeom prst="line">
            <a:avLst/>
          </a:prstGeom>
          <a:ln w="28575">
            <a:solidFill>
              <a:srgbClr val="B1503A"/>
            </a:solidFill>
          </a:ln>
        </p:spPr>
        <p:style>
          <a:lnRef idx="1">
            <a:schemeClr val="accent1"/>
          </a:lnRef>
          <a:fillRef idx="0">
            <a:schemeClr val="accent1"/>
          </a:fillRef>
          <a:effectRef idx="0">
            <a:schemeClr val="accent1"/>
          </a:effectRef>
          <a:fontRef idx="minor">
            <a:schemeClr val="tx1"/>
          </a:fontRef>
        </p:style>
      </p:cxnSp>
      <p:sp>
        <p:nvSpPr>
          <p:cNvPr id="5" name="Rectangle 3">
            <a:extLst>
              <a:ext uri="{FF2B5EF4-FFF2-40B4-BE49-F238E27FC236}">
                <a16:creationId xmlns:a16="http://schemas.microsoft.com/office/drawing/2014/main" id="{356B3C91-D364-A955-D60E-34A734AAFAA5}"/>
              </a:ext>
            </a:extLst>
          </p:cNvPr>
          <p:cNvSpPr/>
          <p:nvPr userDrawn="1"/>
        </p:nvSpPr>
        <p:spPr>
          <a:xfrm>
            <a:off x="8574374" y="0"/>
            <a:ext cx="569625" cy="5143500"/>
          </a:xfrm>
          <a:prstGeom prst="rect">
            <a:avLst/>
          </a:prstGeom>
          <a:solidFill>
            <a:srgbClr val="B1503A"/>
          </a:solidFill>
          <a:ln>
            <a:no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pic>
        <p:nvPicPr>
          <p:cNvPr id="6" name="Picture 5" descr="A black and orange logo&#10;&#10;Description automatically generated">
            <a:extLst>
              <a:ext uri="{FF2B5EF4-FFF2-40B4-BE49-F238E27FC236}">
                <a16:creationId xmlns:a16="http://schemas.microsoft.com/office/drawing/2014/main" id="{7255FDF1-DA79-0D4D-5E62-93C84C3BAE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31338" y="4689336"/>
            <a:ext cx="1315621" cy="238122"/>
          </a:xfrm>
          <a:prstGeom prst="rect">
            <a:avLst/>
          </a:prstGeom>
        </p:spPr>
      </p:pic>
      <p:cxnSp>
        <p:nvCxnSpPr>
          <p:cNvPr id="13" name="Straight Connector 11">
            <a:extLst>
              <a:ext uri="{FF2B5EF4-FFF2-40B4-BE49-F238E27FC236}">
                <a16:creationId xmlns:a16="http://schemas.microsoft.com/office/drawing/2014/main" id="{601F751F-201D-BC7A-9688-FAB7A4B41CAA}"/>
              </a:ext>
            </a:extLst>
          </p:cNvPr>
          <p:cNvCxnSpPr>
            <a:cxnSpLocks/>
          </p:cNvCxnSpPr>
          <p:nvPr userDrawn="1"/>
        </p:nvCxnSpPr>
        <p:spPr>
          <a:xfrm flipH="1">
            <a:off x="832954" y="961175"/>
            <a:ext cx="7741420" cy="0"/>
          </a:xfrm>
          <a:prstGeom prst="line">
            <a:avLst/>
          </a:prstGeom>
          <a:ln w="28575">
            <a:solidFill>
              <a:srgbClr val="B44A3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98408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Custom Layout_chapter-title">
    <p:spTree>
      <p:nvGrpSpPr>
        <p:cNvPr id="1" name=""/>
        <p:cNvGrpSpPr/>
        <p:nvPr/>
      </p:nvGrpSpPr>
      <p:grpSpPr>
        <a:xfrm>
          <a:off x="0" y="0"/>
          <a:ext cx="0" cy="0"/>
          <a:chOff x="0" y="0"/>
          <a:chExt cx="0" cy="0"/>
        </a:xfrm>
      </p:grpSpPr>
      <p:sp>
        <p:nvSpPr>
          <p:cNvPr id="3" name="Rectangle 2"/>
          <p:cNvSpPr/>
          <p:nvPr userDrawn="1"/>
        </p:nvSpPr>
        <p:spPr>
          <a:xfrm>
            <a:off x="-33358" y="4954988"/>
            <a:ext cx="266740" cy="192360"/>
          </a:xfrm>
          <a:prstGeom prst="rect">
            <a:avLst/>
          </a:prstGeom>
        </p:spPr>
        <p:txBody>
          <a:bodyPr wrap="none" lIns="68580" tIns="34290" rIns="68580" bIns="34290" anchor="ctr">
            <a:spAutoFit/>
          </a:bodyPr>
          <a:lstStyle/>
          <a:p>
            <a:pPr algn="ctr"/>
            <a:fld id="{5F67ED02-2E89-4859-A55B-01E9D03E868A}" type="slidenum">
              <a:rPr lang="en-US" sz="800" b="1" smtClean="0">
                <a:solidFill>
                  <a:schemeClr val="tx1"/>
                </a:solidFill>
              </a:rPr>
              <a:pPr algn="ctr"/>
              <a:t>‹#›</a:t>
            </a:fld>
            <a:endParaRPr lang="en-US" sz="800" b="1">
              <a:solidFill>
                <a:schemeClr val="tx1"/>
              </a:solidFill>
            </a:endParaRPr>
          </a:p>
        </p:txBody>
      </p:sp>
      <p:sp>
        <p:nvSpPr>
          <p:cNvPr id="4" name="Rectangle 3"/>
          <p:cNvSpPr/>
          <p:nvPr userDrawn="1"/>
        </p:nvSpPr>
        <p:spPr>
          <a:xfrm>
            <a:off x="0" y="0"/>
            <a:ext cx="9144000" cy="5143500"/>
          </a:xfrm>
          <a:prstGeom prst="rect">
            <a:avLst/>
          </a:prstGeom>
          <a:solidFill>
            <a:srgbClr val="B1503A"/>
          </a:solidFill>
          <a:ln>
            <a:no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cxnSp>
        <p:nvCxnSpPr>
          <p:cNvPr id="5" name="Straight Connector 4"/>
          <p:cNvCxnSpPr/>
          <p:nvPr userDrawn="1"/>
        </p:nvCxnSpPr>
        <p:spPr>
          <a:xfrm>
            <a:off x="2528890" y="3046875"/>
            <a:ext cx="408622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itle Placeholder 1"/>
          <p:cNvSpPr>
            <a:spLocks noGrp="1"/>
          </p:cNvSpPr>
          <p:nvPr>
            <p:ph type="title" hasCustomPrompt="1"/>
          </p:nvPr>
        </p:nvSpPr>
        <p:spPr>
          <a:xfrm>
            <a:off x="626178" y="1491236"/>
            <a:ext cx="7886700" cy="1359208"/>
          </a:xfrm>
          <a:prstGeom prst="rect">
            <a:avLst/>
          </a:prstGeom>
        </p:spPr>
        <p:txBody>
          <a:bodyPr vert="horz" lIns="68580" tIns="34290" rIns="68580" bIns="34290" rtlCol="0" anchor="ctr">
            <a:normAutofit/>
          </a:bodyPr>
          <a:lstStyle>
            <a:lvl1pPr algn="ctr">
              <a:defRPr sz="3000" b="1" i="0" cap="all" baseline="0">
                <a:solidFill>
                  <a:schemeClr val="bg1"/>
                </a:solidFill>
                <a:latin typeface="AvenirNext LT Pro Bold" panose="020B0504020202020204" pitchFamily="34" charset="77"/>
                <a:cs typeface="AvenirNext LT Pro Bold" panose="020B0504020202020204" pitchFamily="34" charset="77"/>
              </a:defRPr>
            </a:lvl1pPr>
          </a:lstStyle>
          <a:p>
            <a:r>
              <a:rPr lang="en-US" noProof="0"/>
              <a:t>01. CLICK TO EDIT</a:t>
            </a:r>
          </a:p>
        </p:txBody>
      </p:sp>
    </p:spTree>
    <p:extLst>
      <p:ext uri="{BB962C8B-B14F-4D97-AF65-F5344CB8AC3E}">
        <p14:creationId xmlns:p14="http://schemas.microsoft.com/office/powerpoint/2010/main" val="2234759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nal_Slide">
    <p:spTree>
      <p:nvGrpSpPr>
        <p:cNvPr id="1" name=""/>
        <p:cNvGrpSpPr/>
        <p:nvPr/>
      </p:nvGrpSpPr>
      <p:grpSpPr>
        <a:xfrm>
          <a:off x="0" y="0"/>
          <a:ext cx="0" cy="0"/>
          <a:chOff x="0" y="0"/>
          <a:chExt cx="0" cy="0"/>
        </a:xfrm>
      </p:grpSpPr>
      <p:sp>
        <p:nvSpPr>
          <p:cNvPr id="15" name="Rectangle 3"/>
          <p:cNvSpPr/>
          <p:nvPr userDrawn="1"/>
        </p:nvSpPr>
        <p:spPr>
          <a:xfrm>
            <a:off x="0" y="3726533"/>
            <a:ext cx="9144000" cy="1416967"/>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cxnSp>
        <p:nvCxnSpPr>
          <p:cNvPr id="5" name="Straight Connector 5"/>
          <p:cNvCxnSpPr/>
          <p:nvPr/>
        </p:nvCxnSpPr>
        <p:spPr>
          <a:xfrm>
            <a:off x="4221952" y="841817"/>
            <a:ext cx="0" cy="2160917"/>
          </a:xfrm>
          <a:prstGeom prst="line">
            <a:avLst/>
          </a:prstGeom>
          <a:ln w="28575">
            <a:solidFill>
              <a:srgbClr val="218455"/>
            </a:solidFill>
          </a:ln>
        </p:spPr>
        <p:style>
          <a:lnRef idx="1">
            <a:schemeClr val="accent1"/>
          </a:lnRef>
          <a:fillRef idx="0">
            <a:schemeClr val="accent1"/>
          </a:fillRef>
          <a:effectRef idx="0">
            <a:schemeClr val="accent1"/>
          </a:effectRef>
          <a:fontRef idx="minor">
            <a:schemeClr val="tx1"/>
          </a:fontRef>
        </p:style>
      </p:cxnSp>
      <p:grpSp>
        <p:nvGrpSpPr>
          <p:cNvPr id="18" name="Group 3">
            <a:extLst>
              <a:ext uri="{FF2B5EF4-FFF2-40B4-BE49-F238E27FC236}">
                <a16:creationId xmlns:a16="http://schemas.microsoft.com/office/drawing/2014/main" id="{B1D051E3-5490-4484-8E5B-D2102512581E}"/>
              </a:ext>
            </a:extLst>
          </p:cNvPr>
          <p:cNvGrpSpPr/>
          <p:nvPr userDrawn="1"/>
        </p:nvGrpSpPr>
        <p:grpSpPr>
          <a:xfrm>
            <a:off x="1365211" y="841817"/>
            <a:ext cx="2856741" cy="2160917"/>
            <a:chOff x="2005216" y="2005640"/>
            <a:chExt cx="3808988" cy="2881223"/>
          </a:xfrm>
        </p:grpSpPr>
        <p:sp>
          <p:nvSpPr>
            <p:cNvPr id="20" name="TextBox 4">
              <a:extLst>
                <a:ext uri="{FF2B5EF4-FFF2-40B4-BE49-F238E27FC236}">
                  <a16:creationId xmlns:a16="http://schemas.microsoft.com/office/drawing/2014/main" id="{E5DDDAB8-41DD-4553-A95E-3741C50A281A}"/>
                </a:ext>
              </a:extLst>
            </p:cNvPr>
            <p:cNvSpPr txBox="1"/>
            <p:nvPr/>
          </p:nvSpPr>
          <p:spPr>
            <a:xfrm>
              <a:off x="2005216" y="2707585"/>
              <a:ext cx="2821927" cy="1477328"/>
            </a:xfrm>
            <a:prstGeom prst="rect">
              <a:avLst/>
            </a:prstGeom>
            <a:noFill/>
          </p:spPr>
          <p:txBody>
            <a:bodyPr wrap="square" rtlCol="0" anchor="ctr">
              <a:spAutoFit/>
            </a:bodyPr>
            <a:lstStyle/>
            <a:p>
              <a:pPr algn="r"/>
              <a:r>
                <a:rPr lang="en-US" sz="3300" b="1" i="0">
                  <a:solidFill>
                    <a:schemeClr val="accent4"/>
                  </a:solidFill>
                  <a:latin typeface="AvenirNext LT Pro Bold" panose="020B0504020202020204" pitchFamily="34" charset="77"/>
                  <a:cs typeface="Avenir Next Bold"/>
                </a:rPr>
                <a:t>THANK YOU </a:t>
              </a:r>
            </a:p>
          </p:txBody>
        </p:sp>
        <p:cxnSp>
          <p:nvCxnSpPr>
            <p:cNvPr id="22" name="Straight Connector 5">
              <a:extLst>
                <a:ext uri="{FF2B5EF4-FFF2-40B4-BE49-F238E27FC236}">
                  <a16:creationId xmlns:a16="http://schemas.microsoft.com/office/drawing/2014/main" id="{C626E7A8-09FC-4049-BAE0-7E3651E1970C}"/>
                </a:ext>
              </a:extLst>
            </p:cNvPr>
            <p:cNvCxnSpPr/>
            <p:nvPr/>
          </p:nvCxnSpPr>
          <p:spPr>
            <a:xfrm>
              <a:off x="5814204" y="2005640"/>
              <a:ext cx="0" cy="288122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pic>
        <p:nvPicPr>
          <p:cNvPr id="29" name="Picture 1">
            <a:extLst>
              <a:ext uri="{FF2B5EF4-FFF2-40B4-BE49-F238E27FC236}">
                <a16:creationId xmlns:a16="http://schemas.microsoft.com/office/drawing/2014/main" id="{52A35B82-603A-44D4-9A19-CBEE239463E6}"/>
              </a:ext>
            </a:extLst>
          </p:cNvPr>
          <p:cNvPicPr>
            <a:picLocks noChangeAspect="1"/>
          </p:cNvPicPr>
          <p:nvPr userDrawn="1"/>
        </p:nvPicPr>
        <p:blipFill>
          <a:blip r:embed="rId2">
            <a:extLst>
              <a:ext uri="{28A0092B-C50C-407E-A947-70E740481C1C}">
                <a14:useLocalDpi xmlns:a14="http://schemas.microsoft.com/office/drawing/2010/main" val="0"/>
              </a:ext>
            </a:extLst>
          </a:blip>
          <a:srcRect t="1317" b="1317"/>
          <a:stretch/>
        </p:blipFill>
        <p:spPr>
          <a:xfrm>
            <a:off x="5539440" y="1640231"/>
            <a:ext cx="1738026" cy="564087"/>
          </a:xfrm>
          <a:prstGeom prst="rect">
            <a:avLst/>
          </a:prstGeom>
        </p:spPr>
      </p:pic>
      <p:pic>
        <p:nvPicPr>
          <p:cNvPr id="6" name="Afbeelding 16">
            <a:extLst>
              <a:ext uri="{FF2B5EF4-FFF2-40B4-BE49-F238E27FC236}">
                <a16:creationId xmlns:a16="http://schemas.microsoft.com/office/drawing/2014/main" id="{C6DA88FF-0F90-641E-3EDC-28747CE8936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855220" y="4522845"/>
            <a:ext cx="360000" cy="360000"/>
          </a:xfrm>
          <a:prstGeom prst="rect">
            <a:avLst/>
          </a:prstGeom>
        </p:spPr>
      </p:pic>
      <p:pic>
        <p:nvPicPr>
          <p:cNvPr id="7" name="Afbeelding 18" descr="Mail-wit.png">
            <a:extLst>
              <a:ext uri="{FF2B5EF4-FFF2-40B4-BE49-F238E27FC236}">
                <a16:creationId xmlns:a16="http://schemas.microsoft.com/office/drawing/2014/main" id="{EF7DC206-930C-7EC6-CD8C-D77ED976169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627304" y="3976357"/>
            <a:ext cx="360000" cy="360000"/>
          </a:xfrm>
          <a:prstGeom prst="rect">
            <a:avLst/>
          </a:prstGeom>
        </p:spPr>
      </p:pic>
      <p:pic>
        <p:nvPicPr>
          <p:cNvPr id="8" name="Afbeelding 20">
            <a:extLst>
              <a:ext uri="{FF2B5EF4-FFF2-40B4-BE49-F238E27FC236}">
                <a16:creationId xmlns:a16="http://schemas.microsoft.com/office/drawing/2014/main" id="{CAF77AF5-9EAB-1655-27EA-11D56C74B52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4627304" y="4512435"/>
            <a:ext cx="360000" cy="360000"/>
          </a:xfrm>
          <a:prstGeom prst="ellipse">
            <a:avLst/>
          </a:prstGeom>
        </p:spPr>
      </p:pic>
      <p:pic>
        <p:nvPicPr>
          <p:cNvPr id="9" name="Afbeelding 22">
            <a:extLst>
              <a:ext uri="{FF2B5EF4-FFF2-40B4-BE49-F238E27FC236}">
                <a16:creationId xmlns:a16="http://schemas.microsoft.com/office/drawing/2014/main" id="{329B792D-A8A2-4C04-405D-55E08995AE6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857755" y="3978891"/>
            <a:ext cx="354929" cy="354929"/>
          </a:xfrm>
          <a:prstGeom prst="ellipse">
            <a:avLst/>
          </a:prstGeom>
        </p:spPr>
      </p:pic>
      <p:pic>
        <p:nvPicPr>
          <p:cNvPr id="11" name="Afbeelding 25">
            <a:extLst>
              <a:ext uri="{FF2B5EF4-FFF2-40B4-BE49-F238E27FC236}">
                <a16:creationId xmlns:a16="http://schemas.microsoft.com/office/drawing/2014/main" id="{6DA3E67F-8490-4D36-3554-9C0373F33C36}"/>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4627304" y="4000701"/>
            <a:ext cx="360000" cy="352871"/>
          </a:xfrm>
          <a:prstGeom prst="rect">
            <a:avLst/>
          </a:prstGeom>
        </p:spPr>
      </p:pic>
      <p:sp>
        <p:nvSpPr>
          <p:cNvPr id="14" name="TextBox 13">
            <a:extLst>
              <a:ext uri="{FF2B5EF4-FFF2-40B4-BE49-F238E27FC236}">
                <a16:creationId xmlns:a16="http://schemas.microsoft.com/office/drawing/2014/main" id="{B245A8B3-73CF-8C79-8DFD-FBBB115C3143}"/>
              </a:ext>
            </a:extLst>
          </p:cNvPr>
          <p:cNvSpPr txBox="1"/>
          <p:nvPr userDrawn="1"/>
        </p:nvSpPr>
        <p:spPr>
          <a:xfrm>
            <a:off x="2323767" y="3965965"/>
            <a:ext cx="2130537" cy="380781"/>
          </a:xfrm>
          <a:prstGeom prst="rect">
            <a:avLst/>
          </a:prstGeom>
        </p:spPr>
        <p:txBody>
          <a:bodyPr vert="horz" wrap="square" lIns="68580" tIns="34290" rIns="68580" bIns="34290" rtlCol="0" anchor="ctr">
            <a:noAutofit/>
          </a:bodyPr>
          <a:lstStyle/>
          <a:p>
            <a:pPr algn="l"/>
            <a:r>
              <a:rPr lang="en-US" sz="1800" b="0">
                <a:solidFill>
                  <a:schemeClr val="bg1"/>
                </a:solidFill>
                <a:latin typeface="Open Sans" panose="020B0606030504020204" pitchFamily="34" charset="0"/>
                <a:ea typeface="Open Sans" panose="020B0606030504020204" pitchFamily="34" charset="0"/>
                <a:cs typeface="Open Sans" panose="020B0606030504020204" pitchFamily="34" charset="0"/>
              </a:rPr>
              <a:t>@FoundationFSSC</a:t>
            </a:r>
          </a:p>
        </p:txBody>
      </p:sp>
      <p:sp>
        <p:nvSpPr>
          <p:cNvPr id="16" name="TextBox 15">
            <a:extLst>
              <a:ext uri="{FF2B5EF4-FFF2-40B4-BE49-F238E27FC236}">
                <a16:creationId xmlns:a16="http://schemas.microsoft.com/office/drawing/2014/main" id="{455A050A-8044-2C36-E0F2-C9FEFE82E1B7}"/>
              </a:ext>
            </a:extLst>
          </p:cNvPr>
          <p:cNvSpPr txBox="1"/>
          <p:nvPr userDrawn="1"/>
        </p:nvSpPr>
        <p:spPr>
          <a:xfrm>
            <a:off x="2323768" y="4525441"/>
            <a:ext cx="2130537" cy="380781"/>
          </a:xfrm>
          <a:prstGeom prst="rect">
            <a:avLst/>
          </a:prstGeom>
        </p:spPr>
        <p:txBody>
          <a:bodyPr vert="horz" wrap="square" lIns="68580" tIns="34290" rIns="68580" bIns="34290" rtlCol="0" anchor="ctr">
            <a:noAutofit/>
          </a:bodyPr>
          <a:lstStyle/>
          <a:p>
            <a:pPr algn="l"/>
            <a:r>
              <a:rPr lang="en-US" sz="1800" b="0">
                <a:solidFill>
                  <a:schemeClr val="bg1"/>
                </a:solidFill>
                <a:latin typeface="Open Sans" panose="020B0606030504020204" pitchFamily="34" charset="0"/>
                <a:ea typeface="Open Sans" panose="020B0606030504020204" pitchFamily="34" charset="0"/>
                <a:cs typeface="Open Sans" panose="020B0606030504020204" pitchFamily="34" charset="0"/>
              </a:rPr>
              <a:t>Foundation FSSC</a:t>
            </a:r>
          </a:p>
        </p:txBody>
      </p:sp>
      <p:sp>
        <p:nvSpPr>
          <p:cNvPr id="24" name="TextBox 23">
            <a:extLst>
              <a:ext uri="{FF2B5EF4-FFF2-40B4-BE49-F238E27FC236}">
                <a16:creationId xmlns:a16="http://schemas.microsoft.com/office/drawing/2014/main" id="{A89B4BBF-D4CB-E2A0-1B26-4985B7A101BF}"/>
              </a:ext>
            </a:extLst>
          </p:cNvPr>
          <p:cNvSpPr txBox="1"/>
          <p:nvPr userDrawn="1"/>
        </p:nvSpPr>
        <p:spPr>
          <a:xfrm>
            <a:off x="5096048" y="4512435"/>
            <a:ext cx="2624811" cy="380781"/>
          </a:xfrm>
          <a:prstGeom prst="rect">
            <a:avLst/>
          </a:prstGeom>
        </p:spPr>
        <p:txBody>
          <a:bodyPr vert="horz" wrap="square" lIns="68580" tIns="34290" rIns="68580" bIns="34290" rtlCol="0" anchor="ctr">
            <a:noAutofit/>
          </a:bodyPr>
          <a:lstStyle/>
          <a:p>
            <a:pPr algn="l"/>
            <a:r>
              <a:rPr lang="en-US" sz="1800" b="0">
                <a:solidFill>
                  <a:schemeClr val="bg1"/>
                </a:solidFill>
                <a:latin typeface="Open Sans" panose="020B0606030504020204" pitchFamily="34" charset="0"/>
                <a:ea typeface="Open Sans" panose="020B0606030504020204" pitchFamily="34" charset="0"/>
                <a:cs typeface="Open Sans" panose="020B0606030504020204" pitchFamily="34" charset="0"/>
              </a:rPr>
              <a:t>www.fssc.com</a:t>
            </a:r>
          </a:p>
        </p:txBody>
      </p:sp>
      <p:sp>
        <p:nvSpPr>
          <p:cNvPr id="30" name="TextBox 29">
            <a:extLst>
              <a:ext uri="{FF2B5EF4-FFF2-40B4-BE49-F238E27FC236}">
                <a16:creationId xmlns:a16="http://schemas.microsoft.com/office/drawing/2014/main" id="{5F9D33A1-BEC4-6155-35D0-FC51C2F07D89}"/>
              </a:ext>
            </a:extLst>
          </p:cNvPr>
          <p:cNvSpPr txBox="1"/>
          <p:nvPr userDrawn="1"/>
        </p:nvSpPr>
        <p:spPr>
          <a:xfrm>
            <a:off x="5098959" y="3976356"/>
            <a:ext cx="2492012" cy="380781"/>
          </a:xfrm>
          <a:prstGeom prst="rect">
            <a:avLst/>
          </a:prstGeom>
        </p:spPr>
        <p:txBody>
          <a:bodyPr vert="horz" wrap="square" lIns="68580" tIns="34290" rIns="68580" bIns="34290" rtlCol="0" anchor="ctr">
            <a:noAutofit/>
          </a:bodyPr>
          <a:lstStyle/>
          <a:p>
            <a:pPr algn="l"/>
            <a:r>
              <a:rPr lang="en-US" sz="1800" b="0">
                <a:solidFill>
                  <a:schemeClr val="bg1"/>
                </a:solidFill>
                <a:latin typeface="Open Sans" panose="020B0606030504020204" pitchFamily="34" charset="0"/>
                <a:ea typeface="Open Sans" panose="020B0606030504020204" pitchFamily="34" charset="0"/>
                <a:cs typeface="Open Sans" panose="020B0606030504020204" pitchFamily="34" charset="0"/>
              </a:rPr>
              <a:t>questions@fssc.com</a:t>
            </a:r>
          </a:p>
        </p:txBody>
      </p:sp>
      <p:sp>
        <p:nvSpPr>
          <p:cNvPr id="2" name="TextBox 1">
            <a:extLst>
              <a:ext uri="{FF2B5EF4-FFF2-40B4-BE49-F238E27FC236}">
                <a16:creationId xmlns:a16="http://schemas.microsoft.com/office/drawing/2014/main" id="{343F81BE-A057-018A-50E6-7CFA98E391E8}"/>
              </a:ext>
            </a:extLst>
          </p:cNvPr>
          <p:cNvSpPr txBox="1"/>
          <p:nvPr userDrawn="1"/>
        </p:nvSpPr>
        <p:spPr>
          <a:xfrm>
            <a:off x="6516130" y="3097427"/>
            <a:ext cx="0" cy="0"/>
          </a:xfrm>
          <a:prstGeom prst="rect">
            <a:avLst/>
          </a:prstGeom>
        </p:spPr>
        <p:txBody>
          <a:bodyPr vert="horz" wrap="none" lIns="68580" tIns="34290" rIns="68580" bIns="34290" rtlCol="0" anchor="ctr">
            <a:normAutofit fontScale="25000" lnSpcReduction="20000"/>
          </a:bodyPr>
          <a:lstStyle/>
          <a:p>
            <a:pPr algn="l"/>
            <a:endParaRPr lang="en-NL" sz="1500" b="1">
              <a:solidFill>
                <a:srgbClr val="EDAE00"/>
              </a:solidFill>
              <a:latin typeface="Avenir Next Bold"/>
              <a:cs typeface="Avenir Next Bold"/>
            </a:endParaRPr>
          </a:p>
        </p:txBody>
      </p:sp>
    </p:spTree>
    <p:extLst>
      <p:ext uri="{BB962C8B-B14F-4D97-AF65-F5344CB8AC3E}">
        <p14:creationId xmlns:p14="http://schemas.microsoft.com/office/powerpoint/2010/main" val="11627797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59" name="Tijdelijke aanduiding voor afbeelding 58">
            <a:extLst>
              <a:ext uri="{FF2B5EF4-FFF2-40B4-BE49-F238E27FC236}">
                <a16:creationId xmlns:a16="http://schemas.microsoft.com/office/drawing/2014/main" id="{B11E907E-30C1-4089-9D3D-CD0B9FC675E5}"/>
              </a:ext>
            </a:extLst>
          </p:cNvPr>
          <p:cNvSpPr>
            <a:spLocks noGrp="1"/>
          </p:cNvSpPr>
          <p:nvPr>
            <p:ph type="pic" sz="quarter" idx="14" hasCustomPrompt="1"/>
          </p:nvPr>
        </p:nvSpPr>
        <p:spPr>
          <a:xfrm>
            <a:off x="-4032" y="0"/>
            <a:ext cx="9152063" cy="5143500"/>
          </a:xfrm>
          <a:custGeom>
            <a:avLst/>
            <a:gdLst>
              <a:gd name="connsiteX0" fmla="*/ 0 w 12202750"/>
              <a:gd name="connsiteY0" fmla="*/ 6392677 h 6858000"/>
              <a:gd name="connsiteX1" fmla="*/ 5375 w 12202750"/>
              <a:gd name="connsiteY1" fmla="*/ 6854032 h 6858000"/>
              <a:gd name="connsiteX2" fmla="*/ 12199756 w 12202750"/>
              <a:gd name="connsiteY2" fmla="*/ 6858000 h 6858000"/>
              <a:gd name="connsiteX3" fmla="*/ 0 w 12202750"/>
              <a:gd name="connsiteY3" fmla="*/ 6858000 h 6858000"/>
              <a:gd name="connsiteX4" fmla="*/ 0 w 12202750"/>
              <a:gd name="connsiteY4" fmla="*/ 0 h 6858000"/>
              <a:gd name="connsiteX5" fmla="*/ 12202750 w 12202750"/>
              <a:gd name="connsiteY5" fmla="*/ 0 h 6858000"/>
              <a:gd name="connsiteX6" fmla="*/ 12202750 w 12202750"/>
              <a:gd name="connsiteY6" fmla="*/ 6858000 h 6858000"/>
              <a:gd name="connsiteX7" fmla="*/ 12199756 w 12202750"/>
              <a:gd name="connsiteY7" fmla="*/ 6858000 h 6858000"/>
              <a:gd name="connsiteX8" fmla="*/ 12197376 w 12202750"/>
              <a:gd name="connsiteY8" fmla="*/ 6022181 h 6858000"/>
              <a:gd name="connsiteX9" fmla="*/ 4901227 w 12202750"/>
              <a:gd name="connsiteY9" fmla="*/ 6003131 h 6858000"/>
              <a:gd name="connsiteX10" fmla="*/ 4640877 w 12202750"/>
              <a:gd name="connsiteY10" fmla="*/ 5984081 h 6858000"/>
              <a:gd name="connsiteX11" fmla="*/ 4307502 w 12202750"/>
              <a:gd name="connsiteY11" fmla="*/ 5920581 h 6858000"/>
              <a:gd name="connsiteX12" fmla="*/ 4069378 w 12202750"/>
              <a:gd name="connsiteY12" fmla="*/ 5936455 h 6858000"/>
              <a:gd name="connsiteX13" fmla="*/ 2967653 w 12202750"/>
              <a:gd name="connsiteY13" fmla="*/ 6146005 h 6858000"/>
              <a:gd name="connsiteX14" fmla="*/ 1608753 w 12202750"/>
              <a:gd name="connsiteY14" fmla="*/ 6038055 h 6858000"/>
              <a:gd name="connsiteX15" fmla="*/ 1354753 w 12202750"/>
              <a:gd name="connsiteY15" fmla="*/ 6038055 h 6858000"/>
              <a:gd name="connsiteX16" fmla="*/ 783253 w 12202750"/>
              <a:gd name="connsiteY16" fmla="*/ 6034880 h 6858000"/>
              <a:gd name="connsiteX17" fmla="*/ 262553 w 12202750"/>
              <a:gd name="connsiteY17" fmla="*/ 6034880 h 6858000"/>
              <a:gd name="connsiteX18" fmla="*/ 0 w 12202750"/>
              <a:gd name="connsiteY18" fmla="*/ 60287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02750" h="6858000">
                <a:moveTo>
                  <a:pt x="0" y="6392677"/>
                </a:moveTo>
                <a:lnTo>
                  <a:pt x="5375" y="6854032"/>
                </a:lnTo>
                <a:lnTo>
                  <a:pt x="12199756" y="6858000"/>
                </a:lnTo>
                <a:lnTo>
                  <a:pt x="0" y="6858000"/>
                </a:lnTo>
                <a:close/>
                <a:moveTo>
                  <a:pt x="0" y="0"/>
                </a:moveTo>
                <a:lnTo>
                  <a:pt x="12202750" y="0"/>
                </a:lnTo>
                <a:lnTo>
                  <a:pt x="12202750" y="6858000"/>
                </a:lnTo>
                <a:lnTo>
                  <a:pt x="12199756" y="6858000"/>
                </a:lnTo>
                <a:cubicBezTo>
                  <a:pt x="12198963" y="6579394"/>
                  <a:pt x="12198169" y="6300787"/>
                  <a:pt x="12197376" y="6022181"/>
                </a:cubicBezTo>
                <a:cubicBezTo>
                  <a:pt x="12198699" y="6021520"/>
                  <a:pt x="4943560" y="6006835"/>
                  <a:pt x="4901227" y="6003131"/>
                </a:cubicBezTo>
                <a:cubicBezTo>
                  <a:pt x="4900566" y="6003792"/>
                  <a:pt x="4696970" y="5994135"/>
                  <a:pt x="4640877" y="5984081"/>
                </a:cubicBezTo>
                <a:cubicBezTo>
                  <a:pt x="4639554" y="5983420"/>
                  <a:pt x="4348248" y="5918465"/>
                  <a:pt x="4307502" y="5920581"/>
                </a:cubicBezTo>
                <a:cubicBezTo>
                  <a:pt x="4308164" y="5919919"/>
                  <a:pt x="4252470" y="5902059"/>
                  <a:pt x="4069378" y="5936455"/>
                </a:cubicBezTo>
                <a:cubicBezTo>
                  <a:pt x="4071362" y="5937778"/>
                  <a:pt x="3026390" y="6143888"/>
                  <a:pt x="2967653" y="6146005"/>
                </a:cubicBezTo>
                <a:cubicBezTo>
                  <a:pt x="2171786" y="6205272"/>
                  <a:pt x="2061720" y="6074038"/>
                  <a:pt x="1608753" y="6038055"/>
                </a:cubicBezTo>
                <a:lnTo>
                  <a:pt x="1354753" y="6038055"/>
                </a:lnTo>
                <a:lnTo>
                  <a:pt x="783253" y="6034880"/>
                </a:lnTo>
                <a:lnTo>
                  <a:pt x="262553" y="6034880"/>
                </a:lnTo>
                <a:lnTo>
                  <a:pt x="0" y="6028703"/>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125" i="1">
                <a:solidFill>
                  <a:schemeClr val="tx1">
                    <a:lumMod val="50000"/>
                    <a:lumOff val="50000"/>
                  </a:schemeClr>
                </a:solidFill>
              </a:defRPr>
            </a:lvl1pPr>
          </a:lstStyle>
          <a:p>
            <a:r>
              <a:rPr lang="en-US"/>
              <a:t>Click the icon below </a:t>
            </a:r>
            <a:br>
              <a:rPr lang="en-US"/>
            </a:br>
            <a:r>
              <a:rPr lang="en-US"/>
              <a:t>to add an image.</a:t>
            </a:r>
          </a:p>
        </p:txBody>
      </p:sp>
      <p:sp>
        <p:nvSpPr>
          <p:cNvPr id="5" name="Tekstvak 4"/>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Title</a:t>
            </a:r>
          </a:p>
        </p:txBody>
      </p:sp>
      <p:sp>
        <p:nvSpPr>
          <p:cNvPr id="70" name="Tijdelijke aanduiding voor tekst 69">
            <a:extLst>
              <a:ext uri="{FF2B5EF4-FFF2-40B4-BE49-F238E27FC236}">
                <a16:creationId xmlns:a16="http://schemas.microsoft.com/office/drawing/2014/main" id="{826A342F-9B6E-4C5B-992F-36BF4B89B991}"/>
              </a:ext>
            </a:extLst>
          </p:cNvPr>
          <p:cNvSpPr>
            <a:spLocks noGrp="1"/>
          </p:cNvSpPr>
          <p:nvPr>
            <p:ph type="body" sz="quarter" idx="16" hasCustomPrompt="1"/>
          </p:nvPr>
        </p:nvSpPr>
        <p:spPr>
          <a:xfrm>
            <a:off x="514350" y="864394"/>
            <a:ext cx="3159919" cy="2593181"/>
          </a:xfrm>
          <a:solidFill>
            <a:schemeClr val="bg1"/>
          </a:solidFill>
        </p:spPr>
        <p:txBody>
          <a:bodyPr/>
          <a:lstStyle>
            <a:lvl1pPr marL="0" indent="0">
              <a:buNone/>
              <a:defRPr sz="100">
                <a:solidFill>
                  <a:schemeClr val="bg1"/>
                </a:solidFill>
              </a:defRPr>
            </a:lvl1pPr>
          </a:lstStyle>
          <a:p>
            <a:pPr lvl="0"/>
            <a:r>
              <a:rPr lang="en-US"/>
              <a:t>    </a:t>
            </a:r>
          </a:p>
        </p:txBody>
      </p:sp>
      <p:sp>
        <p:nvSpPr>
          <p:cNvPr id="71" name="Titel 38">
            <a:extLst>
              <a:ext uri="{FF2B5EF4-FFF2-40B4-BE49-F238E27FC236}">
                <a16:creationId xmlns:a16="http://schemas.microsoft.com/office/drawing/2014/main" id="{D119EBE8-BF64-433A-BBE4-A0C1E99CC074}"/>
              </a:ext>
            </a:extLst>
          </p:cNvPr>
          <p:cNvSpPr>
            <a:spLocks noGrp="1"/>
          </p:cNvSpPr>
          <p:nvPr>
            <p:ph type="title" hasCustomPrompt="1"/>
          </p:nvPr>
        </p:nvSpPr>
        <p:spPr>
          <a:xfrm>
            <a:off x="732515" y="1018615"/>
            <a:ext cx="2723590" cy="1597028"/>
          </a:xfrm>
        </p:spPr>
        <p:txBody>
          <a:bodyPr anchor="b"/>
          <a:lstStyle>
            <a:lvl1pPr algn="l">
              <a:defRPr sz="3300" b="1">
                <a:solidFill>
                  <a:schemeClr val="tx2"/>
                </a:solidFill>
              </a:defRPr>
            </a:lvl1pPr>
          </a:lstStyle>
          <a:p>
            <a:r>
              <a:rPr lang="en-US" noProof="0"/>
              <a:t>Insert presentation title here</a:t>
            </a:r>
            <a:endParaRPr lang="en-US"/>
          </a:p>
        </p:txBody>
      </p:sp>
      <p:sp>
        <p:nvSpPr>
          <p:cNvPr id="73" name="Tijdelijke aanduiding voor datum 3">
            <a:extLst>
              <a:ext uri="{FF2B5EF4-FFF2-40B4-BE49-F238E27FC236}">
                <a16:creationId xmlns:a16="http://schemas.microsoft.com/office/drawing/2014/main" id="{77D4D340-7F9F-434E-A43A-235E7CDE3D9C}"/>
              </a:ext>
            </a:extLst>
          </p:cNvPr>
          <p:cNvSpPr>
            <a:spLocks noGrp="1"/>
          </p:cNvSpPr>
          <p:nvPr>
            <p:ph type="dt" sz="half" idx="2"/>
          </p:nvPr>
        </p:nvSpPr>
        <p:spPr>
          <a:xfrm>
            <a:off x="732515" y="2986203"/>
            <a:ext cx="2057400" cy="273844"/>
          </a:xfrm>
          <a:prstGeom prst="rect">
            <a:avLst/>
          </a:prstGeom>
        </p:spPr>
        <p:txBody>
          <a:bodyPr vert="horz" lIns="0" tIns="45720" rIns="91440" bIns="45720" rtlCol="0" anchor="ctr"/>
          <a:lstStyle>
            <a:lvl1pPr algn="l">
              <a:defRPr sz="900">
                <a:solidFill>
                  <a:schemeClr val="tx2"/>
                </a:solidFill>
              </a:defRPr>
            </a:lvl1pPr>
          </a:lstStyle>
          <a:p>
            <a:endParaRPr lang="en-US"/>
          </a:p>
        </p:txBody>
      </p:sp>
      <p:sp>
        <p:nvSpPr>
          <p:cNvPr id="74" name="Tijdelijke aanduiding voor verticale tekst 2">
            <a:extLst>
              <a:ext uri="{FF2B5EF4-FFF2-40B4-BE49-F238E27FC236}">
                <a16:creationId xmlns:a16="http://schemas.microsoft.com/office/drawing/2014/main" id="{ACC389B2-E498-4EEB-A10B-E054BB090852}"/>
              </a:ext>
            </a:extLst>
          </p:cNvPr>
          <p:cNvSpPr>
            <a:spLocks noGrp="1"/>
          </p:cNvSpPr>
          <p:nvPr>
            <p:ph type="body" orient="vert" idx="1" hasCustomPrompt="1"/>
          </p:nvPr>
        </p:nvSpPr>
        <p:spPr>
          <a:xfrm>
            <a:off x="732515" y="2668054"/>
            <a:ext cx="2723590" cy="275262"/>
          </a:xfrm>
        </p:spPr>
        <p:txBody>
          <a:bodyPr vert="horz" lIns="0" tIns="0" rIns="0" bIns="0" anchor="t"/>
          <a:lstStyle>
            <a:lvl1pPr marL="0" indent="0">
              <a:buFontTx/>
              <a:buNone/>
              <a:defRPr/>
            </a:lvl1pPr>
            <a:lvl2pPr>
              <a:defRPr/>
            </a:lvl2pPr>
            <a:lvl3pPr>
              <a:defRPr/>
            </a:lvl3pPr>
            <a:lvl4pPr>
              <a:defRPr/>
            </a:lvl4pPr>
            <a:lvl5pPr>
              <a:defRPr/>
            </a:lvl5pPr>
            <a:lvl6pPr>
              <a:defRPr/>
            </a:lvl6pPr>
            <a:lvl7pPr>
              <a:defRPr/>
            </a:lvl7pPr>
            <a:lvl8pPr>
              <a:defRPr/>
            </a:lvl8pPr>
            <a:lvl9pPr>
              <a:defRPr/>
            </a:lvl9pPr>
          </a:lstStyle>
          <a:p>
            <a:pPr lvl="0"/>
            <a:r>
              <a:rPr lang="en-US" noProof="0"/>
              <a:t>Insert name presenter | Function </a:t>
            </a:r>
          </a:p>
        </p:txBody>
      </p:sp>
      <p:grpSp>
        <p:nvGrpSpPr>
          <p:cNvPr id="33" name="Graphic 41">
            <a:extLst>
              <a:ext uri="{FF2B5EF4-FFF2-40B4-BE49-F238E27FC236}">
                <a16:creationId xmlns:a16="http://schemas.microsoft.com/office/drawing/2014/main" id="{FE0A67DD-2664-47AE-8487-AC2679983E8C}"/>
              </a:ext>
            </a:extLst>
          </p:cNvPr>
          <p:cNvGrpSpPr/>
          <p:nvPr userDrawn="1"/>
        </p:nvGrpSpPr>
        <p:grpSpPr>
          <a:xfrm>
            <a:off x="7631620" y="4629635"/>
            <a:ext cx="1005230" cy="343655"/>
            <a:chOff x="6610866" y="4731155"/>
            <a:chExt cx="2143791" cy="729043"/>
          </a:xfrm>
          <a:solidFill>
            <a:schemeClr val="bg1"/>
          </a:solidFill>
        </p:grpSpPr>
        <p:grpSp>
          <p:nvGrpSpPr>
            <p:cNvPr id="34" name="Graphic 41">
              <a:extLst>
                <a:ext uri="{FF2B5EF4-FFF2-40B4-BE49-F238E27FC236}">
                  <a16:creationId xmlns:a16="http://schemas.microsoft.com/office/drawing/2014/main" id="{E83752D2-9EAA-459B-B835-32D6880C3481}"/>
                </a:ext>
              </a:extLst>
            </p:cNvPr>
            <p:cNvGrpSpPr/>
            <p:nvPr/>
          </p:nvGrpSpPr>
          <p:grpSpPr>
            <a:xfrm>
              <a:off x="6748216" y="5056434"/>
              <a:ext cx="1868805" cy="403764"/>
              <a:chOff x="6748216" y="5056434"/>
              <a:chExt cx="1868805" cy="403764"/>
            </a:xfrm>
            <a:grpFill/>
          </p:grpSpPr>
          <p:sp>
            <p:nvSpPr>
              <p:cNvPr id="36" name="Vrije vorm: vorm 35">
                <a:extLst>
                  <a:ext uri="{FF2B5EF4-FFF2-40B4-BE49-F238E27FC236}">
                    <a16:creationId xmlns:a16="http://schemas.microsoft.com/office/drawing/2014/main" id="{4CE05311-2D47-4BB0-8B68-BBB37546AA85}"/>
                  </a:ext>
                </a:extLst>
              </p:cNvPr>
              <p:cNvSpPr/>
              <p:nvPr/>
            </p:nvSpPr>
            <p:spPr>
              <a:xfrm>
                <a:off x="6748216" y="5057267"/>
                <a:ext cx="304990" cy="394169"/>
              </a:xfrm>
              <a:custGeom>
                <a:avLst/>
                <a:gdLst>
                  <a:gd name="connsiteX0" fmla="*/ 89344 w 304990"/>
                  <a:gd name="connsiteY0" fmla="*/ 56889 h 394169"/>
                  <a:gd name="connsiteX1" fmla="*/ 169164 w 304990"/>
                  <a:gd name="connsiteY1" fmla="*/ 118230 h 394169"/>
                  <a:gd name="connsiteX2" fmla="*/ 89344 w 304990"/>
                  <a:gd name="connsiteY2" fmla="*/ 182809 h 394169"/>
                  <a:gd name="connsiteX3" fmla="*/ 89344 w 304990"/>
                  <a:gd name="connsiteY3" fmla="*/ 56889 h 394169"/>
                  <a:gd name="connsiteX4" fmla="*/ 10668 w 304990"/>
                  <a:gd name="connsiteY4" fmla="*/ 292156 h 394169"/>
                  <a:gd name="connsiteX5" fmla="*/ 95 w 304990"/>
                  <a:gd name="connsiteY5" fmla="*/ 394169 h 394169"/>
                  <a:gd name="connsiteX6" fmla="*/ 100298 w 304990"/>
                  <a:gd name="connsiteY6" fmla="*/ 394169 h 394169"/>
                  <a:gd name="connsiteX7" fmla="*/ 89249 w 304990"/>
                  <a:gd name="connsiteY7" fmla="*/ 309016 h 394169"/>
                  <a:gd name="connsiteX8" fmla="*/ 89249 w 304990"/>
                  <a:gd name="connsiteY8" fmla="*/ 237959 h 394169"/>
                  <a:gd name="connsiteX9" fmla="*/ 233458 w 304990"/>
                  <a:gd name="connsiteY9" fmla="*/ 394169 h 394169"/>
                  <a:gd name="connsiteX10" fmla="*/ 304991 w 304990"/>
                  <a:gd name="connsiteY10" fmla="*/ 394169 h 394169"/>
                  <a:gd name="connsiteX11" fmla="*/ 168878 w 304990"/>
                  <a:gd name="connsiteY11" fmla="*/ 217576 h 394169"/>
                  <a:gd name="connsiteX12" fmla="*/ 255080 w 304990"/>
                  <a:gd name="connsiteY12" fmla="*/ 112515 h 394169"/>
                  <a:gd name="connsiteX13" fmla="*/ 100013 w 304990"/>
                  <a:gd name="connsiteY13" fmla="*/ 25 h 394169"/>
                  <a:gd name="connsiteX14" fmla="*/ 0 w 304990"/>
                  <a:gd name="connsiteY14" fmla="*/ 1072 h 394169"/>
                  <a:gd name="connsiteX15" fmla="*/ 10573 w 304990"/>
                  <a:gd name="connsiteY15" fmla="*/ 82511 h 394169"/>
                  <a:gd name="connsiteX16" fmla="*/ 10573 w 304990"/>
                  <a:gd name="connsiteY16" fmla="*/ 292156 h 39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4990" h="394169">
                    <a:moveTo>
                      <a:pt x="89344" y="56889"/>
                    </a:moveTo>
                    <a:cubicBezTo>
                      <a:pt x="142113" y="60699"/>
                      <a:pt x="169164" y="88798"/>
                      <a:pt x="169164" y="118230"/>
                    </a:cubicBezTo>
                    <a:cubicBezTo>
                      <a:pt x="169164" y="178714"/>
                      <a:pt x="107728" y="181095"/>
                      <a:pt x="89344" y="182809"/>
                    </a:cubicBezTo>
                    <a:lnTo>
                      <a:pt x="89344" y="56889"/>
                    </a:lnTo>
                    <a:close/>
                    <a:moveTo>
                      <a:pt x="10668" y="292156"/>
                    </a:moveTo>
                    <a:cubicBezTo>
                      <a:pt x="10668" y="326351"/>
                      <a:pt x="8572" y="355212"/>
                      <a:pt x="95" y="394169"/>
                    </a:cubicBezTo>
                    <a:lnTo>
                      <a:pt x="100298" y="394169"/>
                    </a:lnTo>
                    <a:cubicBezTo>
                      <a:pt x="89726" y="352164"/>
                      <a:pt x="89249" y="339496"/>
                      <a:pt x="89249" y="309016"/>
                    </a:cubicBezTo>
                    <a:lnTo>
                      <a:pt x="89249" y="237959"/>
                    </a:lnTo>
                    <a:cubicBezTo>
                      <a:pt x="170688" y="346258"/>
                      <a:pt x="180404" y="348449"/>
                      <a:pt x="233458" y="394169"/>
                    </a:cubicBezTo>
                    <a:lnTo>
                      <a:pt x="304991" y="394169"/>
                    </a:lnTo>
                    <a:cubicBezTo>
                      <a:pt x="258223" y="337972"/>
                      <a:pt x="204026" y="279583"/>
                      <a:pt x="168878" y="217576"/>
                    </a:cubicBezTo>
                    <a:cubicBezTo>
                      <a:pt x="186785" y="208146"/>
                      <a:pt x="255080" y="197573"/>
                      <a:pt x="255080" y="112515"/>
                    </a:cubicBezTo>
                    <a:cubicBezTo>
                      <a:pt x="255080" y="59461"/>
                      <a:pt x="222790" y="-1404"/>
                      <a:pt x="100013" y="25"/>
                    </a:cubicBezTo>
                    <a:lnTo>
                      <a:pt x="0" y="1072"/>
                    </a:lnTo>
                    <a:cubicBezTo>
                      <a:pt x="4191" y="14693"/>
                      <a:pt x="10573" y="36315"/>
                      <a:pt x="10573" y="82511"/>
                    </a:cubicBezTo>
                    <a:lnTo>
                      <a:pt x="10573" y="292156"/>
                    </a:lnTo>
                    <a:close/>
                  </a:path>
                </a:pathLst>
              </a:custGeom>
              <a:grpFill/>
              <a:ln w="9525" cap="flat">
                <a:noFill/>
                <a:prstDash val="solid"/>
                <a:miter/>
              </a:ln>
            </p:spPr>
            <p:txBody>
              <a:bodyPr rtlCol="0" anchor="ctr"/>
              <a:lstStyle/>
              <a:p>
                <a:endParaRPr lang="en-US" sz="1050"/>
              </a:p>
            </p:txBody>
          </p:sp>
          <p:sp>
            <p:nvSpPr>
              <p:cNvPr id="37" name="Vrije vorm: vorm 36">
                <a:extLst>
                  <a:ext uri="{FF2B5EF4-FFF2-40B4-BE49-F238E27FC236}">
                    <a16:creationId xmlns:a16="http://schemas.microsoft.com/office/drawing/2014/main" id="{7CE28C1B-2C34-4D89-BA40-5208AC799D8F}"/>
                  </a:ext>
                </a:extLst>
              </p:cNvPr>
              <p:cNvSpPr/>
              <p:nvPr/>
            </p:nvSpPr>
            <p:spPr>
              <a:xfrm>
                <a:off x="7048444" y="5170734"/>
                <a:ext cx="218422" cy="289464"/>
              </a:xfrm>
              <a:custGeom>
                <a:avLst/>
                <a:gdLst>
                  <a:gd name="connsiteX0" fmla="*/ 64484 w 218422"/>
                  <a:gd name="connsiteY0" fmla="*/ 114395 h 289464"/>
                  <a:gd name="connsiteX1" fmla="*/ 113538 w 218422"/>
                  <a:gd name="connsiteY1" fmla="*/ 47625 h 289464"/>
                  <a:gd name="connsiteX2" fmla="*/ 156591 w 218422"/>
                  <a:gd name="connsiteY2" fmla="*/ 114395 h 289464"/>
                  <a:gd name="connsiteX3" fmla="*/ 64484 w 218422"/>
                  <a:gd name="connsiteY3" fmla="*/ 114395 h 289464"/>
                  <a:gd name="connsiteX4" fmla="*/ 214027 w 218422"/>
                  <a:gd name="connsiteY4" fmla="*/ 211074 h 289464"/>
                  <a:gd name="connsiteX5" fmla="*/ 150781 w 218422"/>
                  <a:gd name="connsiteY5" fmla="*/ 229743 h 289464"/>
                  <a:gd name="connsiteX6" fmla="*/ 71914 w 218422"/>
                  <a:gd name="connsiteY6" fmla="*/ 158305 h 289464"/>
                  <a:gd name="connsiteX7" fmla="*/ 216980 w 218422"/>
                  <a:gd name="connsiteY7" fmla="*/ 158020 h 289464"/>
                  <a:gd name="connsiteX8" fmla="*/ 216694 w 218422"/>
                  <a:gd name="connsiteY8" fmla="*/ 85725 h 289464"/>
                  <a:gd name="connsiteX9" fmla="*/ 116205 w 218422"/>
                  <a:gd name="connsiteY9" fmla="*/ 0 h 289464"/>
                  <a:gd name="connsiteX10" fmla="*/ 0 w 218422"/>
                  <a:gd name="connsiteY10" fmla="*/ 147733 h 289464"/>
                  <a:gd name="connsiteX11" fmla="*/ 133064 w 218422"/>
                  <a:gd name="connsiteY11" fmla="*/ 289465 h 289464"/>
                  <a:gd name="connsiteX12" fmla="*/ 191167 w 218422"/>
                  <a:gd name="connsiteY12" fmla="*/ 274511 h 289464"/>
                  <a:gd name="connsiteX13" fmla="*/ 214027 w 218422"/>
                  <a:gd name="connsiteY13" fmla="*/ 211074 h 28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8422" h="289464">
                    <a:moveTo>
                      <a:pt x="64484" y="114395"/>
                    </a:moveTo>
                    <a:cubicBezTo>
                      <a:pt x="64484" y="85630"/>
                      <a:pt x="85820" y="47625"/>
                      <a:pt x="113538" y="47625"/>
                    </a:cubicBezTo>
                    <a:cubicBezTo>
                      <a:pt x="136589" y="47625"/>
                      <a:pt x="156591" y="72866"/>
                      <a:pt x="156591" y="114395"/>
                    </a:cubicBezTo>
                    <a:lnTo>
                      <a:pt x="64484" y="114395"/>
                    </a:lnTo>
                    <a:close/>
                    <a:moveTo>
                      <a:pt x="214027" y="211074"/>
                    </a:moveTo>
                    <a:cubicBezTo>
                      <a:pt x="183071" y="225266"/>
                      <a:pt x="172784" y="229743"/>
                      <a:pt x="150781" y="229743"/>
                    </a:cubicBezTo>
                    <a:cubicBezTo>
                      <a:pt x="89821" y="229743"/>
                      <a:pt x="73438" y="177260"/>
                      <a:pt x="71914" y="158305"/>
                    </a:cubicBezTo>
                    <a:lnTo>
                      <a:pt x="216980" y="158020"/>
                    </a:lnTo>
                    <a:cubicBezTo>
                      <a:pt x="216980" y="128111"/>
                      <a:pt x="220409" y="107823"/>
                      <a:pt x="216694" y="85725"/>
                    </a:cubicBezTo>
                    <a:cubicBezTo>
                      <a:pt x="208788" y="33147"/>
                      <a:pt x="161449" y="0"/>
                      <a:pt x="116205" y="0"/>
                    </a:cubicBezTo>
                    <a:cubicBezTo>
                      <a:pt x="51530" y="0"/>
                      <a:pt x="0" y="56293"/>
                      <a:pt x="0" y="147733"/>
                    </a:cubicBezTo>
                    <a:cubicBezTo>
                      <a:pt x="0" y="209741"/>
                      <a:pt x="45339" y="289465"/>
                      <a:pt x="133064" y="289465"/>
                    </a:cubicBezTo>
                    <a:cubicBezTo>
                      <a:pt x="158782" y="289465"/>
                      <a:pt x="174308" y="280321"/>
                      <a:pt x="191167" y="274511"/>
                    </a:cubicBezTo>
                    <a:lnTo>
                      <a:pt x="214027" y="211074"/>
                    </a:lnTo>
                    <a:close/>
                  </a:path>
                </a:pathLst>
              </a:custGeom>
              <a:grpFill/>
              <a:ln w="9525" cap="flat">
                <a:noFill/>
                <a:prstDash val="solid"/>
                <a:miter/>
              </a:ln>
            </p:spPr>
            <p:txBody>
              <a:bodyPr rtlCol="0" anchor="ctr"/>
              <a:lstStyle/>
              <a:p>
                <a:endParaRPr lang="en-US" sz="1050"/>
              </a:p>
            </p:txBody>
          </p:sp>
          <p:sp>
            <p:nvSpPr>
              <p:cNvPr id="38" name="Vrije vorm: vorm 37">
                <a:extLst>
                  <a:ext uri="{FF2B5EF4-FFF2-40B4-BE49-F238E27FC236}">
                    <a16:creationId xmlns:a16="http://schemas.microsoft.com/office/drawing/2014/main" id="{5DB1CD67-4AE1-4887-A3E7-023C1C3B33E2}"/>
                  </a:ext>
                </a:extLst>
              </p:cNvPr>
              <p:cNvSpPr/>
              <p:nvPr/>
            </p:nvSpPr>
            <p:spPr>
              <a:xfrm>
                <a:off x="7288665" y="5056434"/>
                <a:ext cx="188023" cy="395001"/>
              </a:xfrm>
              <a:custGeom>
                <a:avLst/>
                <a:gdLst>
                  <a:gd name="connsiteX0" fmla="*/ 158782 w 188023"/>
                  <a:gd name="connsiteY0" fmla="*/ 169831 h 395001"/>
                  <a:gd name="connsiteX1" fmla="*/ 101822 w 188023"/>
                  <a:gd name="connsiteY1" fmla="*/ 169831 h 395001"/>
                  <a:gd name="connsiteX2" fmla="*/ 101822 w 188023"/>
                  <a:gd name="connsiteY2" fmla="*/ 328232 h 395001"/>
                  <a:gd name="connsiteX3" fmla="*/ 116491 w 188023"/>
                  <a:gd name="connsiteY3" fmla="*/ 393954 h 395001"/>
                  <a:gd name="connsiteX4" fmla="*/ 23717 w 188023"/>
                  <a:gd name="connsiteY4" fmla="*/ 395002 h 395001"/>
                  <a:gd name="connsiteX5" fmla="*/ 38957 w 188023"/>
                  <a:gd name="connsiteY5" fmla="*/ 324041 h 395001"/>
                  <a:gd name="connsiteX6" fmla="*/ 38957 w 188023"/>
                  <a:gd name="connsiteY6" fmla="*/ 169831 h 395001"/>
                  <a:gd name="connsiteX7" fmla="*/ 0 w 188023"/>
                  <a:gd name="connsiteY7" fmla="*/ 168783 h 395001"/>
                  <a:gd name="connsiteX8" fmla="*/ 24479 w 188023"/>
                  <a:gd name="connsiteY8" fmla="*/ 121253 h 395001"/>
                  <a:gd name="connsiteX9" fmla="*/ 38957 w 188023"/>
                  <a:gd name="connsiteY9" fmla="*/ 121158 h 395001"/>
                  <a:gd name="connsiteX10" fmla="*/ 38957 w 188023"/>
                  <a:gd name="connsiteY10" fmla="*/ 104870 h 395001"/>
                  <a:gd name="connsiteX11" fmla="*/ 129349 w 188023"/>
                  <a:gd name="connsiteY11" fmla="*/ 0 h 395001"/>
                  <a:gd name="connsiteX12" fmla="*/ 188023 w 188023"/>
                  <a:gd name="connsiteY12" fmla="*/ 9716 h 395001"/>
                  <a:gd name="connsiteX13" fmla="*/ 177546 w 188023"/>
                  <a:gd name="connsiteY13" fmla="*/ 62770 h 395001"/>
                  <a:gd name="connsiteX14" fmla="*/ 137636 w 188023"/>
                  <a:gd name="connsiteY14" fmla="*/ 47625 h 395001"/>
                  <a:gd name="connsiteX15" fmla="*/ 101917 w 188023"/>
                  <a:gd name="connsiteY15" fmla="*/ 90106 h 395001"/>
                  <a:gd name="connsiteX16" fmla="*/ 101917 w 188023"/>
                  <a:gd name="connsiteY16" fmla="*/ 118967 h 395001"/>
                  <a:gd name="connsiteX17" fmla="*/ 158877 w 188023"/>
                  <a:gd name="connsiteY17" fmla="*/ 118967 h 395001"/>
                  <a:gd name="connsiteX18" fmla="*/ 158877 w 188023"/>
                  <a:gd name="connsiteY18" fmla="*/ 169831 h 39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8023" h="395001">
                    <a:moveTo>
                      <a:pt x="158782" y="169831"/>
                    </a:moveTo>
                    <a:lnTo>
                      <a:pt x="101822" y="169831"/>
                    </a:lnTo>
                    <a:lnTo>
                      <a:pt x="101822" y="328232"/>
                    </a:lnTo>
                    <a:cubicBezTo>
                      <a:pt x="101822" y="366046"/>
                      <a:pt x="108680" y="379190"/>
                      <a:pt x="116491" y="393954"/>
                    </a:cubicBezTo>
                    <a:lnTo>
                      <a:pt x="23717" y="395002"/>
                    </a:lnTo>
                    <a:cubicBezTo>
                      <a:pt x="36290" y="371856"/>
                      <a:pt x="38957" y="352996"/>
                      <a:pt x="38957" y="324041"/>
                    </a:cubicBezTo>
                    <a:lnTo>
                      <a:pt x="38957" y="169831"/>
                    </a:lnTo>
                    <a:lnTo>
                      <a:pt x="0" y="168783"/>
                    </a:lnTo>
                    <a:cubicBezTo>
                      <a:pt x="10192" y="155734"/>
                      <a:pt x="24479" y="121253"/>
                      <a:pt x="24479" y="121253"/>
                    </a:cubicBezTo>
                    <a:lnTo>
                      <a:pt x="38957" y="121158"/>
                    </a:lnTo>
                    <a:lnTo>
                      <a:pt x="38957" y="104870"/>
                    </a:lnTo>
                    <a:cubicBezTo>
                      <a:pt x="38957" y="65246"/>
                      <a:pt x="52006" y="0"/>
                      <a:pt x="129349" y="0"/>
                    </a:cubicBezTo>
                    <a:cubicBezTo>
                      <a:pt x="149352" y="0"/>
                      <a:pt x="173831" y="6572"/>
                      <a:pt x="188023" y="9716"/>
                    </a:cubicBezTo>
                    <a:cubicBezTo>
                      <a:pt x="182785" y="36004"/>
                      <a:pt x="181165" y="37529"/>
                      <a:pt x="177546" y="62770"/>
                    </a:cubicBezTo>
                    <a:cubicBezTo>
                      <a:pt x="171259" y="49625"/>
                      <a:pt x="156019" y="47625"/>
                      <a:pt x="137636" y="47625"/>
                    </a:cubicBezTo>
                    <a:cubicBezTo>
                      <a:pt x="116395" y="47625"/>
                      <a:pt x="101917" y="73819"/>
                      <a:pt x="101917" y="90106"/>
                    </a:cubicBezTo>
                    <a:lnTo>
                      <a:pt x="101917" y="118967"/>
                    </a:lnTo>
                    <a:lnTo>
                      <a:pt x="158877" y="118967"/>
                    </a:lnTo>
                    <a:lnTo>
                      <a:pt x="158877" y="169831"/>
                    </a:lnTo>
                    <a:close/>
                  </a:path>
                </a:pathLst>
              </a:custGeom>
              <a:grpFill/>
              <a:ln w="9525" cap="flat">
                <a:noFill/>
                <a:prstDash val="solid"/>
                <a:miter/>
              </a:ln>
            </p:spPr>
            <p:txBody>
              <a:bodyPr rtlCol="0" anchor="ctr"/>
              <a:lstStyle/>
              <a:p>
                <a:endParaRPr lang="en-US" sz="1050"/>
              </a:p>
            </p:txBody>
          </p:sp>
          <p:sp>
            <p:nvSpPr>
              <p:cNvPr id="39" name="Vrije vorm: vorm 38">
                <a:extLst>
                  <a:ext uri="{FF2B5EF4-FFF2-40B4-BE49-F238E27FC236}">
                    <a16:creationId xmlns:a16="http://schemas.microsoft.com/office/drawing/2014/main" id="{55A2E762-35F3-4273-B67E-61920BCF4B7B}"/>
                  </a:ext>
                </a:extLst>
              </p:cNvPr>
              <p:cNvSpPr/>
              <p:nvPr/>
            </p:nvSpPr>
            <p:spPr>
              <a:xfrm>
                <a:off x="7491261" y="5168829"/>
                <a:ext cx="175355" cy="282511"/>
              </a:xfrm>
              <a:custGeom>
                <a:avLst/>
                <a:gdLst>
                  <a:gd name="connsiteX0" fmla="*/ 86868 w 175355"/>
                  <a:gd name="connsiteY0" fmla="*/ 7144 h 282511"/>
                  <a:gd name="connsiteX1" fmla="*/ 84201 w 175355"/>
                  <a:gd name="connsiteY1" fmla="*/ 44958 h 282511"/>
                  <a:gd name="connsiteX2" fmla="*/ 84201 w 175355"/>
                  <a:gd name="connsiteY2" fmla="*/ 58293 h 282511"/>
                  <a:gd name="connsiteX3" fmla="*/ 147161 w 175355"/>
                  <a:gd name="connsiteY3" fmla="*/ 0 h 282511"/>
                  <a:gd name="connsiteX4" fmla="*/ 175355 w 175355"/>
                  <a:gd name="connsiteY4" fmla="*/ 9716 h 282511"/>
                  <a:gd name="connsiteX5" fmla="*/ 166402 w 175355"/>
                  <a:gd name="connsiteY5" fmla="*/ 73057 h 282511"/>
                  <a:gd name="connsiteX6" fmla="*/ 138875 w 175355"/>
                  <a:gd name="connsiteY6" fmla="*/ 58865 h 282511"/>
                  <a:gd name="connsiteX7" fmla="*/ 84201 w 175355"/>
                  <a:gd name="connsiteY7" fmla="*/ 97536 h 282511"/>
                  <a:gd name="connsiteX8" fmla="*/ 84201 w 175355"/>
                  <a:gd name="connsiteY8" fmla="*/ 217837 h 282511"/>
                  <a:gd name="connsiteX9" fmla="*/ 97917 w 175355"/>
                  <a:gd name="connsiteY9" fmla="*/ 282512 h 282511"/>
                  <a:gd name="connsiteX10" fmla="*/ 0 w 175355"/>
                  <a:gd name="connsiteY10" fmla="*/ 282512 h 282511"/>
                  <a:gd name="connsiteX11" fmla="*/ 13621 w 175355"/>
                  <a:gd name="connsiteY11" fmla="*/ 229934 h 282511"/>
                  <a:gd name="connsiteX12" fmla="*/ 13621 w 175355"/>
                  <a:gd name="connsiteY12" fmla="*/ 55055 h 282511"/>
                  <a:gd name="connsiteX13" fmla="*/ 4667 w 175355"/>
                  <a:gd name="connsiteY13" fmla="*/ 7239 h 282511"/>
                  <a:gd name="connsiteX14" fmla="*/ 86868 w 175355"/>
                  <a:gd name="connsiteY14" fmla="*/ 7239 h 28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5355" h="282511">
                    <a:moveTo>
                      <a:pt x="86868" y="7144"/>
                    </a:moveTo>
                    <a:cubicBezTo>
                      <a:pt x="84201" y="21336"/>
                      <a:pt x="84201" y="27146"/>
                      <a:pt x="84201" y="44958"/>
                    </a:cubicBezTo>
                    <a:lnTo>
                      <a:pt x="84201" y="58293"/>
                    </a:lnTo>
                    <a:cubicBezTo>
                      <a:pt x="111442" y="18288"/>
                      <a:pt x="126016" y="0"/>
                      <a:pt x="147161" y="0"/>
                    </a:cubicBezTo>
                    <a:cubicBezTo>
                      <a:pt x="158686" y="0"/>
                      <a:pt x="166878" y="5525"/>
                      <a:pt x="175355" y="9716"/>
                    </a:cubicBezTo>
                    <a:lnTo>
                      <a:pt x="166402" y="73057"/>
                    </a:lnTo>
                    <a:cubicBezTo>
                      <a:pt x="156496" y="63341"/>
                      <a:pt x="149733" y="58865"/>
                      <a:pt x="138875" y="58865"/>
                    </a:cubicBezTo>
                    <a:cubicBezTo>
                      <a:pt x="109919" y="58865"/>
                      <a:pt x="94774" y="87630"/>
                      <a:pt x="84201" y="97536"/>
                    </a:cubicBezTo>
                    <a:lnTo>
                      <a:pt x="84201" y="217837"/>
                    </a:lnTo>
                    <a:cubicBezTo>
                      <a:pt x="84201" y="257842"/>
                      <a:pt x="88392" y="266700"/>
                      <a:pt x="97917" y="282512"/>
                    </a:cubicBezTo>
                    <a:lnTo>
                      <a:pt x="0" y="282512"/>
                    </a:lnTo>
                    <a:cubicBezTo>
                      <a:pt x="11049" y="265176"/>
                      <a:pt x="13621" y="256222"/>
                      <a:pt x="13621" y="229934"/>
                    </a:cubicBezTo>
                    <a:lnTo>
                      <a:pt x="13621" y="55055"/>
                    </a:lnTo>
                    <a:cubicBezTo>
                      <a:pt x="13621" y="45053"/>
                      <a:pt x="13621" y="33528"/>
                      <a:pt x="4667" y="7239"/>
                    </a:cubicBezTo>
                    <a:lnTo>
                      <a:pt x="86868" y="7239"/>
                    </a:lnTo>
                    <a:close/>
                  </a:path>
                </a:pathLst>
              </a:custGeom>
              <a:grpFill/>
              <a:ln w="9525" cap="flat">
                <a:noFill/>
                <a:prstDash val="solid"/>
                <a:miter/>
              </a:ln>
            </p:spPr>
            <p:txBody>
              <a:bodyPr rtlCol="0" anchor="ctr"/>
              <a:lstStyle/>
              <a:p>
                <a:endParaRPr lang="en-US" sz="1050"/>
              </a:p>
            </p:txBody>
          </p:sp>
          <p:sp>
            <p:nvSpPr>
              <p:cNvPr id="40" name="Vrije vorm: vorm 39">
                <a:extLst>
                  <a:ext uri="{FF2B5EF4-FFF2-40B4-BE49-F238E27FC236}">
                    <a16:creationId xmlns:a16="http://schemas.microsoft.com/office/drawing/2014/main" id="{F667527F-8FF9-4995-955A-023CEA9848AF}"/>
                  </a:ext>
                </a:extLst>
              </p:cNvPr>
              <p:cNvSpPr/>
              <p:nvPr/>
            </p:nvSpPr>
            <p:spPr>
              <a:xfrm>
                <a:off x="7686143" y="5170829"/>
                <a:ext cx="216904" cy="286607"/>
              </a:xfrm>
              <a:custGeom>
                <a:avLst/>
                <a:gdLst>
                  <a:gd name="connsiteX0" fmla="*/ 67342 w 216904"/>
                  <a:gd name="connsiteY0" fmla="*/ 114300 h 286607"/>
                  <a:gd name="connsiteX1" fmla="*/ 110585 w 216904"/>
                  <a:gd name="connsiteY1" fmla="*/ 47530 h 286607"/>
                  <a:gd name="connsiteX2" fmla="*/ 150781 w 216904"/>
                  <a:gd name="connsiteY2" fmla="*/ 114300 h 286607"/>
                  <a:gd name="connsiteX3" fmla="*/ 67342 w 216904"/>
                  <a:gd name="connsiteY3" fmla="*/ 114300 h 286607"/>
                  <a:gd name="connsiteX4" fmla="*/ 211169 w 216904"/>
                  <a:gd name="connsiteY4" fmla="*/ 210979 h 286607"/>
                  <a:gd name="connsiteX5" fmla="*/ 153638 w 216904"/>
                  <a:gd name="connsiteY5" fmla="*/ 229648 h 286607"/>
                  <a:gd name="connsiteX6" fmla="*/ 71819 w 216904"/>
                  <a:gd name="connsiteY6" fmla="*/ 158210 h 286607"/>
                  <a:gd name="connsiteX7" fmla="*/ 216884 w 216904"/>
                  <a:gd name="connsiteY7" fmla="*/ 155067 h 286607"/>
                  <a:gd name="connsiteX8" fmla="*/ 213741 w 216904"/>
                  <a:gd name="connsiteY8" fmla="*/ 82772 h 286607"/>
                  <a:gd name="connsiteX9" fmla="*/ 116205 w 216904"/>
                  <a:gd name="connsiteY9" fmla="*/ 0 h 286607"/>
                  <a:gd name="connsiteX10" fmla="*/ 0 w 216904"/>
                  <a:gd name="connsiteY10" fmla="*/ 144875 h 286607"/>
                  <a:gd name="connsiteX11" fmla="*/ 124396 w 216904"/>
                  <a:gd name="connsiteY11" fmla="*/ 286607 h 286607"/>
                  <a:gd name="connsiteX12" fmla="*/ 185357 w 216904"/>
                  <a:gd name="connsiteY12" fmla="*/ 274511 h 286607"/>
                  <a:gd name="connsiteX13" fmla="*/ 211169 w 216904"/>
                  <a:gd name="connsiteY13" fmla="*/ 210979 h 28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904" h="286607">
                    <a:moveTo>
                      <a:pt x="67342" y="114300"/>
                    </a:moveTo>
                    <a:cubicBezTo>
                      <a:pt x="71533" y="67532"/>
                      <a:pt x="91250" y="47530"/>
                      <a:pt x="110585" y="47530"/>
                    </a:cubicBezTo>
                    <a:cubicBezTo>
                      <a:pt x="131921" y="47530"/>
                      <a:pt x="152305" y="64294"/>
                      <a:pt x="150781" y="114300"/>
                    </a:cubicBezTo>
                    <a:lnTo>
                      <a:pt x="67342" y="114300"/>
                    </a:lnTo>
                    <a:close/>
                    <a:moveTo>
                      <a:pt x="211169" y="210979"/>
                    </a:moveTo>
                    <a:cubicBezTo>
                      <a:pt x="180213" y="225171"/>
                      <a:pt x="175736" y="229648"/>
                      <a:pt x="153638" y="229648"/>
                    </a:cubicBezTo>
                    <a:cubicBezTo>
                      <a:pt x="92678" y="229648"/>
                      <a:pt x="73438" y="177165"/>
                      <a:pt x="71819" y="158210"/>
                    </a:cubicBezTo>
                    <a:lnTo>
                      <a:pt x="216884" y="155067"/>
                    </a:lnTo>
                    <a:cubicBezTo>
                      <a:pt x="216884" y="125158"/>
                      <a:pt x="217361" y="104775"/>
                      <a:pt x="213741" y="82772"/>
                    </a:cubicBezTo>
                    <a:cubicBezTo>
                      <a:pt x="205835" y="30194"/>
                      <a:pt x="161354" y="0"/>
                      <a:pt x="116205" y="0"/>
                    </a:cubicBezTo>
                    <a:cubicBezTo>
                      <a:pt x="51530" y="0"/>
                      <a:pt x="0" y="53340"/>
                      <a:pt x="0" y="144875"/>
                    </a:cubicBezTo>
                    <a:cubicBezTo>
                      <a:pt x="0" y="206883"/>
                      <a:pt x="36576" y="286607"/>
                      <a:pt x="124396" y="286607"/>
                    </a:cubicBezTo>
                    <a:cubicBezTo>
                      <a:pt x="150114" y="286607"/>
                      <a:pt x="168497" y="280321"/>
                      <a:pt x="185357" y="274511"/>
                    </a:cubicBezTo>
                    <a:lnTo>
                      <a:pt x="211169" y="210979"/>
                    </a:lnTo>
                    <a:close/>
                  </a:path>
                </a:pathLst>
              </a:custGeom>
              <a:grpFill/>
              <a:ln w="9525" cap="flat">
                <a:noFill/>
                <a:prstDash val="solid"/>
                <a:miter/>
              </a:ln>
            </p:spPr>
            <p:txBody>
              <a:bodyPr rtlCol="0" anchor="ctr"/>
              <a:lstStyle/>
              <a:p>
                <a:endParaRPr lang="en-US" sz="1050"/>
              </a:p>
            </p:txBody>
          </p:sp>
          <p:sp>
            <p:nvSpPr>
              <p:cNvPr id="41" name="Vrije vorm: vorm 40">
                <a:extLst>
                  <a:ext uri="{FF2B5EF4-FFF2-40B4-BE49-F238E27FC236}">
                    <a16:creationId xmlns:a16="http://schemas.microsoft.com/office/drawing/2014/main" id="{3FF59918-45EE-42F0-B0C9-23501AF067A2}"/>
                  </a:ext>
                </a:extLst>
              </p:cNvPr>
              <p:cNvSpPr/>
              <p:nvPr/>
            </p:nvSpPr>
            <p:spPr>
              <a:xfrm>
                <a:off x="7932269" y="5170639"/>
                <a:ext cx="156114" cy="286988"/>
              </a:xfrm>
              <a:custGeom>
                <a:avLst/>
                <a:gdLst>
                  <a:gd name="connsiteX0" fmla="*/ 152876 w 156114"/>
                  <a:gd name="connsiteY0" fmla="*/ 61055 h 286988"/>
                  <a:gd name="connsiteX1" fmla="*/ 110585 w 156114"/>
                  <a:gd name="connsiteY1" fmla="*/ 48482 h 286988"/>
                  <a:gd name="connsiteX2" fmla="*/ 76486 w 156114"/>
                  <a:gd name="connsiteY2" fmla="*/ 73628 h 286988"/>
                  <a:gd name="connsiteX3" fmla="*/ 114586 w 156114"/>
                  <a:gd name="connsiteY3" fmla="*/ 119824 h 286988"/>
                  <a:gd name="connsiteX4" fmla="*/ 156115 w 156114"/>
                  <a:gd name="connsiteY4" fmla="*/ 201835 h 286988"/>
                  <a:gd name="connsiteX5" fmla="*/ 66199 w 156114"/>
                  <a:gd name="connsiteY5" fmla="*/ 286988 h 286988"/>
                  <a:gd name="connsiteX6" fmla="*/ 0 w 156114"/>
                  <a:gd name="connsiteY6" fmla="*/ 274130 h 286988"/>
                  <a:gd name="connsiteX7" fmla="*/ 762 w 156114"/>
                  <a:gd name="connsiteY7" fmla="*/ 208978 h 286988"/>
                  <a:gd name="connsiteX8" fmla="*/ 64103 w 156114"/>
                  <a:gd name="connsiteY8" fmla="*/ 239649 h 286988"/>
                  <a:gd name="connsiteX9" fmla="*/ 92964 w 156114"/>
                  <a:gd name="connsiteY9" fmla="*/ 213931 h 286988"/>
                  <a:gd name="connsiteX10" fmla="*/ 60960 w 156114"/>
                  <a:gd name="connsiteY10" fmla="*/ 168212 h 286988"/>
                  <a:gd name="connsiteX11" fmla="*/ 8382 w 156114"/>
                  <a:gd name="connsiteY11" fmla="*/ 83058 h 286988"/>
                  <a:gd name="connsiteX12" fmla="*/ 100394 w 156114"/>
                  <a:gd name="connsiteY12" fmla="*/ 0 h 286988"/>
                  <a:gd name="connsiteX13" fmla="*/ 152971 w 156114"/>
                  <a:gd name="connsiteY13" fmla="*/ 11525 h 286988"/>
                  <a:gd name="connsiteX14" fmla="*/ 152971 w 156114"/>
                  <a:gd name="connsiteY14" fmla="*/ 61055 h 28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114" h="286988">
                    <a:moveTo>
                      <a:pt x="152876" y="61055"/>
                    </a:moveTo>
                    <a:cubicBezTo>
                      <a:pt x="141351" y="51149"/>
                      <a:pt x="123063" y="48482"/>
                      <a:pt x="110585" y="48482"/>
                    </a:cubicBezTo>
                    <a:cubicBezTo>
                      <a:pt x="94298" y="48482"/>
                      <a:pt x="76486" y="60103"/>
                      <a:pt x="76486" y="73628"/>
                    </a:cubicBezTo>
                    <a:cubicBezTo>
                      <a:pt x="76486" y="94678"/>
                      <a:pt x="94869" y="105061"/>
                      <a:pt x="114586" y="119824"/>
                    </a:cubicBezTo>
                    <a:cubicBezTo>
                      <a:pt x="141827" y="140398"/>
                      <a:pt x="156115" y="163449"/>
                      <a:pt x="156115" y="201835"/>
                    </a:cubicBezTo>
                    <a:cubicBezTo>
                      <a:pt x="156115" y="248603"/>
                      <a:pt x="125063" y="286988"/>
                      <a:pt x="66199" y="286988"/>
                    </a:cubicBezTo>
                    <a:cubicBezTo>
                      <a:pt x="59341" y="286988"/>
                      <a:pt x="33623" y="284131"/>
                      <a:pt x="0" y="274130"/>
                    </a:cubicBezTo>
                    <a:lnTo>
                      <a:pt x="762" y="208978"/>
                    </a:lnTo>
                    <a:cubicBezTo>
                      <a:pt x="26575" y="231839"/>
                      <a:pt x="48292" y="239839"/>
                      <a:pt x="64103" y="239649"/>
                    </a:cubicBezTo>
                    <a:cubicBezTo>
                      <a:pt x="79915" y="239458"/>
                      <a:pt x="92583" y="228791"/>
                      <a:pt x="92964" y="213931"/>
                    </a:cubicBezTo>
                    <a:cubicBezTo>
                      <a:pt x="93345" y="201644"/>
                      <a:pt x="86487" y="190500"/>
                      <a:pt x="60960" y="168212"/>
                    </a:cubicBezTo>
                    <a:cubicBezTo>
                      <a:pt x="44958" y="154210"/>
                      <a:pt x="8382" y="127159"/>
                      <a:pt x="8382" y="83058"/>
                    </a:cubicBezTo>
                    <a:cubicBezTo>
                      <a:pt x="8382" y="52578"/>
                      <a:pt x="34671" y="0"/>
                      <a:pt x="100394" y="0"/>
                    </a:cubicBezTo>
                    <a:cubicBezTo>
                      <a:pt x="121920" y="0"/>
                      <a:pt x="133541" y="4191"/>
                      <a:pt x="152971" y="11525"/>
                    </a:cubicBezTo>
                    <a:lnTo>
                      <a:pt x="152971" y="61055"/>
                    </a:lnTo>
                    <a:close/>
                  </a:path>
                </a:pathLst>
              </a:custGeom>
              <a:grpFill/>
              <a:ln w="9525" cap="flat">
                <a:noFill/>
                <a:prstDash val="solid"/>
                <a:miter/>
              </a:ln>
            </p:spPr>
            <p:txBody>
              <a:bodyPr rtlCol="0" anchor="ctr"/>
              <a:lstStyle/>
              <a:p>
                <a:endParaRPr lang="en-US" sz="1050"/>
              </a:p>
            </p:txBody>
          </p:sp>
          <p:sp>
            <p:nvSpPr>
              <p:cNvPr id="42" name="Vrije vorm: vorm 41">
                <a:extLst>
                  <a:ext uri="{FF2B5EF4-FFF2-40B4-BE49-F238E27FC236}">
                    <a16:creationId xmlns:a16="http://schemas.microsoft.com/office/drawing/2014/main" id="{15411494-2B5D-4F0D-9C10-5A9ECF2F7C4A}"/>
                  </a:ext>
                </a:extLst>
              </p:cNvPr>
              <p:cNvSpPr/>
              <p:nvPr/>
            </p:nvSpPr>
            <p:spPr>
              <a:xfrm>
                <a:off x="8116958" y="5172163"/>
                <a:ext cx="214883" cy="283940"/>
              </a:xfrm>
              <a:custGeom>
                <a:avLst/>
                <a:gdLst>
                  <a:gd name="connsiteX0" fmla="*/ 200882 w 214883"/>
                  <a:gd name="connsiteY0" fmla="*/ 72676 h 283940"/>
                  <a:gd name="connsiteX1" fmla="*/ 146495 w 214883"/>
                  <a:gd name="connsiteY1" fmla="*/ 46863 h 283940"/>
                  <a:gd name="connsiteX2" fmla="*/ 73819 w 214883"/>
                  <a:gd name="connsiteY2" fmla="*/ 139446 h 283940"/>
                  <a:gd name="connsiteX3" fmla="*/ 156782 w 214883"/>
                  <a:gd name="connsiteY3" fmla="*/ 228790 h 283940"/>
                  <a:gd name="connsiteX4" fmla="*/ 214884 w 214883"/>
                  <a:gd name="connsiteY4" fmla="*/ 211550 h 283940"/>
                  <a:gd name="connsiteX5" fmla="*/ 188024 w 214883"/>
                  <a:gd name="connsiteY5" fmla="*/ 280416 h 283940"/>
                  <a:gd name="connsiteX6" fmla="*/ 127730 w 214883"/>
                  <a:gd name="connsiteY6" fmla="*/ 283940 h 283940"/>
                  <a:gd name="connsiteX7" fmla="*/ 0 w 214883"/>
                  <a:gd name="connsiteY7" fmla="*/ 154686 h 283940"/>
                  <a:gd name="connsiteX8" fmla="*/ 151352 w 214883"/>
                  <a:gd name="connsiteY8" fmla="*/ 0 h 283940"/>
                  <a:gd name="connsiteX9" fmla="*/ 206312 w 214883"/>
                  <a:gd name="connsiteY9" fmla="*/ 8572 h 283940"/>
                  <a:gd name="connsiteX10" fmla="*/ 200882 w 214883"/>
                  <a:gd name="connsiteY10" fmla="*/ 72676 h 28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883" h="283940">
                    <a:moveTo>
                      <a:pt x="200882" y="72676"/>
                    </a:moveTo>
                    <a:cubicBezTo>
                      <a:pt x="195834" y="67437"/>
                      <a:pt x="178689" y="46863"/>
                      <a:pt x="146495" y="46863"/>
                    </a:cubicBezTo>
                    <a:cubicBezTo>
                      <a:pt x="90678" y="46863"/>
                      <a:pt x="73819" y="104775"/>
                      <a:pt x="73819" y="139446"/>
                    </a:cubicBezTo>
                    <a:cubicBezTo>
                      <a:pt x="73819" y="206216"/>
                      <a:pt x="134017" y="228790"/>
                      <a:pt x="156782" y="228790"/>
                    </a:cubicBezTo>
                    <a:cubicBezTo>
                      <a:pt x="180404" y="228790"/>
                      <a:pt x="201454" y="219075"/>
                      <a:pt x="214884" y="211550"/>
                    </a:cubicBezTo>
                    <a:lnTo>
                      <a:pt x="188024" y="280416"/>
                    </a:lnTo>
                    <a:cubicBezTo>
                      <a:pt x="173450" y="283083"/>
                      <a:pt x="147733" y="283940"/>
                      <a:pt x="127730" y="283940"/>
                    </a:cubicBezTo>
                    <a:cubicBezTo>
                      <a:pt x="60293" y="283940"/>
                      <a:pt x="0" y="219075"/>
                      <a:pt x="0" y="154686"/>
                    </a:cubicBezTo>
                    <a:cubicBezTo>
                      <a:pt x="0" y="96298"/>
                      <a:pt x="30671" y="0"/>
                      <a:pt x="151352" y="0"/>
                    </a:cubicBezTo>
                    <a:cubicBezTo>
                      <a:pt x="175546" y="0"/>
                      <a:pt x="192119" y="6001"/>
                      <a:pt x="206312" y="8572"/>
                    </a:cubicBezTo>
                    <a:lnTo>
                      <a:pt x="200882" y="72676"/>
                    </a:lnTo>
                    <a:close/>
                  </a:path>
                </a:pathLst>
              </a:custGeom>
              <a:grpFill/>
              <a:ln w="9525" cap="flat">
                <a:noFill/>
                <a:prstDash val="solid"/>
                <a:miter/>
              </a:ln>
            </p:spPr>
            <p:txBody>
              <a:bodyPr rtlCol="0" anchor="ctr"/>
              <a:lstStyle/>
              <a:p>
                <a:endParaRPr lang="en-US" sz="1050"/>
              </a:p>
            </p:txBody>
          </p:sp>
          <p:sp>
            <p:nvSpPr>
              <p:cNvPr id="43" name="Vrije vorm: vorm 42">
                <a:extLst>
                  <a:ext uri="{FF2B5EF4-FFF2-40B4-BE49-F238E27FC236}">
                    <a16:creationId xmlns:a16="http://schemas.microsoft.com/office/drawing/2014/main" id="{9D6D6C84-7B70-4664-A528-225B07F5EA7B}"/>
                  </a:ext>
                </a:extLst>
              </p:cNvPr>
              <p:cNvSpPr/>
              <p:nvPr/>
            </p:nvSpPr>
            <p:spPr>
              <a:xfrm>
                <a:off x="8354703" y="5169881"/>
                <a:ext cx="262318" cy="288698"/>
              </a:xfrm>
              <a:custGeom>
                <a:avLst/>
                <a:gdLst>
                  <a:gd name="connsiteX0" fmla="*/ 150590 w 262318"/>
                  <a:gd name="connsiteY0" fmla="*/ 240502 h 288698"/>
                  <a:gd name="connsiteX1" fmla="*/ 67913 w 262318"/>
                  <a:gd name="connsiteY1" fmla="*/ 141442 h 288698"/>
                  <a:gd name="connsiteX2" fmla="*/ 108490 w 262318"/>
                  <a:gd name="connsiteY2" fmla="*/ 46002 h 288698"/>
                  <a:gd name="connsiteX3" fmla="*/ 186785 w 262318"/>
                  <a:gd name="connsiteY3" fmla="*/ 145824 h 288698"/>
                  <a:gd name="connsiteX4" fmla="*/ 150590 w 262318"/>
                  <a:gd name="connsiteY4" fmla="*/ 240502 h 288698"/>
                  <a:gd name="connsiteX5" fmla="*/ 110871 w 262318"/>
                  <a:gd name="connsiteY5" fmla="*/ 91 h 288698"/>
                  <a:gd name="connsiteX6" fmla="*/ 0 w 262318"/>
                  <a:gd name="connsiteY6" fmla="*/ 154873 h 288698"/>
                  <a:gd name="connsiteX7" fmla="*/ 128302 w 262318"/>
                  <a:gd name="connsiteY7" fmla="*/ 288699 h 288698"/>
                  <a:gd name="connsiteX8" fmla="*/ 262318 w 262318"/>
                  <a:gd name="connsiteY8" fmla="*/ 134965 h 288698"/>
                  <a:gd name="connsiteX9" fmla="*/ 110871 w 262318"/>
                  <a:gd name="connsiteY9" fmla="*/ 91 h 28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318" h="288698">
                    <a:moveTo>
                      <a:pt x="150590" y="240502"/>
                    </a:moveTo>
                    <a:cubicBezTo>
                      <a:pt x="103822" y="244408"/>
                      <a:pt x="67913" y="181638"/>
                      <a:pt x="67913" y="141442"/>
                    </a:cubicBezTo>
                    <a:cubicBezTo>
                      <a:pt x="67913" y="101247"/>
                      <a:pt x="95917" y="46002"/>
                      <a:pt x="108490" y="46002"/>
                    </a:cubicBezTo>
                    <a:cubicBezTo>
                      <a:pt x="137160" y="46002"/>
                      <a:pt x="186785" y="79244"/>
                      <a:pt x="186785" y="145824"/>
                    </a:cubicBezTo>
                    <a:cubicBezTo>
                      <a:pt x="186785" y="207546"/>
                      <a:pt x="158020" y="234597"/>
                      <a:pt x="150590" y="240502"/>
                    </a:cubicBezTo>
                    <a:close/>
                    <a:moveTo>
                      <a:pt x="110871" y="91"/>
                    </a:moveTo>
                    <a:cubicBezTo>
                      <a:pt x="65627" y="13712"/>
                      <a:pt x="0" y="40287"/>
                      <a:pt x="0" y="154873"/>
                    </a:cubicBezTo>
                    <a:cubicBezTo>
                      <a:pt x="0" y="250504"/>
                      <a:pt x="74676" y="288699"/>
                      <a:pt x="128302" y="288699"/>
                    </a:cubicBezTo>
                    <a:cubicBezTo>
                      <a:pt x="161925" y="288699"/>
                      <a:pt x="262318" y="254790"/>
                      <a:pt x="262318" y="134965"/>
                    </a:cubicBezTo>
                    <a:cubicBezTo>
                      <a:pt x="262414" y="53431"/>
                      <a:pt x="186023" y="-2576"/>
                      <a:pt x="110871" y="91"/>
                    </a:cubicBezTo>
                    <a:close/>
                  </a:path>
                </a:pathLst>
              </a:custGeom>
              <a:grpFill/>
              <a:ln w="9525" cap="flat">
                <a:noFill/>
                <a:prstDash val="solid"/>
                <a:miter/>
              </a:ln>
            </p:spPr>
            <p:txBody>
              <a:bodyPr rtlCol="0" anchor="ctr"/>
              <a:lstStyle/>
              <a:p>
                <a:endParaRPr lang="en-US" sz="1050"/>
              </a:p>
            </p:txBody>
          </p:sp>
        </p:grpSp>
        <p:sp>
          <p:nvSpPr>
            <p:cNvPr id="35" name="Vrije vorm: vorm 34">
              <a:extLst>
                <a:ext uri="{FF2B5EF4-FFF2-40B4-BE49-F238E27FC236}">
                  <a16:creationId xmlns:a16="http://schemas.microsoft.com/office/drawing/2014/main" id="{5FB5EB6F-D48D-43B7-B60B-E363CA6BBCBF}"/>
                </a:ext>
              </a:extLst>
            </p:cNvPr>
            <p:cNvSpPr/>
            <p:nvPr/>
          </p:nvSpPr>
          <p:spPr>
            <a:xfrm>
              <a:off x="6610866" y="4731155"/>
              <a:ext cx="2143791" cy="273843"/>
            </a:xfrm>
            <a:custGeom>
              <a:avLst/>
              <a:gdLst>
                <a:gd name="connsiteX0" fmla="*/ 2143792 w 2143791"/>
                <a:gd name="connsiteY0" fmla="*/ 273844 h 273843"/>
                <a:gd name="connsiteX1" fmla="*/ 2120837 w 2143791"/>
                <a:gd name="connsiteY1" fmla="*/ 264224 h 273843"/>
                <a:gd name="connsiteX2" fmla="*/ 2055209 w 2143791"/>
                <a:gd name="connsiteY2" fmla="*/ 239268 h 273843"/>
                <a:gd name="connsiteX3" fmla="*/ 2007965 w 2143791"/>
                <a:gd name="connsiteY3" fmla="*/ 223076 h 273843"/>
                <a:gd name="connsiteX4" fmla="*/ 1951958 w 2143791"/>
                <a:gd name="connsiteY4" fmla="*/ 205169 h 273843"/>
                <a:gd name="connsiteX5" fmla="*/ 1920907 w 2143791"/>
                <a:gd name="connsiteY5" fmla="*/ 195739 h 273843"/>
                <a:gd name="connsiteX6" fmla="*/ 1887760 w 2143791"/>
                <a:gd name="connsiteY6" fmla="*/ 186595 h 273843"/>
                <a:gd name="connsiteX7" fmla="*/ 1852993 w 2143791"/>
                <a:gd name="connsiteY7" fmla="*/ 176975 h 273843"/>
                <a:gd name="connsiteX8" fmla="*/ 1816322 w 2143791"/>
                <a:gd name="connsiteY8" fmla="*/ 167831 h 273843"/>
                <a:gd name="connsiteX9" fmla="*/ 1778127 w 2143791"/>
                <a:gd name="connsiteY9" fmla="*/ 158306 h 273843"/>
                <a:gd name="connsiteX10" fmla="*/ 1738217 w 2143791"/>
                <a:gd name="connsiteY10" fmla="*/ 149638 h 273843"/>
                <a:gd name="connsiteX11" fmla="*/ 1696974 w 2143791"/>
                <a:gd name="connsiteY11" fmla="*/ 140494 h 273843"/>
                <a:gd name="connsiteX12" fmla="*/ 1654207 w 2143791"/>
                <a:gd name="connsiteY12" fmla="*/ 132493 h 273843"/>
                <a:gd name="connsiteX13" fmla="*/ 1610297 w 2143791"/>
                <a:gd name="connsiteY13" fmla="*/ 124111 h 273843"/>
                <a:gd name="connsiteX14" fmla="*/ 1565053 w 2143791"/>
                <a:gd name="connsiteY14" fmla="*/ 116967 h 273843"/>
                <a:gd name="connsiteX15" fmla="*/ 1518857 w 2143791"/>
                <a:gd name="connsiteY15" fmla="*/ 109633 h 273843"/>
                <a:gd name="connsiteX16" fmla="*/ 1471613 w 2143791"/>
                <a:gd name="connsiteY16" fmla="*/ 103632 h 273843"/>
                <a:gd name="connsiteX17" fmla="*/ 1374743 w 2143791"/>
                <a:gd name="connsiteY17" fmla="*/ 92869 h 273843"/>
                <a:gd name="connsiteX18" fmla="*/ 1325309 w 2143791"/>
                <a:gd name="connsiteY18" fmla="*/ 88392 h 273843"/>
                <a:gd name="connsiteX19" fmla="*/ 1275302 w 2143791"/>
                <a:gd name="connsiteY19" fmla="*/ 84868 h 273843"/>
                <a:gd name="connsiteX20" fmla="*/ 1224820 w 2143791"/>
                <a:gd name="connsiteY20" fmla="*/ 82106 h 273843"/>
                <a:gd name="connsiteX21" fmla="*/ 1174052 w 2143791"/>
                <a:gd name="connsiteY21" fmla="*/ 79915 h 273843"/>
                <a:gd name="connsiteX22" fmla="*/ 1071848 w 2143791"/>
                <a:gd name="connsiteY22" fmla="*/ 78010 h 273843"/>
                <a:gd name="connsiteX23" fmla="*/ 969074 w 2143791"/>
                <a:gd name="connsiteY23" fmla="*/ 79915 h 273843"/>
                <a:gd name="connsiteX24" fmla="*/ 918305 w 2143791"/>
                <a:gd name="connsiteY24" fmla="*/ 82106 h 273843"/>
                <a:gd name="connsiteX25" fmla="*/ 868204 w 2143791"/>
                <a:gd name="connsiteY25" fmla="*/ 84868 h 273843"/>
                <a:gd name="connsiteX26" fmla="*/ 818388 w 2143791"/>
                <a:gd name="connsiteY26" fmla="*/ 88392 h 273843"/>
                <a:gd name="connsiteX27" fmla="*/ 768953 w 2143791"/>
                <a:gd name="connsiteY27" fmla="*/ 92773 h 273843"/>
                <a:gd name="connsiteX28" fmla="*/ 672084 w 2143791"/>
                <a:gd name="connsiteY28" fmla="*/ 103632 h 273843"/>
                <a:gd name="connsiteX29" fmla="*/ 624840 w 2143791"/>
                <a:gd name="connsiteY29" fmla="*/ 109633 h 273843"/>
                <a:gd name="connsiteX30" fmla="*/ 578739 w 2143791"/>
                <a:gd name="connsiteY30" fmla="*/ 116967 h 273843"/>
                <a:gd name="connsiteX31" fmla="*/ 533495 w 2143791"/>
                <a:gd name="connsiteY31" fmla="*/ 124111 h 273843"/>
                <a:gd name="connsiteX32" fmla="*/ 489585 w 2143791"/>
                <a:gd name="connsiteY32" fmla="*/ 132493 h 273843"/>
                <a:gd name="connsiteX33" fmla="*/ 446818 w 2143791"/>
                <a:gd name="connsiteY33" fmla="*/ 140494 h 273843"/>
                <a:gd name="connsiteX34" fmla="*/ 405575 w 2143791"/>
                <a:gd name="connsiteY34" fmla="*/ 149638 h 273843"/>
                <a:gd name="connsiteX35" fmla="*/ 365665 w 2143791"/>
                <a:gd name="connsiteY35" fmla="*/ 158306 h 273843"/>
                <a:gd name="connsiteX36" fmla="*/ 327470 w 2143791"/>
                <a:gd name="connsiteY36" fmla="*/ 167831 h 273843"/>
                <a:gd name="connsiteX37" fmla="*/ 290798 w 2143791"/>
                <a:gd name="connsiteY37" fmla="*/ 176975 h 273843"/>
                <a:gd name="connsiteX38" fmla="*/ 256032 w 2143791"/>
                <a:gd name="connsiteY38" fmla="*/ 186595 h 273843"/>
                <a:gd name="connsiteX39" fmla="*/ 222885 w 2143791"/>
                <a:gd name="connsiteY39" fmla="*/ 195739 h 273843"/>
                <a:gd name="connsiteX40" fmla="*/ 191834 w 2143791"/>
                <a:gd name="connsiteY40" fmla="*/ 205169 h 273843"/>
                <a:gd name="connsiteX41" fmla="*/ 135827 w 2143791"/>
                <a:gd name="connsiteY41" fmla="*/ 223076 h 273843"/>
                <a:gd name="connsiteX42" fmla="*/ 88583 w 2143791"/>
                <a:gd name="connsiteY42" fmla="*/ 239268 h 273843"/>
                <a:gd name="connsiteX43" fmla="*/ 22955 w 2143791"/>
                <a:gd name="connsiteY43" fmla="*/ 264128 h 273843"/>
                <a:gd name="connsiteX44" fmla="*/ 0 w 2143791"/>
                <a:gd name="connsiteY44" fmla="*/ 273844 h 273843"/>
                <a:gd name="connsiteX45" fmla="*/ 20955 w 2143791"/>
                <a:gd name="connsiteY45" fmla="*/ 260223 h 273843"/>
                <a:gd name="connsiteX46" fmla="*/ 82391 w 2143791"/>
                <a:gd name="connsiteY46" fmla="*/ 225171 h 273843"/>
                <a:gd name="connsiteX47" fmla="*/ 181547 w 2143791"/>
                <a:gd name="connsiteY47" fmla="*/ 177356 h 273843"/>
                <a:gd name="connsiteX48" fmla="*/ 211741 w 2143791"/>
                <a:gd name="connsiteY48" fmla="*/ 164211 h 273843"/>
                <a:gd name="connsiteX49" fmla="*/ 244031 w 2143791"/>
                <a:gd name="connsiteY49" fmla="*/ 151162 h 273843"/>
                <a:gd name="connsiteX50" fmla="*/ 278225 w 2143791"/>
                <a:gd name="connsiteY50" fmla="*/ 137732 h 273843"/>
                <a:gd name="connsiteX51" fmla="*/ 314516 w 2143791"/>
                <a:gd name="connsiteY51" fmla="*/ 124873 h 273843"/>
                <a:gd name="connsiteX52" fmla="*/ 352425 w 2143791"/>
                <a:gd name="connsiteY52" fmla="*/ 111728 h 273843"/>
                <a:gd name="connsiteX53" fmla="*/ 392240 w 2143791"/>
                <a:gd name="connsiteY53" fmla="*/ 99441 h 273843"/>
                <a:gd name="connsiteX54" fmla="*/ 433578 w 2143791"/>
                <a:gd name="connsiteY54" fmla="*/ 86868 h 273843"/>
                <a:gd name="connsiteX55" fmla="*/ 476631 w 2143791"/>
                <a:gd name="connsiteY55" fmla="*/ 75248 h 273843"/>
                <a:gd name="connsiteX56" fmla="*/ 520922 w 2143791"/>
                <a:gd name="connsiteY56" fmla="*/ 63818 h 273843"/>
                <a:gd name="connsiteX57" fmla="*/ 566738 w 2143791"/>
                <a:gd name="connsiteY57" fmla="*/ 53816 h 273843"/>
                <a:gd name="connsiteX58" fmla="*/ 613601 w 2143791"/>
                <a:gd name="connsiteY58" fmla="*/ 43815 h 273843"/>
                <a:gd name="connsiteX59" fmla="*/ 661702 w 2143791"/>
                <a:gd name="connsiteY59" fmla="*/ 35338 h 273843"/>
                <a:gd name="connsiteX60" fmla="*/ 710756 w 2143791"/>
                <a:gd name="connsiteY60" fmla="*/ 27051 h 273843"/>
                <a:gd name="connsiteX61" fmla="*/ 760762 w 2143791"/>
                <a:gd name="connsiteY61" fmla="*/ 20384 h 273843"/>
                <a:gd name="connsiteX62" fmla="*/ 862965 w 2143791"/>
                <a:gd name="connsiteY62" fmla="*/ 9430 h 273843"/>
                <a:gd name="connsiteX63" fmla="*/ 915162 w 2143791"/>
                <a:gd name="connsiteY63" fmla="*/ 5525 h 273843"/>
                <a:gd name="connsiteX64" fmla="*/ 967359 w 2143791"/>
                <a:gd name="connsiteY64" fmla="*/ 2572 h 273843"/>
                <a:gd name="connsiteX65" fmla="*/ 1071848 w 2143791"/>
                <a:gd name="connsiteY65" fmla="*/ 0 h 273843"/>
                <a:gd name="connsiteX66" fmla="*/ 1176909 w 2143791"/>
                <a:gd name="connsiteY66" fmla="*/ 2667 h 273843"/>
                <a:gd name="connsiteX67" fmla="*/ 1229106 w 2143791"/>
                <a:gd name="connsiteY67" fmla="*/ 5620 h 273843"/>
                <a:gd name="connsiteX68" fmla="*/ 1280922 w 2143791"/>
                <a:gd name="connsiteY68" fmla="*/ 9525 h 273843"/>
                <a:gd name="connsiteX69" fmla="*/ 1382935 w 2143791"/>
                <a:gd name="connsiteY69" fmla="*/ 20479 h 273843"/>
                <a:gd name="connsiteX70" fmla="*/ 1432941 w 2143791"/>
                <a:gd name="connsiteY70" fmla="*/ 27051 h 273843"/>
                <a:gd name="connsiteX71" fmla="*/ 1481995 w 2143791"/>
                <a:gd name="connsiteY71" fmla="*/ 35338 h 273843"/>
                <a:gd name="connsiteX72" fmla="*/ 1530096 w 2143791"/>
                <a:gd name="connsiteY72" fmla="*/ 43720 h 273843"/>
                <a:gd name="connsiteX73" fmla="*/ 1576959 w 2143791"/>
                <a:gd name="connsiteY73" fmla="*/ 53721 h 273843"/>
                <a:gd name="connsiteX74" fmla="*/ 1622774 w 2143791"/>
                <a:gd name="connsiteY74" fmla="*/ 63722 h 273843"/>
                <a:gd name="connsiteX75" fmla="*/ 1667066 w 2143791"/>
                <a:gd name="connsiteY75" fmla="*/ 75152 h 273843"/>
                <a:gd name="connsiteX76" fmla="*/ 1710118 w 2143791"/>
                <a:gd name="connsiteY76" fmla="*/ 86487 h 273843"/>
                <a:gd name="connsiteX77" fmla="*/ 1751457 w 2143791"/>
                <a:gd name="connsiteY77" fmla="*/ 99060 h 273843"/>
                <a:gd name="connsiteX78" fmla="*/ 1791272 w 2143791"/>
                <a:gd name="connsiteY78" fmla="*/ 111347 h 273843"/>
                <a:gd name="connsiteX79" fmla="*/ 1829181 w 2143791"/>
                <a:gd name="connsiteY79" fmla="*/ 124492 h 273843"/>
                <a:gd name="connsiteX80" fmla="*/ 1865471 w 2143791"/>
                <a:gd name="connsiteY80" fmla="*/ 137351 h 273843"/>
                <a:gd name="connsiteX81" fmla="*/ 1899666 w 2143791"/>
                <a:gd name="connsiteY81" fmla="*/ 150781 h 273843"/>
                <a:gd name="connsiteX82" fmla="*/ 1931956 w 2143791"/>
                <a:gd name="connsiteY82" fmla="*/ 163830 h 273843"/>
                <a:gd name="connsiteX83" fmla="*/ 1962150 w 2143791"/>
                <a:gd name="connsiteY83" fmla="*/ 176975 h 273843"/>
                <a:gd name="connsiteX84" fmla="*/ 2016252 w 2143791"/>
                <a:gd name="connsiteY84" fmla="*/ 201930 h 273843"/>
                <a:gd name="connsiteX85" fmla="*/ 2061305 w 2143791"/>
                <a:gd name="connsiteY85" fmla="*/ 224790 h 273843"/>
                <a:gd name="connsiteX86" fmla="*/ 2122742 w 2143791"/>
                <a:gd name="connsiteY86" fmla="*/ 259842 h 273843"/>
                <a:gd name="connsiteX87" fmla="*/ 2143792 w 2143791"/>
                <a:gd name="connsiteY87" fmla="*/ 273844 h 27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143791" h="273843">
                  <a:moveTo>
                    <a:pt x="2143792" y="273844"/>
                  </a:moveTo>
                  <a:cubicBezTo>
                    <a:pt x="2143792" y="273844"/>
                    <a:pt x="2135791" y="270320"/>
                    <a:pt x="2120837" y="264224"/>
                  </a:cubicBezTo>
                  <a:cubicBezTo>
                    <a:pt x="2105787" y="258032"/>
                    <a:pt x="2083594" y="249650"/>
                    <a:pt x="2055209" y="239268"/>
                  </a:cubicBezTo>
                  <a:cubicBezTo>
                    <a:pt x="2040922" y="234315"/>
                    <a:pt x="2025301" y="228410"/>
                    <a:pt x="2007965" y="223076"/>
                  </a:cubicBezTo>
                  <a:cubicBezTo>
                    <a:pt x="1990630" y="217551"/>
                    <a:pt x="1972151" y="210979"/>
                    <a:pt x="1951958" y="205169"/>
                  </a:cubicBezTo>
                  <a:cubicBezTo>
                    <a:pt x="1941957" y="202120"/>
                    <a:pt x="1931575" y="198977"/>
                    <a:pt x="1920907" y="195739"/>
                  </a:cubicBezTo>
                  <a:cubicBezTo>
                    <a:pt x="1910239" y="192595"/>
                    <a:pt x="1899095" y="189738"/>
                    <a:pt x="1887760" y="186595"/>
                  </a:cubicBezTo>
                  <a:cubicBezTo>
                    <a:pt x="1876425" y="183452"/>
                    <a:pt x="1864900" y="180213"/>
                    <a:pt x="1852993" y="176975"/>
                  </a:cubicBezTo>
                  <a:cubicBezTo>
                    <a:pt x="1840992" y="174022"/>
                    <a:pt x="1828800" y="170974"/>
                    <a:pt x="1816322" y="167831"/>
                  </a:cubicBezTo>
                  <a:cubicBezTo>
                    <a:pt x="1803845" y="164687"/>
                    <a:pt x="1791176" y="161544"/>
                    <a:pt x="1778127" y="158306"/>
                  </a:cubicBezTo>
                  <a:cubicBezTo>
                    <a:pt x="1765078" y="155448"/>
                    <a:pt x="1751743" y="152591"/>
                    <a:pt x="1738217" y="149638"/>
                  </a:cubicBezTo>
                  <a:cubicBezTo>
                    <a:pt x="1724692" y="146685"/>
                    <a:pt x="1710976" y="143637"/>
                    <a:pt x="1696974" y="140494"/>
                  </a:cubicBezTo>
                  <a:cubicBezTo>
                    <a:pt x="1682972" y="137827"/>
                    <a:pt x="1668685" y="135160"/>
                    <a:pt x="1654207" y="132493"/>
                  </a:cubicBezTo>
                  <a:cubicBezTo>
                    <a:pt x="1639729" y="129731"/>
                    <a:pt x="1625156" y="126968"/>
                    <a:pt x="1610297" y="124111"/>
                  </a:cubicBezTo>
                  <a:cubicBezTo>
                    <a:pt x="1595438" y="121730"/>
                    <a:pt x="1580293" y="119348"/>
                    <a:pt x="1565053" y="116967"/>
                  </a:cubicBezTo>
                  <a:cubicBezTo>
                    <a:pt x="1549813" y="114586"/>
                    <a:pt x="1534478" y="112109"/>
                    <a:pt x="1518857" y="109633"/>
                  </a:cubicBezTo>
                  <a:cubicBezTo>
                    <a:pt x="1503331" y="107347"/>
                    <a:pt x="1487519" y="105632"/>
                    <a:pt x="1471613" y="103632"/>
                  </a:cubicBezTo>
                  <a:cubicBezTo>
                    <a:pt x="1439799" y="99727"/>
                    <a:pt x="1407605" y="95250"/>
                    <a:pt x="1374743" y="92869"/>
                  </a:cubicBezTo>
                  <a:cubicBezTo>
                    <a:pt x="1358360" y="91440"/>
                    <a:pt x="1341882" y="89916"/>
                    <a:pt x="1325309" y="88392"/>
                  </a:cubicBezTo>
                  <a:cubicBezTo>
                    <a:pt x="1308735" y="86582"/>
                    <a:pt x="1292066" y="85725"/>
                    <a:pt x="1275302" y="84868"/>
                  </a:cubicBezTo>
                  <a:cubicBezTo>
                    <a:pt x="1258538" y="83915"/>
                    <a:pt x="1241679" y="83058"/>
                    <a:pt x="1224820" y="82106"/>
                  </a:cubicBezTo>
                  <a:cubicBezTo>
                    <a:pt x="1207961" y="81248"/>
                    <a:pt x="1191006" y="79915"/>
                    <a:pt x="1174052" y="79915"/>
                  </a:cubicBezTo>
                  <a:cubicBezTo>
                    <a:pt x="1140047" y="79248"/>
                    <a:pt x="1105948" y="78677"/>
                    <a:pt x="1071848" y="78010"/>
                  </a:cubicBezTo>
                  <a:cubicBezTo>
                    <a:pt x="1037558" y="78677"/>
                    <a:pt x="1003268" y="79248"/>
                    <a:pt x="969074" y="79915"/>
                  </a:cubicBezTo>
                  <a:cubicBezTo>
                    <a:pt x="951643" y="79915"/>
                    <a:pt x="935069" y="81344"/>
                    <a:pt x="918305" y="82106"/>
                  </a:cubicBezTo>
                  <a:cubicBezTo>
                    <a:pt x="901541" y="83058"/>
                    <a:pt x="884873" y="83915"/>
                    <a:pt x="868204" y="84868"/>
                  </a:cubicBezTo>
                  <a:cubicBezTo>
                    <a:pt x="851535" y="85725"/>
                    <a:pt x="834962" y="86582"/>
                    <a:pt x="818388" y="88392"/>
                  </a:cubicBezTo>
                  <a:cubicBezTo>
                    <a:pt x="801815" y="89916"/>
                    <a:pt x="785336" y="91345"/>
                    <a:pt x="768953" y="92773"/>
                  </a:cubicBezTo>
                  <a:cubicBezTo>
                    <a:pt x="736092" y="95155"/>
                    <a:pt x="703898" y="99727"/>
                    <a:pt x="672084" y="103632"/>
                  </a:cubicBezTo>
                  <a:cubicBezTo>
                    <a:pt x="656177" y="105632"/>
                    <a:pt x="640366" y="107347"/>
                    <a:pt x="624840" y="109633"/>
                  </a:cubicBezTo>
                  <a:cubicBezTo>
                    <a:pt x="609314" y="112109"/>
                    <a:pt x="593884" y="114586"/>
                    <a:pt x="578739" y="116967"/>
                  </a:cubicBezTo>
                  <a:cubicBezTo>
                    <a:pt x="563499" y="119348"/>
                    <a:pt x="548450" y="121730"/>
                    <a:pt x="533495" y="124111"/>
                  </a:cubicBezTo>
                  <a:cubicBezTo>
                    <a:pt x="518732" y="126968"/>
                    <a:pt x="504063" y="129731"/>
                    <a:pt x="489585" y="132493"/>
                  </a:cubicBezTo>
                  <a:cubicBezTo>
                    <a:pt x="475107" y="135160"/>
                    <a:pt x="460820" y="137922"/>
                    <a:pt x="446818" y="140494"/>
                  </a:cubicBezTo>
                  <a:cubicBezTo>
                    <a:pt x="432911" y="143542"/>
                    <a:pt x="419100" y="146590"/>
                    <a:pt x="405575" y="149638"/>
                  </a:cubicBezTo>
                  <a:cubicBezTo>
                    <a:pt x="392049" y="152591"/>
                    <a:pt x="378714" y="155448"/>
                    <a:pt x="365665" y="158306"/>
                  </a:cubicBezTo>
                  <a:cubicBezTo>
                    <a:pt x="352711" y="161544"/>
                    <a:pt x="339947" y="164783"/>
                    <a:pt x="327470" y="167831"/>
                  </a:cubicBezTo>
                  <a:cubicBezTo>
                    <a:pt x="314992" y="170974"/>
                    <a:pt x="302705" y="173927"/>
                    <a:pt x="290798" y="176975"/>
                  </a:cubicBezTo>
                  <a:cubicBezTo>
                    <a:pt x="278892" y="180308"/>
                    <a:pt x="267367" y="183452"/>
                    <a:pt x="256032" y="186595"/>
                  </a:cubicBezTo>
                  <a:cubicBezTo>
                    <a:pt x="244697" y="189738"/>
                    <a:pt x="233553" y="192500"/>
                    <a:pt x="222885" y="195739"/>
                  </a:cubicBezTo>
                  <a:cubicBezTo>
                    <a:pt x="212217" y="198977"/>
                    <a:pt x="201930" y="202120"/>
                    <a:pt x="191834" y="205169"/>
                  </a:cubicBezTo>
                  <a:cubicBezTo>
                    <a:pt x="171641" y="210979"/>
                    <a:pt x="153162" y="217551"/>
                    <a:pt x="135827" y="223076"/>
                  </a:cubicBezTo>
                  <a:cubicBezTo>
                    <a:pt x="118396" y="228505"/>
                    <a:pt x="102775" y="234315"/>
                    <a:pt x="88583" y="239268"/>
                  </a:cubicBezTo>
                  <a:cubicBezTo>
                    <a:pt x="60198" y="249555"/>
                    <a:pt x="37910" y="257937"/>
                    <a:pt x="22955" y="264128"/>
                  </a:cubicBezTo>
                  <a:cubicBezTo>
                    <a:pt x="8001" y="270415"/>
                    <a:pt x="0" y="273844"/>
                    <a:pt x="0" y="273844"/>
                  </a:cubicBezTo>
                  <a:cubicBezTo>
                    <a:pt x="0" y="273844"/>
                    <a:pt x="7049" y="268796"/>
                    <a:pt x="20955" y="260223"/>
                  </a:cubicBezTo>
                  <a:cubicBezTo>
                    <a:pt x="34862" y="251746"/>
                    <a:pt x="55340" y="239173"/>
                    <a:pt x="82391" y="225171"/>
                  </a:cubicBezTo>
                  <a:cubicBezTo>
                    <a:pt x="109347" y="210979"/>
                    <a:pt x="142399" y="194024"/>
                    <a:pt x="181547" y="177356"/>
                  </a:cubicBezTo>
                  <a:cubicBezTo>
                    <a:pt x="191262" y="173069"/>
                    <a:pt x="201359" y="168688"/>
                    <a:pt x="211741" y="164211"/>
                  </a:cubicBezTo>
                  <a:cubicBezTo>
                    <a:pt x="222123" y="159734"/>
                    <a:pt x="232981" y="155639"/>
                    <a:pt x="244031" y="151162"/>
                  </a:cubicBezTo>
                  <a:cubicBezTo>
                    <a:pt x="255175" y="146780"/>
                    <a:pt x="266605" y="142304"/>
                    <a:pt x="278225" y="137732"/>
                  </a:cubicBezTo>
                  <a:cubicBezTo>
                    <a:pt x="290036" y="133541"/>
                    <a:pt x="302133" y="129254"/>
                    <a:pt x="314516" y="124873"/>
                  </a:cubicBezTo>
                  <a:cubicBezTo>
                    <a:pt x="326898" y="120587"/>
                    <a:pt x="339566" y="116205"/>
                    <a:pt x="352425" y="111728"/>
                  </a:cubicBezTo>
                  <a:cubicBezTo>
                    <a:pt x="365474" y="107728"/>
                    <a:pt x="378714" y="103537"/>
                    <a:pt x="392240" y="99441"/>
                  </a:cubicBezTo>
                  <a:cubicBezTo>
                    <a:pt x="405765" y="95345"/>
                    <a:pt x="419576" y="91154"/>
                    <a:pt x="433578" y="86868"/>
                  </a:cubicBezTo>
                  <a:cubicBezTo>
                    <a:pt x="447675" y="82963"/>
                    <a:pt x="462058" y="79153"/>
                    <a:pt x="476631" y="75248"/>
                  </a:cubicBezTo>
                  <a:cubicBezTo>
                    <a:pt x="491204" y="71438"/>
                    <a:pt x="505968" y="67628"/>
                    <a:pt x="520922" y="63818"/>
                  </a:cubicBezTo>
                  <a:cubicBezTo>
                    <a:pt x="535972" y="60484"/>
                    <a:pt x="551307" y="57150"/>
                    <a:pt x="566738" y="53816"/>
                  </a:cubicBezTo>
                  <a:cubicBezTo>
                    <a:pt x="582168" y="50483"/>
                    <a:pt x="597884" y="47149"/>
                    <a:pt x="613601" y="43815"/>
                  </a:cubicBezTo>
                  <a:cubicBezTo>
                    <a:pt x="629412" y="40672"/>
                    <a:pt x="645509" y="38195"/>
                    <a:pt x="661702" y="35338"/>
                  </a:cubicBezTo>
                  <a:cubicBezTo>
                    <a:pt x="677894" y="32576"/>
                    <a:pt x="694277" y="29813"/>
                    <a:pt x="710756" y="27051"/>
                  </a:cubicBezTo>
                  <a:cubicBezTo>
                    <a:pt x="727234" y="24098"/>
                    <a:pt x="743998" y="22669"/>
                    <a:pt x="760762" y="20384"/>
                  </a:cubicBezTo>
                  <a:cubicBezTo>
                    <a:pt x="794385" y="16478"/>
                    <a:pt x="828199" y="11335"/>
                    <a:pt x="862965" y="9430"/>
                  </a:cubicBezTo>
                  <a:cubicBezTo>
                    <a:pt x="880301" y="8096"/>
                    <a:pt x="897731" y="6858"/>
                    <a:pt x="915162" y="5525"/>
                  </a:cubicBezTo>
                  <a:cubicBezTo>
                    <a:pt x="932593" y="4286"/>
                    <a:pt x="950309" y="2667"/>
                    <a:pt x="967359" y="2572"/>
                  </a:cubicBezTo>
                  <a:cubicBezTo>
                    <a:pt x="1002125" y="1715"/>
                    <a:pt x="1036987" y="857"/>
                    <a:pt x="1071848" y="0"/>
                  </a:cubicBezTo>
                  <a:cubicBezTo>
                    <a:pt x="1106900" y="857"/>
                    <a:pt x="1141952" y="1715"/>
                    <a:pt x="1176909" y="2667"/>
                  </a:cubicBezTo>
                  <a:cubicBezTo>
                    <a:pt x="1194340" y="2762"/>
                    <a:pt x="1211771" y="4382"/>
                    <a:pt x="1229106" y="5620"/>
                  </a:cubicBezTo>
                  <a:cubicBezTo>
                    <a:pt x="1246442" y="6953"/>
                    <a:pt x="1263777" y="8192"/>
                    <a:pt x="1280922" y="9525"/>
                  </a:cubicBezTo>
                  <a:cubicBezTo>
                    <a:pt x="1315403" y="11335"/>
                    <a:pt x="1349312" y="16574"/>
                    <a:pt x="1382935" y="20479"/>
                  </a:cubicBezTo>
                  <a:cubicBezTo>
                    <a:pt x="1399699" y="22765"/>
                    <a:pt x="1416463" y="24194"/>
                    <a:pt x="1432941" y="27051"/>
                  </a:cubicBezTo>
                  <a:cubicBezTo>
                    <a:pt x="1449419" y="29813"/>
                    <a:pt x="1465707" y="32576"/>
                    <a:pt x="1481995" y="35338"/>
                  </a:cubicBezTo>
                  <a:cubicBezTo>
                    <a:pt x="1498187" y="38195"/>
                    <a:pt x="1514285" y="40672"/>
                    <a:pt x="1530096" y="43720"/>
                  </a:cubicBezTo>
                  <a:cubicBezTo>
                    <a:pt x="1545908" y="47149"/>
                    <a:pt x="1561529" y="50483"/>
                    <a:pt x="1576959" y="53721"/>
                  </a:cubicBezTo>
                  <a:cubicBezTo>
                    <a:pt x="1592389" y="57150"/>
                    <a:pt x="1607630" y="60484"/>
                    <a:pt x="1622774" y="63722"/>
                  </a:cubicBezTo>
                  <a:cubicBezTo>
                    <a:pt x="1637729" y="67628"/>
                    <a:pt x="1652492" y="71438"/>
                    <a:pt x="1667066" y="75152"/>
                  </a:cubicBezTo>
                  <a:cubicBezTo>
                    <a:pt x="1681639" y="78962"/>
                    <a:pt x="1695926" y="82772"/>
                    <a:pt x="1710118" y="86487"/>
                  </a:cubicBezTo>
                  <a:cubicBezTo>
                    <a:pt x="1724120" y="90773"/>
                    <a:pt x="1737932" y="94869"/>
                    <a:pt x="1751457" y="99060"/>
                  </a:cubicBezTo>
                  <a:cubicBezTo>
                    <a:pt x="1764983" y="103251"/>
                    <a:pt x="1778222" y="107347"/>
                    <a:pt x="1791272" y="111347"/>
                  </a:cubicBezTo>
                  <a:cubicBezTo>
                    <a:pt x="1804130" y="115824"/>
                    <a:pt x="1816799" y="120206"/>
                    <a:pt x="1829181" y="124492"/>
                  </a:cubicBezTo>
                  <a:cubicBezTo>
                    <a:pt x="1841564" y="128873"/>
                    <a:pt x="1853660" y="133160"/>
                    <a:pt x="1865471" y="137351"/>
                  </a:cubicBezTo>
                  <a:cubicBezTo>
                    <a:pt x="1877187" y="141923"/>
                    <a:pt x="1888522" y="146399"/>
                    <a:pt x="1899666" y="150781"/>
                  </a:cubicBezTo>
                  <a:cubicBezTo>
                    <a:pt x="1910715" y="155258"/>
                    <a:pt x="1921574" y="159353"/>
                    <a:pt x="1931956" y="163830"/>
                  </a:cubicBezTo>
                  <a:cubicBezTo>
                    <a:pt x="1942338" y="168307"/>
                    <a:pt x="1952435" y="172783"/>
                    <a:pt x="1962150" y="176975"/>
                  </a:cubicBezTo>
                  <a:cubicBezTo>
                    <a:pt x="1981676" y="185261"/>
                    <a:pt x="1999774" y="193739"/>
                    <a:pt x="2016252" y="201930"/>
                  </a:cubicBezTo>
                  <a:cubicBezTo>
                    <a:pt x="2032826" y="209741"/>
                    <a:pt x="2047780" y="217837"/>
                    <a:pt x="2061305" y="224790"/>
                  </a:cubicBezTo>
                  <a:cubicBezTo>
                    <a:pt x="2088356" y="238887"/>
                    <a:pt x="2108835" y="251460"/>
                    <a:pt x="2122742" y="259842"/>
                  </a:cubicBezTo>
                  <a:cubicBezTo>
                    <a:pt x="2136648" y="268891"/>
                    <a:pt x="2143792" y="273844"/>
                    <a:pt x="2143792" y="273844"/>
                  </a:cubicBezTo>
                  <a:close/>
                </a:path>
              </a:pathLst>
            </a:custGeom>
            <a:grpFill/>
            <a:ln w="9525" cap="flat">
              <a:noFill/>
              <a:prstDash val="solid"/>
              <a:miter/>
            </a:ln>
          </p:spPr>
          <p:txBody>
            <a:bodyPr rtlCol="0" anchor="ctr"/>
            <a:lstStyle/>
            <a:p>
              <a:endParaRPr lang="en-US" sz="1050"/>
            </a:p>
          </p:txBody>
        </p:sp>
      </p:grpSp>
    </p:spTree>
    <p:extLst>
      <p:ext uri="{BB962C8B-B14F-4D97-AF65-F5344CB8AC3E}">
        <p14:creationId xmlns:p14="http://schemas.microsoft.com/office/powerpoint/2010/main" val="396815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
    <p:spTree>
      <p:nvGrpSpPr>
        <p:cNvPr id="1" name=""/>
        <p:cNvGrpSpPr/>
        <p:nvPr/>
      </p:nvGrpSpPr>
      <p:grpSpPr>
        <a:xfrm>
          <a:off x="0" y="0"/>
          <a:ext cx="0" cy="0"/>
          <a:chOff x="0" y="0"/>
          <a:chExt cx="0" cy="0"/>
        </a:xfrm>
      </p:grpSpPr>
      <p:sp>
        <p:nvSpPr>
          <p:cNvPr id="5" name="Tekstvak 4"/>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Blank</a:t>
            </a:r>
          </a:p>
        </p:txBody>
      </p:sp>
      <p:grpSp>
        <p:nvGrpSpPr>
          <p:cNvPr id="22" name="INSTRUCTION">
            <a:extLst>
              <a:ext uri="{FF2B5EF4-FFF2-40B4-BE49-F238E27FC236}">
                <a16:creationId xmlns:a16="http://schemas.microsoft.com/office/drawing/2014/main" id="{AEFFA678-176E-4873-8A5F-05210CA57300}"/>
              </a:ext>
            </a:extLst>
          </p:cNvPr>
          <p:cNvGrpSpPr/>
          <p:nvPr userDrawn="1"/>
        </p:nvGrpSpPr>
        <p:grpSpPr>
          <a:xfrm>
            <a:off x="4384" y="5274908"/>
            <a:ext cx="2795966" cy="1183043"/>
            <a:chOff x="5846" y="7033211"/>
            <a:chExt cx="3727954" cy="1577390"/>
          </a:xfrm>
        </p:grpSpPr>
        <p:sp>
          <p:nvSpPr>
            <p:cNvPr id="23" name="Rechthoek 22">
              <a:extLst>
                <a:ext uri="{FF2B5EF4-FFF2-40B4-BE49-F238E27FC236}">
                  <a16:creationId xmlns:a16="http://schemas.microsoft.com/office/drawing/2014/main" id="{9AA3262C-3452-41B2-ADC8-75BCB41D6190}"/>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24" name="Ovaal 23">
              <a:extLst>
                <a:ext uri="{FF2B5EF4-FFF2-40B4-BE49-F238E27FC236}">
                  <a16:creationId xmlns:a16="http://schemas.microsoft.com/office/drawing/2014/main" id="{7A591CF7-0866-4243-A7F2-AC3982DACB1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5" name="Rechthoek 24">
              <a:extLst>
                <a:ext uri="{FF2B5EF4-FFF2-40B4-BE49-F238E27FC236}">
                  <a16:creationId xmlns:a16="http://schemas.microsoft.com/office/drawing/2014/main" id="{C6A7E401-3495-4BD4-A5B5-5E81986C54FC}"/>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6" name="Ovaal 25">
              <a:extLst>
                <a:ext uri="{FF2B5EF4-FFF2-40B4-BE49-F238E27FC236}">
                  <a16:creationId xmlns:a16="http://schemas.microsoft.com/office/drawing/2014/main" id="{6DBEBB89-BBA1-4343-97BE-F0E0E4C58DFE}"/>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7" name="Rechthoek 26">
              <a:extLst>
                <a:ext uri="{FF2B5EF4-FFF2-40B4-BE49-F238E27FC236}">
                  <a16:creationId xmlns:a16="http://schemas.microsoft.com/office/drawing/2014/main" id="{4762E27F-1B40-47D0-9732-891C7AF704CA}"/>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28" name="Groep 27">
              <a:extLst>
                <a:ext uri="{FF2B5EF4-FFF2-40B4-BE49-F238E27FC236}">
                  <a16:creationId xmlns:a16="http://schemas.microsoft.com/office/drawing/2014/main" id="{AD9DED97-8914-418E-BF47-95EDBC804242}"/>
                </a:ext>
              </a:extLst>
            </p:cNvPr>
            <p:cNvGrpSpPr/>
            <p:nvPr userDrawn="1"/>
          </p:nvGrpSpPr>
          <p:grpSpPr>
            <a:xfrm>
              <a:off x="2939884" y="7739834"/>
              <a:ext cx="681133" cy="750023"/>
              <a:chOff x="-910573" y="4987990"/>
              <a:chExt cx="681133" cy="750023"/>
            </a:xfrm>
          </p:grpSpPr>
          <p:grpSp>
            <p:nvGrpSpPr>
              <p:cNvPr id="29" name="Groep 28">
                <a:extLst>
                  <a:ext uri="{FF2B5EF4-FFF2-40B4-BE49-F238E27FC236}">
                    <a16:creationId xmlns:a16="http://schemas.microsoft.com/office/drawing/2014/main" id="{5C793BD3-3C0E-4C60-A68B-99E7974B8A6B}"/>
                  </a:ext>
                </a:extLst>
              </p:cNvPr>
              <p:cNvGrpSpPr/>
              <p:nvPr userDrawn="1"/>
            </p:nvGrpSpPr>
            <p:grpSpPr>
              <a:xfrm>
                <a:off x="-713542" y="4987990"/>
                <a:ext cx="287071" cy="379107"/>
                <a:chOff x="-4050578" y="288410"/>
                <a:chExt cx="322125" cy="379107"/>
              </a:xfrm>
            </p:grpSpPr>
            <p:sp>
              <p:nvSpPr>
                <p:cNvPr id="31" name="Rechthoek met één afgeknipte en afgeronde hoek 47">
                  <a:extLst>
                    <a:ext uri="{FF2B5EF4-FFF2-40B4-BE49-F238E27FC236}">
                      <a16:creationId xmlns:a16="http://schemas.microsoft.com/office/drawing/2014/main" id="{775F5A8B-C782-42CC-AF38-852EF4FC915A}"/>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32" name="Rechthoekige driehoek 31">
                  <a:extLst>
                    <a:ext uri="{FF2B5EF4-FFF2-40B4-BE49-F238E27FC236}">
                      <a16:creationId xmlns:a16="http://schemas.microsoft.com/office/drawing/2014/main" id="{91489EA2-2795-4A52-803B-4B6029EC5D7A}"/>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33" name="Rechthoek 32">
                  <a:extLst>
                    <a:ext uri="{FF2B5EF4-FFF2-40B4-BE49-F238E27FC236}">
                      <a16:creationId xmlns:a16="http://schemas.microsoft.com/office/drawing/2014/main" id="{D067E827-6B59-4D1A-B03E-193678A41AFD}"/>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34" name="Rechthoek 33">
                  <a:extLst>
                    <a:ext uri="{FF2B5EF4-FFF2-40B4-BE49-F238E27FC236}">
                      <a16:creationId xmlns:a16="http://schemas.microsoft.com/office/drawing/2014/main" id="{73D681D2-E86B-401F-86A8-0FADFB152F03}"/>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30" name="Rechthoek 29">
                <a:extLst>
                  <a:ext uri="{FF2B5EF4-FFF2-40B4-BE49-F238E27FC236}">
                    <a16:creationId xmlns:a16="http://schemas.microsoft.com/office/drawing/2014/main" id="{22B1001B-373E-4E1A-A9FC-B9D76FE3D5C1}"/>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
        <p:nvSpPr>
          <p:cNvPr id="8" name="Tijdelijke aanduiding voor dianummer 5">
            <a:extLst>
              <a:ext uri="{FF2B5EF4-FFF2-40B4-BE49-F238E27FC236}">
                <a16:creationId xmlns:a16="http://schemas.microsoft.com/office/drawing/2014/main" id="{C4204D60-269B-68D6-F166-67E41F87045C}"/>
              </a:ext>
            </a:extLst>
          </p:cNvPr>
          <p:cNvSpPr>
            <a:spLocks noGrp="1"/>
          </p:cNvSpPr>
          <p:nvPr>
            <p:ph type="sldNum" sz="quarter" idx="4"/>
          </p:nvPr>
        </p:nvSpPr>
        <p:spPr>
          <a:xfrm>
            <a:off x="8553596" y="4796896"/>
            <a:ext cx="202500" cy="108569"/>
          </a:xfrm>
          <a:prstGeom prst="rect">
            <a:avLst/>
          </a:prstGeom>
        </p:spPr>
        <p:txBody>
          <a:bodyPr vert="horz" lIns="0" tIns="0" rIns="0" bIns="0" rtlCol="0" anchor="ctr"/>
          <a:lstStyle>
            <a:lvl1pPr algn="r">
              <a:defRPr sz="750" b="1">
                <a:solidFill>
                  <a:schemeClr val="accent1"/>
                </a:solidFill>
                <a:latin typeface="+mj-lt"/>
                <a:cs typeface="Segoe UI Light" panose="020B0502040204020203" pitchFamily="34" charset="0"/>
              </a:defRPr>
            </a:lvl1pPr>
          </a:lstStyle>
          <a:p>
            <a:fld id="{9E843DB9-9987-4157-AB9C-CEA8D7D910BB}" type="slidenum">
              <a:rPr lang="nl-NL" smtClean="0"/>
              <a:pPr/>
              <a:t>‹#›</a:t>
            </a:fld>
            <a:endParaRPr lang="nl-NL"/>
          </a:p>
        </p:txBody>
      </p:sp>
      <p:sp>
        <p:nvSpPr>
          <p:cNvPr id="2" name="Titel 1">
            <a:extLst>
              <a:ext uri="{FF2B5EF4-FFF2-40B4-BE49-F238E27FC236}">
                <a16:creationId xmlns:a16="http://schemas.microsoft.com/office/drawing/2014/main" id="{4E4ECCCC-95FF-68FC-470E-EA9B96055DBE}"/>
              </a:ext>
            </a:extLst>
          </p:cNvPr>
          <p:cNvSpPr>
            <a:spLocks noGrp="1"/>
          </p:cNvSpPr>
          <p:nvPr>
            <p:ph type="title" hasCustomPrompt="1"/>
          </p:nvPr>
        </p:nvSpPr>
        <p:spPr/>
        <p:txBody>
          <a:bodyPr/>
          <a:lstStyle/>
          <a:p>
            <a:r>
              <a:rPr lang="en-US" noProof="0"/>
              <a:t>Add a slide title here</a:t>
            </a:r>
            <a:endParaRPr lang="nl-NL"/>
          </a:p>
        </p:txBody>
      </p:sp>
      <p:sp>
        <p:nvSpPr>
          <p:cNvPr id="3" name="Tijdelijke aanduiding voor verticale tekst 2">
            <a:extLst>
              <a:ext uri="{FF2B5EF4-FFF2-40B4-BE49-F238E27FC236}">
                <a16:creationId xmlns:a16="http://schemas.microsoft.com/office/drawing/2014/main" id="{92E8C452-E92F-F800-9ACC-07D6A00FCD9A}"/>
              </a:ext>
            </a:extLst>
          </p:cNvPr>
          <p:cNvSpPr>
            <a:spLocks noGrp="1"/>
          </p:cNvSpPr>
          <p:nvPr>
            <p:ph type="body" orient="vert" idx="10" hasCustomPrompt="1"/>
          </p:nvPr>
        </p:nvSpPr>
        <p:spPr>
          <a:xfrm>
            <a:off x="395526" y="466960"/>
            <a:ext cx="8360570" cy="181606"/>
          </a:xfrm>
        </p:spPr>
        <p:txBody>
          <a:bodyPr vert="horz" lIns="0" tIns="0" rIns="0" bIns="0"/>
          <a:lstStyle>
            <a:lvl1pPr marL="0" indent="0">
              <a:buNone/>
              <a:defRPr sz="1050" b="1">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en-US" noProof="0"/>
              <a:t>Subtitle </a:t>
            </a:r>
          </a:p>
        </p:txBody>
      </p:sp>
    </p:spTree>
    <p:extLst>
      <p:ext uri="{BB962C8B-B14F-4D97-AF65-F5344CB8AC3E}">
        <p14:creationId xmlns:p14="http://schemas.microsoft.com/office/powerpoint/2010/main" val="4222226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00%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23875" y="435769"/>
            <a:ext cx="8081303" cy="516848"/>
          </a:xfrm>
        </p:spPr>
        <p:txBody>
          <a:bodyPr lIns="0" tIns="0" rIns="0" bIns="0"/>
          <a:lstStyle>
            <a:lvl1pPr>
              <a:defRPr/>
            </a:lvl1pPr>
          </a:lstStyle>
          <a:p>
            <a:r>
              <a:rPr lang="en-US" noProof="0"/>
              <a:t>Add a slide title, </a:t>
            </a:r>
            <a:br>
              <a:rPr lang="en-US" noProof="0"/>
            </a:br>
            <a:r>
              <a:rPr lang="en-US" noProof="0"/>
              <a:t>max.2 lines</a:t>
            </a:r>
          </a:p>
        </p:txBody>
      </p:sp>
      <p:sp>
        <p:nvSpPr>
          <p:cNvPr id="3" name="Tijdelijke aanduiding voor verticale tekst 2"/>
          <p:cNvSpPr>
            <a:spLocks noGrp="1"/>
          </p:cNvSpPr>
          <p:nvPr>
            <p:ph type="body" orient="vert" idx="1" hasCustomPrompt="1"/>
          </p:nvPr>
        </p:nvSpPr>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Bullet</a:t>
            </a:r>
          </a:p>
          <a:p>
            <a:pPr lvl="1"/>
            <a:r>
              <a:rPr lang="en-US" noProof="0"/>
              <a:t>Sub-bullet</a:t>
            </a:r>
          </a:p>
          <a:p>
            <a:pPr lvl="2"/>
            <a:r>
              <a:rPr lang="en-US" noProof="0"/>
              <a:t>Default text</a:t>
            </a:r>
          </a:p>
          <a:p>
            <a:pPr lvl="3"/>
            <a:r>
              <a:rPr lang="en-US" noProof="0"/>
              <a:t>Subtitle</a:t>
            </a:r>
          </a:p>
          <a:p>
            <a:pPr lvl="4"/>
            <a:r>
              <a:rPr lang="en-US" noProof="0"/>
              <a:t>Numerical bullet</a:t>
            </a:r>
          </a:p>
          <a:p>
            <a:pPr lvl="5"/>
            <a:r>
              <a:rPr lang="en-US" noProof="0"/>
              <a:t>Bullet</a:t>
            </a:r>
          </a:p>
          <a:p>
            <a:pPr lvl="6"/>
            <a:r>
              <a:rPr lang="en-US" noProof="0"/>
              <a:t>Sub-bullet</a:t>
            </a:r>
          </a:p>
          <a:p>
            <a:pPr lvl="7"/>
            <a:r>
              <a:rPr lang="en-US" noProof="0"/>
              <a:t>Default text</a:t>
            </a:r>
          </a:p>
          <a:p>
            <a:pPr lvl="8"/>
            <a:r>
              <a:rPr lang="en-US" noProof="0"/>
              <a:t>Subtitle</a:t>
            </a:r>
          </a:p>
        </p:txBody>
      </p:sp>
      <p:sp>
        <p:nvSpPr>
          <p:cNvPr id="97" name="Tekstvak 96">
            <a:extLst>
              <a:ext uri="{FF2B5EF4-FFF2-40B4-BE49-F238E27FC236}">
                <a16:creationId xmlns:a16="http://schemas.microsoft.com/office/drawing/2014/main" id="{42C150F0-5342-4A57-8E37-9B1ABFD5C2B9}"/>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Large Text</a:t>
            </a:r>
          </a:p>
        </p:txBody>
      </p:sp>
      <p:grpSp>
        <p:nvGrpSpPr>
          <p:cNvPr id="87" name="Groep 86">
            <a:extLst>
              <a:ext uri="{FF2B5EF4-FFF2-40B4-BE49-F238E27FC236}">
                <a16:creationId xmlns:a16="http://schemas.microsoft.com/office/drawing/2014/main" id="{52CA8C39-F5D8-4E5C-9B57-141139780487}"/>
              </a:ext>
            </a:extLst>
          </p:cNvPr>
          <p:cNvGrpSpPr/>
          <p:nvPr userDrawn="1"/>
        </p:nvGrpSpPr>
        <p:grpSpPr>
          <a:xfrm>
            <a:off x="-2839623" y="0"/>
            <a:ext cx="2694818" cy="3481004"/>
            <a:chOff x="-3786165" y="0"/>
            <a:chExt cx="3593091" cy="4641338"/>
          </a:xfrm>
        </p:grpSpPr>
        <p:sp>
          <p:nvSpPr>
            <p:cNvPr id="136" name="Rechthoek 135">
              <a:extLst>
                <a:ext uri="{FF2B5EF4-FFF2-40B4-BE49-F238E27FC236}">
                  <a16:creationId xmlns:a16="http://schemas.microsoft.com/office/drawing/2014/main" id="{46E9C3EE-D8D8-463A-BCAF-3CE4F520C578}"/>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137" name="Ovaal 136">
              <a:extLst>
                <a:ext uri="{FF2B5EF4-FFF2-40B4-BE49-F238E27FC236}">
                  <a16:creationId xmlns:a16="http://schemas.microsoft.com/office/drawing/2014/main" id="{21E0A928-0F7F-4D00-831A-56F326E8211B}"/>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8" name="Rechthoek 137">
              <a:extLst>
                <a:ext uri="{FF2B5EF4-FFF2-40B4-BE49-F238E27FC236}">
                  <a16:creationId xmlns:a16="http://schemas.microsoft.com/office/drawing/2014/main" id="{80753AF6-00E5-41B9-9406-A4A542D241B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sp>
          <p:nvSpPr>
            <p:cNvPr id="139" name="Ovaal 138">
              <a:extLst>
                <a:ext uri="{FF2B5EF4-FFF2-40B4-BE49-F238E27FC236}">
                  <a16:creationId xmlns:a16="http://schemas.microsoft.com/office/drawing/2014/main" id="{15AF3AB5-9780-4E41-9A08-C52710D73E17}"/>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0" name="Rechthoek 139">
              <a:extLst>
                <a:ext uri="{FF2B5EF4-FFF2-40B4-BE49-F238E27FC236}">
                  <a16:creationId xmlns:a16="http://schemas.microsoft.com/office/drawing/2014/main" id="{F646D6E4-8B8A-4953-8524-848184299E69}"/>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1" name="Rechthoek 140">
              <a:extLst>
                <a:ext uri="{FF2B5EF4-FFF2-40B4-BE49-F238E27FC236}">
                  <a16:creationId xmlns:a16="http://schemas.microsoft.com/office/drawing/2014/main" id="{C1B27E25-1AA6-4F4D-8F69-A0CD361F23F5}"/>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142" name="Ovaal 141">
              <a:extLst>
                <a:ext uri="{FF2B5EF4-FFF2-40B4-BE49-F238E27FC236}">
                  <a16:creationId xmlns:a16="http://schemas.microsoft.com/office/drawing/2014/main" id="{C8490AAC-398B-4996-ADF2-70D3A364D45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3" name="Rechthoek 142">
              <a:extLst>
                <a:ext uri="{FF2B5EF4-FFF2-40B4-BE49-F238E27FC236}">
                  <a16:creationId xmlns:a16="http://schemas.microsoft.com/office/drawing/2014/main" id="{DCC1E0C2-8F48-4AF9-AD05-5868CD433247}"/>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144" name="Ovaal 143">
              <a:extLst>
                <a:ext uri="{FF2B5EF4-FFF2-40B4-BE49-F238E27FC236}">
                  <a16:creationId xmlns:a16="http://schemas.microsoft.com/office/drawing/2014/main" id="{C5C29628-61C1-4CD7-BA25-4DDB267861A5}"/>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45" name="Rechthoek 144">
              <a:extLst>
                <a:ext uri="{FF2B5EF4-FFF2-40B4-BE49-F238E27FC236}">
                  <a16:creationId xmlns:a16="http://schemas.microsoft.com/office/drawing/2014/main" id="{C82C999B-9689-48FF-A5DB-994C2FC20B0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chemeClr val="accent1"/>
                </a:buClr>
                <a:buSzTx/>
                <a:buFont typeface="Arial" panose="020B0604020202020204" pitchFamily="34" charset="0"/>
                <a:buNone/>
                <a:tabLst/>
                <a:defRPr/>
              </a:pPr>
              <a:r>
                <a:rPr lang="en-US" sz="1200" b="1" kern="1200" cap="none" spc="23" baseline="0" noProof="0">
                  <a:solidFill>
                    <a:schemeClr val="tx2">
                      <a:lumMod val="50000"/>
                    </a:schemeClr>
                  </a:solidFill>
                  <a:latin typeface="+mj-lt"/>
                  <a:ea typeface="+mn-ea"/>
                  <a:cs typeface="Calibri" panose="020F0502020204030204" pitchFamily="34" charset="0"/>
                </a:rPr>
                <a:t>Subtitle</a:t>
              </a:r>
            </a:p>
          </p:txBody>
        </p:sp>
        <p:sp>
          <p:nvSpPr>
            <p:cNvPr id="146" name="Ovaal 145">
              <a:extLst>
                <a:ext uri="{FF2B5EF4-FFF2-40B4-BE49-F238E27FC236}">
                  <a16:creationId xmlns:a16="http://schemas.microsoft.com/office/drawing/2014/main" id="{58066AD6-ED44-4493-8C31-8FDAE4B486EE}"/>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47" name="Rechthoek 146">
              <a:extLst>
                <a:ext uri="{FF2B5EF4-FFF2-40B4-BE49-F238E27FC236}">
                  <a16:creationId xmlns:a16="http://schemas.microsoft.com/office/drawing/2014/main" id="{A4DCAFE8-ACA0-4759-82BE-67B2B254CA35}"/>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03597" marR="0" lvl="4" indent="-203597" algn="l" defTabSz="539354" rtl="0" eaLnBrk="1" fontAlgn="auto" latinLnBrk="0" hangingPunct="1">
                <a:lnSpc>
                  <a:spcPct val="100000"/>
                </a:lnSpc>
                <a:spcBef>
                  <a:spcPts val="225"/>
                </a:spcBef>
                <a:spcAft>
                  <a:spcPts val="450"/>
                </a:spcAft>
                <a:buClr>
                  <a:srgbClr val="3F3F3F"/>
                </a:buClr>
                <a:buSzTx/>
                <a:buFont typeface="+mj-lt"/>
                <a:buAutoNum type="arabicPeriod"/>
                <a:tabLst/>
                <a:defRPr/>
              </a:pPr>
              <a:r>
                <a:rPr kumimoji="0" lang="en-US" sz="900" b="0" i="0" u="none" strike="noStrike" kern="1200" cap="none" spc="0" normalizeH="0" baseline="0" noProof="0">
                  <a:ln>
                    <a:noFill/>
                  </a:ln>
                  <a:solidFill>
                    <a:schemeClr val="tx2">
                      <a:lumMod val="50000"/>
                    </a:schemeClr>
                  </a:solidFill>
                  <a:effectLst/>
                  <a:uLnTx/>
                  <a:uFillTx/>
                  <a:latin typeface="+mn-lt"/>
                  <a:ea typeface="+mn-ea"/>
                  <a:cs typeface="+mn-cs"/>
                </a:rPr>
                <a:t>Numerical bullet</a:t>
              </a:r>
            </a:p>
          </p:txBody>
        </p:sp>
        <p:sp>
          <p:nvSpPr>
            <p:cNvPr id="148" name="Ovaal 147">
              <a:extLst>
                <a:ext uri="{FF2B5EF4-FFF2-40B4-BE49-F238E27FC236}">
                  <a16:creationId xmlns:a16="http://schemas.microsoft.com/office/drawing/2014/main" id="{D28127DC-7580-461A-A456-5E560B677E62}"/>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49" name="Rechthoek 148">
              <a:extLst>
                <a:ext uri="{FF2B5EF4-FFF2-40B4-BE49-F238E27FC236}">
                  <a16:creationId xmlns:a16="http://schemas.microsoft.com/office/drawing/2014/main" id="{B39D9938-47C7-4750-8688-62ADC4657FA8}"/>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150" name="Ovaal 149">
              <a:extLst>
                <a:ext uri="{FF2B5EF4-FFF2-40B4-BE49-F238E27FC236}">
                  <a16:creationId xmlns:a16="http://schemas.microsoft.com/office/drawing/2014/main" id="{3209FB2D-811C-4ED9-933A-944EE647BE30}"/>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51" name="Rechthoek 150">
              <a:extLst>
                <a:ext uri="{FF2B5EF4-FFF2-40B4-BE49-F238E27FC236}">
                  <a16:creationId xmlns:a16="http://schemas.microsoft.com/office/drawing/2014/main" id="{90F0E185-0F33-4D28-8C66-5F9BDCAD01A0}"/>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152" name="Ovaal 151">
              <a:extLst>
                <a:ext uri="{FF2B5EF4-FFF2-40B4-BE49-F238E27FC236}">
                  <a16:creationId xmlns:a16="http://schemas.microsoft.com/office/drawing/2014/main" id="{0028AA64-F68D-43BE-AAF3-55DE4A13A79E}"/>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53" name="Rechthoek 152">
              <a:extLst>
                <a:ext uri="{FF2B5EF4-FFF2-40B4-BE49-F238E27FC236}">
                  <a16:creationId xmlns:a16="http://schemas.microsoft.com/office/drawing/2014/main" id="{F916A5F4-36AA-4D7B-8A87-F08D520526A6}"/>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rgbClr val="04A64B"/>
                </a:buClr>
                <a:buSzTx/>
                <a:buFont typeface="Arial" panose="020B0604020202020204" pitchFamily="34" charset="0"/>
                <a:buNone/>
                <a:tabLst/>
                <a:defRPr/>
              </a:pPr>
              <a:r>
                <a:rPr kumimoji="0" lang="en-US" sz="1200" b="1" i="0" u="none" strike="noStrike" kern="1200" cap="none" spc="23" normalizeH="0" baseline="0" noProof="0">
                  <a:ln>
                    <a:noFill/>
                  </a:ln>
                  <a:solidFill>
                    <a:srgbClr val="3F3F3F">
                      <a:lumMod val="50000"/>
                    </a:srgbClr>
                  </a:solidFill>
                  <a:effectLst/>
                  <a:uLnTx/>
                  <a:uFillTx/>
                  <a:latin typeface="+mn-lt"/>
                  <a:ea typeface="+mn-ea"/>
                  <a:cs typeface="Calibri" panose="020F0502020204030204" pitchFamily="34" charset="0"/>
                </a:rPr>
                <a:t>Subtitle</a:t>
              </a:r>
            </a:p>
          </p:txBody>
        </p:sp>
        <p:sp>
          <p:nvSpPr>
            <p:cNvPr id="154" name="Ovaal 153">
              <a:extLst>
                <a:ext uri="{FF2B5EF4-FFF2-40B4-BE49-F238E27FC236}">
                  <a16:creationId xmlns:a16="http://schemas.microsoft.com/office/drawing/2014/main" id="{E03CE728-56C6-472E-8951-0A63FB1EED11}"/>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55" name="Rechthoek 154">
              <a:extLst>
                <a:ext uri="{FF2B5EF4-FFF2-40B4-BE49-F238E27FC236}">
                  <a16:creationId xmlns:a16="http://schemas.microsoft.com/office/drawing/2014/main" id="{60A8B16D-AB8D-43D7-9233-4745113E8E79}"/>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grpSp>
          <p:nvGrpSpPr>
            <p:cNvPr id="158" name="VOORBEELD">
              <a:extLst>
                <a:ext uri="{FF2B5EF4-FFF2-40B4-BE49-F238E27FC236}">
                  <a16:creationId xmlns:a16="http://schemas.microsoft.com/office/drawing/2014/main" id="{4A3997CF-DE47-4981-BB59-9909899AD447}"/>
                </a:ext>
              </a:extLst>
            </p:cNvPr>
            <p:cNvGrpSpPr/>
            <p:nvPr userDrawn="1"/>
          </p:nvGrpSpPr>
          <p:grpSpPr>
            <a:xfrm>
              <a:off x="-3605171" y="458674"/>
              <a:ext cx="3234311" cy="558875"/>
              <a:chOff x="-3605171" y="458674"/>
              <a:chExt cx="3234311" cy="558875"/>
            </a:xfrm>
          </p:grpSpPr>
          <p:sp>
            <p:nvSpPr>
              <p:cNvPr id="159" name="Rechthoek 158">
                <a:extLst>
                  <a:ext uri="{FF2B5EF4-FFF2-40B4-BE49-F238E27FC236}">
                    <a16:creationId xmlns:a16="http://schemas.microsoft.com/office/drawing/2014/main" id="{FE4338E9-7901-4F9D-A2F6-4AD4178001C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675" b="1" noProof="0">
                    <a:solidFill>
                      <a:srgbClr val="211F26"/>
                    </a:solidFill>
                    <a:latin typeface="Calibri" panose="020F0502020204030204" pitchFamily="34" charset="0"/>
                    <a:cs typeface="Calibri" panose="020F0502020204030204" pitchFamily="34" charset="0"/>
                  </a:rPr>
                  <a:t>Home</a:t>
                </a:r>
              </a:p>
            </p:txBody>
          </p:sp>
          <p:sp>
            <p:nvSpPr>
              <p:cNvPr id="160" name="Rechthoek 159">
                <a:extLst>
                  <a:ext uri="{FF2B5EF4-FFF2-40B4-BE49-F238E27FC236}">
                    <a16:creationId xmlns:a16="http://schemas.microsoft.com/office/drawing/2014/main" id="{2D83323D-B505-49AD-80B7-FA8A642967B9}"/>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161" name="Groep 160">
                <a:extLst>
                  <a:ext uri="{FF2B5EF4-FFF2-40B4-BE49-F238E27FC236}">
                    <a16:creationId xmlns:a16="http://schemas.microsoft.com/office/drawing/2014/main" id="{A74E75BA-2F86-48EA-B40D-9C714C35239A}"/>
                  </a:ext>
                </a:extLst>
              </p:cNvPr>
              <p:cNvGrpSpPr/>
              <p:nvPr userDrawn="1"/>
            </p:nvGrpSpPr>
            <p:grpSpPr>
              <a:xfrm>
                <a:off x="-3386247" y="830871"/>
                <a:ext cx="139423" cy="109566"/>
                <a:chOff x="-2866744" y="827071"/>
                <a:chExt cx="168701" cy="132575"/>
              </a:xfrm>
            </p:grpSpPr>
            <p:grpSp>
              <p:nvGrpSpPr>
                <p:cNvPr id="192" name="Groep 191">
                  <a:extLst>
                    <a:ext uri="{FF2B5EF4-FFF2-40B4-BE49-F238E27FC236}">
                      <a16:creationId xmlns:a16="http://schemas.microsoft.com/office/drawing/2014/main" id="{B77B7346-2EAC-46A6-B7FF-102A2BB9C91D}"/>
                    </a:ext>
                  </a:extLst>
                </p:cNvPr>
                <p:cNvGrpSpPr/>
                <p:nvPr userDrawn="1"/>
              </p:nvGrpSpPr>
              <p:grpSpPr>
                <a:xfrm>
                  <a:off x="-2866744" y="827071"/>
                  <a:ext cx="168701" cy="132575"/>
                  <a:chOff x="-2866744" y="827071"/>
                  <a:chExt cx="168701" cy="132575"/>
                </a:xfrm>
              </p:grpSpPr>
              <p:cxnSp>
                <p:nvCxnSpPr>
                  <p:cNvPr id="194" name="Rechte verbindingslijn 193">
                    <a:extLst>
                      <a:ext uri="{FF2B5EF4-FFF2-40B4-BE49-F238E27FC236}">
                        <a16:creationId xmlns:a16="http://schemas.microsoft.com/office/drawing/2014/main" id="{295338EA-8E58-4158-A95F-BB41B817330A}"/>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95" name="Rechte verbindingslijn 194">
                    <a:extLst>
                      <a:ext uri="{FF2B5EF4-FFF2-40B4-BE49-F238E27FC236}">
                        <a16:creationId xmlns:a16="http://schemas.microsoft.com/office/drawing/2014/main" id="{63D15F1F-2F8B-4C5B-81E7-8CC97464FDA3}"/>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96" name="Rechte verbindingslijn 195">
                    <a:extLst>
                      <a:ext uri="{FF2B5EF4-FFF2-40B4-BE49-F238E27FC236}">
                        <a16:creationId xmlns:a16="http://schemas.microsoft.com/office/drawing/2014/main" id="{8898284F-3A7D-48A9-AE9D-A7EC4480C8B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97" name="Rechte verbindingslijn 196">
                    <a:extLst>
                      <a:ext uri="{FF2B5EF4-FFF2-40B4-BE49-F238E27FC236}">
                        <a16:creationId xmlns:a16="http://schemas.microsoft.com/office/drawing/2014/main" id="{37E6D7C8-BB04-4A20-81C4-5D03E9BFAF5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98" name="Rechte verbindingslijn 197">
                    <a:extLst>
                      <a:ext uri="{FF2B5EF4-FFF2-40B4-BE49-F238E27FC236}">
                        <a16:creationId xmlns:a16="http://schemas.microsoft.com/office/drawing/2014/main" id="{5DB11DB2-A28B-4EC1-A310-61C36F5ACCB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93" name="Pijl: rechts 192">
                  <a:extLst>
                    <a:ext uri="{FF2B5EF4-FFF2-40B4-BE49-F238E27FC236}">
                      <a16:creationId xmlns:a16="http://schemas.microsoft.com/office/drawing/2014/main" id="{8F384310-4813-48F3-9F73-58C6E98A8C0F}"/>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162" name="Groep 161">
                <a:extLst>
                  <a:ext uri="{FF2B5EF4-FFF2-40B4-BE49-F238E27FC236}">
                    <a16:creationId xmlns:a16="http://schemas.microsoft.com/office/drawing/2014/main" id="{13AD27EA-6BAC-4D23-B499-A0A8EA6991E6}"/>
                  </a:ext>
                </a:extLst>
              </p:cNvPr>
              <p:cNvGrpSpPr/>
              <p:nvPr userDrawn="1"/>
            </p:nvGrpSpPr>
            <p:grpSpPr>
              <a:xfrm>
                <a:off x="-3605171" y="830871"/>
                <a:ext cx="139423" cy="109566"/>
                <a:chOff x="-2866744" y="518074"/>
                <a:chExt cx="168701" cy="132575"/>
              </a:xfrm>
            </p:grpSpPr>
            <p:grpSp>
              <p:nvGrpSpPr>
                <p:cNvPr id="185" name="Groep 184">
                  <a:extLst>
                    <a:ext uri="{FF2B5EF4-FFF2-40B4-BE49-F238E27FC236}">
                      <a16:creationId xmlns:a16="http://schemas.microsoft.com/office/drawing/2014/main" id="{CB81A784-A3B7-4A1D-BB5B-1CBA2F4DBE85}"/>
                    </a:ext>
                  </a:extLst>
                </p:cNvPr>
                <p:cNvGrpSpPr/>
                <p:nvPr userDrawn="1"/>
              </p:nvGrpSpPr>
              <p:grpSpPr>
                <a:xfrm>
                  <a:off x="-2866744" y="518074"/>
                  <a:ext cx="168701" cy="132575"/>
                  <a:chOff x="-2866744" y="518074"/>
                  <a:chExt cx="168701" cy="132575"/>
                </a:xfrm>
              </p:grpSpPr>
              <p:cxnSp>
                <p:nvCxnSpPr>
                  <p:cNvPr id="187" name="Rechte verbindingslijn 186">
                    <a:extLst>
                      <a:ext uri="{FF2B5EF4-FFF2-40B4-BE49-F238E27FC236}">
                        <a16:creationId xmlns:a16="http://schemas.microsoft.com/office/drawing/2014/main" id="{624FCA61-E734-4F7F-ADFB-0FD0DB143B1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88" name="Rechte verbindingslijn 187">
                    <a:extLst>
                      <a:ext uri="{FF2B5EF4-FFF2-40B4-BE49-F238E27FC236}">
                        <a16:creationId xmlns:a16="http://schemas.microsoft.com/office/drawing/2014/main" id="{246B1C13-D2BB-4EEE-A07A-BB62E99C067C}"/>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89" name="Rechte verbindingslijn 188">
                    <a:extLst>
                      <a:ext uri="{FF2B5EF4-FFF2-40B4-BE49-F238E27FC236}">
                        <a16:creationId xmlns:a16="http://schemas.microsoft.com/office/drawing/2014/main" id="{5F5302CB-B5D9-4A57-8635-7A7D9E395609}"/>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90" name="Rechte verbindingslijn 189">
                    <a:extLst>
                      <a:ext uri="{FF2B5EF4-FFF2-40B4-BE49-F238E27FC236}">
                        <a16:creationId xmlns:a16="http://schemas.microsoft.com/office/drawing/2014/main" id="{2B0BC60D-BF5D-407A-BAF2-95E27341F40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91" name="Rechte verbindingslijn 190">
                    <a:extLst>
                      <a:ext uri="{FF2B5EF4-FFF2-40B4-BE49-F238E27FC236}">
                        <a16:creationId xmlns:a16="http://schemas.microsoft.com/office/drawing/2014/main" id="{53F73DF3-6D82-4C3A-87AF-1D5478290133}"/>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86" name="Pijl: rechts 185">
                  <a:extLst>
                    <a:ext uri="{FF2B5EF4-FFF2-40B4-BE49-F238E27FC236}">
                      <a16:creationId xmlns:a16="http://schemas.microsoft.com/office/drawing/2014/main" id="{8F16B492-273A-4D43-904A-280A4170941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cxnSp>
            <p:nvCxnSpPr>
              <p:cNvPr id="163" name="Rechte verbindingslijn 162">
                <a:extLst>
                  <a:ext uri="{FF2B5EF4-FFF2-40B4-BE49-F238E27FC236}">
                    <a16:creationId xmlns:a16="http://schemas.microsoft.com/office/drawing/2014/main" id="{1BA71A94-E2F5-4434-AECC-388A19F78DB0}"/>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64" name="Rechte verbindingslijn 163">
                <a:extLst>
                  <a:ext uri="{FF2B5EF4-FFF2-40B4-BE49-F238E27FC236}">
                    <a16:creationId xmlns:a16="http://schemas.microsoft.com/office/drawing/2014/main" id="{3E0B2F7A-CD1B-4488-8958-3CB2277C273B}"/>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65" name="Rechthoek 164">
                <a:extLst>
                  <a:ext uri="{FF2B5EF4-FFF2-40B4-BE49-F238E27FC236}">
                    <a16:creationId xmlns:a16="http://schemas.microsoft.com/office/drawing/2014/main" id="{EBC6D123-96A8-41B4-9334-731DAD83E42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66" name="Rechthoek 165">
                <a:extLst>
                  <a:ext uri="{FF2B5EF4-FFF2-40B4-BE49-F238E27FC236}">
                    <a16:creationId xmlns:a16="http://schemas.microsoft.com/office/drawing/2014/main" id="{EF302A2F-29D4-4691-8E14-E180533A989F}"/>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67" name="Groep 166">
                <a:extLst>
                  <a:ext uri="{FF2B5EF4-FFF2-40B4-BE49-F238E27FC236}">
                    <a16:creationId xmlns:a16="http://schemas.microsoft.com/office/drawing/2014/main" id="{BB70A4A1-D406-4151-A55C-53D6384B4750}"/>
                  </a:ext>
                </a:extLst>
              </p:cNvPr>
              <p:cNvGrpSpPr/>
              <p:nvPr userDrawn="1"/>
            </p:nvGrpSpPr>
            <p:grpSpPr>
              <a:xfrm>
                <a:off x="-2916763" y="769168"/>
                <a:ext cx="268738" cy="248381"/>
                <a:chOff x="-2916763" y="769168"/>
                <a:chExt cx="268738" cy="248381"/>
              </a:xfrm>
            </p:grpSpPr>
            <p:sp>
              <p:nvSpPr>
                <p:cNvPr id="177" name="Rechthoek 176">
                  <a:extLst>
                    <a:ext uri="{FF2B5EF4-FFF2-40B4-BE49-F238E27FC236}">
                      <a16:creationId xmlns:a16="http://schemas.microsoft.com/office/drawing/2014/main" id="{87B1898F-BA5A-4C62-8D80-16E65310716E}"/>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178" name="Groep 177">
                  <a:extLst>
                    <a:ext uri="{FF2B5EF4-FFF2-40B4-BE49-F238E27FC236}">
                      <a16:creationId xmlns:a16="http://schemas.microsoft.com/office/drawing/2014/main" id="{5C724760-E3DC-4ED0-AB3E-9B14B97BDC6B}"/>
                    </a:ext>
                  </a:extLst>
                </p:cNvPr>
                <p:cNvGrpSpPr/>
                <p:nvPr userDrawn="1"/>
              </p:nvGrpSpPr>
              <p:grpSpPr>
                <a:xfrm>
                  <a:off x="-2866744" y="827071"/>
                  <a:ext cx="168701" cy="132575"/>
                  <a:chOff x="-2866744" y="827071"/>
                  <a:chExt cx="168701" cy="132575"/>
                </a:xfrm>
              </p:grpSpPr>
              <p:cxnSp>
                <p:nvCxnSpPr>
                  <p:cNvPr id="180" name="Rechte verbindingslijn 179">
                    <a:extLst>
                      <a:ext uri="{FF2B5EF4-FFF2-40B4-BE49-F238E27FC236}">
                        <a16:creationId xmlns:a16="http://schemas.microsoft.com/office/drawing/2014/main" id="{5650DDA9-762F-46B6-9B98-11E4B1A731EA}"/>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81" name="Rechte verbindingslijn 180">
                    <a:extLst>
                      <a:ext uri="{FF2B5EF4-FFF2-40B4-BE49-F238E27FC236}">
                        <a16:creationId xmlns:a16="http://schemas.microsoft.com/office/drawing/2014/main" id="{F3432055-A2ED-48C8-AD5F-5333FB9BD92D}"/>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82" name="Rechte verbindingslijn 181">
                    <a:extLst>
                      <a:ext uri="{FF2B5EF4-FFF2-40B4-BE49-F238E27FC236}">
                        <a16:creationId xmlns:a16="http://schemas.microsoft.com/office/drawing/2014/main" id="{7CF3810C-7E72-4AAA-AAC2-DB154A4E630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83" name="Rechte verbindingslijn 182">
                    <a:extLst>
                      <a:ext uri="{FF2B5EF4-FFF2-40B4-BE49-F238E27FC236}">
                        <a16:creationId xmlns:a16="http://schemas.microsoft.com/office/drawing/2014/main" id="{630EF0A9-5A29-44EA-BF68-A5B27B8342E1}"/>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84" name="Rechte verbindingslijn 183">
                    <a:extLst>
                      <a:ext uri="{FF2B5EF4-FFF2-40B4-BE49-F238E27FC236}">
                        <a16:creationId xmlns:a16="http://schemas.microsoft.com/office/drawing/2014/main" id="{122C05F9-D51A-4189-AA4D-E6AA013EE127}"/>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9" name="Pijl: rechts 178">
                  <a:extLst>
                    <a:ext uri="{FF2B5EF4-FFF2-40B4-BE49-F238E27FC236}">
                      <a16:creationId xmlns:a16="http://schemas.microsoft.com/office/drawing/2014/main" id="{B13AC79A-23D6-4179-89BF-79EFF4A12E4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168" name="Groep 167">
                <a:extLst>
                  <a:ext uri="{FF2B5EF4-FFF2-40B4-BE49-F238E27FC236}">
                    <a16:creationId xmlns:a16="http://schemas.microsoft.com/office/drawing/2014/main" id="{10813B0B-0451-4EDC-9C4D-12B184286A67}"/>
                  </a:ext>
                </a:extLst>
              </p:cNvPr>
              <p:cNvGrpSpPr/>
              <p:nvPr userDrawn="1"/>
            </p:nvGrpSpPr>
            <p:grpSpPr>
              <a:xfrm>
                <a:off x="-2916763" y="460171"/>
                <a:ext cx="268738" cy="248381"/>
                <a:chOff x="-2916763" y="460171"/>
                <a:chExt cx="268738" cy="248381"/>
              </a:xfrm>
            </p:grpSpPr>
            <p:sp>
              <p:nvSpPr>
                <p:cNvPr id="169" name="Rechthoek 168">
                  <a:extLst>
                    <a:ext uri="{FF2B5EF4-FFF2-40B4-BE49-F238E27FC236}">
                      <a16:creationId xmlns:a16="http://schemas.microsoft.com/office/drawing/2014/main" id="{6A4685EB-A624-4ED4-A228-50CA8F060B8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170" name="Groep 169">
                  <a:extLst>
                    <a:ext uri="{FF2B5EF4-FFF2-40B4-BE49-F238E27FC236}">
                      <a16:creationId xmlns:a16="http://schemas.microsoft.com/office/drawing/2014/main" id="{10E45EDE-A9B0-45F6-9B0C-FFF13642903E}"/>
                    </a:ext>
                  </a:extLst>
                </p:cNvPr>
                <p:cNvGrpSpPr/>
                <p:nvPr userDrawn="1"/>
              </p:nvGrpSpPr>
              <p:grpSpPr>
                <a:xfrm>
                  <a:off x="-2866744" y="518074"/>
                  <a:ext cx="168701" cy="132575"/>
                  <a:chOff x="-2866744" y="518074"/>
                  <a:chExt cx="168701" cy="132575"/>
                </a:xfrm>
              </p:grpSpPr>
              <p:cxnSp>
                <p:nvCxnSpPr>
                  <p:cNvPr id="172" name="Rechte verbindingslijn 171">
                    <a:extLst>
                      <a:ext uri="{FF2B5EF4-FFF2-40B4-BE49-F238E27FC236}">
                        <a16:creationId xmlns:a16="http://schemas.microsoft.com/office/drawing/2014/main" id="{25984F46-C3DA-4D2F-86FD-0340592E6E33}"/>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73" name="Rechte verbindingslijn 172">
                    <a:extLst>
                      <a:ext uri="{FF2B5EF4-FFF2-40B4-BE49-F238E27FC236}">
                        <a16:creationId xmlns:a16="http://schemas.microsoft.com/office/drawing/2014/main" id="{C5FAAAF1-0030-4197-8775-26F076DE76C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4" name="Rechte verbindingslijn 173">
                    <a:extLst>
                      <a:ext uri="{FF2B5EF4-FFF2-40B4-BE49-F238E27FC236}">
                        <a16:creationId xmlns:a16="http://schemas.microsoft.com/office/drawing/2014/main" id="{ED19D46E-391B-4FE4-A59D-F1088D9AC8E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5" name="Rechte verbindingslijn 174">
                    <a:extLst>
                      <a:ext uri="{FF2B5EF4-FFF2-40B4-BE49-F238E27FC236}">
                        <a16:creationId xmlns:a16="http://schemas.microsoft.com/office/drawing/2014/main" id="{19904082-9C22-40C7-909A-2530F6618E1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202F521A-3546-4828-BEDD-B4CD3656665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71" name="Pijl: rechts 170">
                  <a:extLst>
                    <a:ext uri="{FF2B5EF4-FFF2-40B4-BE49-F238E27FC236}">
                      <a16:creationId xmlns:a16="http://schemas.microsoft.com/office/drawing/2014/main" id="{1A800ECB-D592-4E44-9D17-32E8451E195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grpSp>
      <p:sp>
        <p:nvSpPr>
          <p:cNvPr id="80" name="Tijdelijke aanduiding voor dianummer 5">
            <a:extLst>
              <a:ext uri="{FF2B5EF4-FFF2-40B4-BE49-F238E27FC236}">
                <a16:creationId xmlns:a16="http://schemas.microsoft.com/office/drawing/2014/main" id="{BA5330FC-789F-4E91-9504-73456337B2CE}"/>
              </a:ext>
            </a:extLst>
          </p:cNvPr>
          <p:cNvSpPr>
            <a:spLocks noGrp="1"/>
          </p:cNvSpPr>
          <p:nvPr userDrawn="1">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81" name="INSTRUCTION">
            <a:extLst>
              <a:ext uri="{FF2B5EF4-FFF2-40B4-BE49-F238E27FC236}">
                <a16:creationId xmlns:a16="http://schemas.microsoft.com/office/drawing/2014/main" id="{7F695D1A-DF24-485D-BFCD-F261823A537A}"/>
              </a:ext>
            </a:extLst>
          </p:cNvPr>
          <p:cNvGrpSpPr/>
          <p:nvPr userDrawn="1"/>
        </p:nvGrpSpPr>
        <p:grpSpPr>
          <a:xfrm>
            <a:off x="4384" y="5274908"/>
            <a:ext cx="2795966" cy="1183043"/>
            <a:chOff x="5846" y="7033211"/>
            <a:chExt cx="3727954" cy="1577390"/>
          </a:xfrm>
        </p:grpSpPr>
        <p:sp>
          <p:nvSpPr>
            <p:cNvPr id="82" name="Rechthoek 81">
              <a:extLst>
                <a:ext uri="{FF2B5EF4-FFF2-40B4-BE49-F238E27FC236}">
                  <a16:creationId xmlns:a16="http://schemas.microsoft.com/office/drawing/2014/main" id="{0CF5A1CA-EE27-47FC-88A3-B0D49A98959F}"/>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83" name="Ovaal 82">
              <a:extLst>
                <a:ext uri="{FF2B5EF4-FFF2-40B4-BE49-F238E27FC236}">
                  <a16:creationId xmlns:a16="http://schemas.microsoft.com/office/drawing/2014/main" id="{E53C54DC-7429-41FD-A4B9-F45E7AA407F6}"/>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4" name="Rechthoek 83">
              <a:extLst>
                <a:ext uri="{FF2B5EF4-FFF2-40B4-BE49-F238E27FC236}">
                  <a16:creationId xmlns:a16="http://schemas.microsoft.com/office/drawing/2014/main" id="{8BAE9236-B278-4692-AF0B-290725246C8A}"/>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5" name="Ovaal 84">
              <a:extLst>
                <a:ext uri="{FF2B5EF4-FFF2-40B4-BE49-F238E27FC236}">
                  <a16:creationId xmlns:a16="http://schemas.microsoft.com/office/drawing/2014/main" id="{185ED036-D9E6-45A7-98BB-99139AE9F1C2}"/>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71E906A9-8982-474F-B2B0-E19DEB6C4A45}"/>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89" name="Groep 88">
              <a:extLst>
                <a:ext uri="{FF2B5EF4-FFF2-40B4-BE49-F238E27FC236}">
                  <a16:creationId xmlns:a16="http://schemas.microsoft.com/office/drawing/2014/main" id="{EF33900B-741D-48D9-A824-E639E70543EB}"/>
                </a:ext>
              </a:extLst>
            </p:cNvPr>
            <p:cNvGrpSpPr/>
            <p:nvPr userDrawn="1"/>
          </p:nvGrpSpPr>
          <p:grpSpPr>
            <a:xfrm>
              <a:off x="2939884" y="7739834"/>
              <a:ext cx="681133" cy="750023"/>
              <a:chOff x="-910573" y="4987990"/>
              <a:chExt cx="681133" cy="750023"/>
            </a:xfrm>
          </p:grpSpPr>
          <p:grpSp>
            <p:nvGrpSpPr>
              <p:cNvPr id="90" name="Groep 89">
                <a:extLst>
                  <a:ext uri="{FF2B5EF4-FFF2-40B4-BE49-F238E27FC236}">
                    <a16:creationId xmlns:a16="http://schemas.microsoft.com/office/drawing/2014/main" id="{BF21A99F-7F96-4038-9C4C-814A7C68A271}"/>
                  </a:ext>
                </a:extLst>
              </p:cNvPr>
              <p:cNvGrpSpPr/>
              <p:nvPr userDrawn="1"/>
            </p:nvGrpSpPr>
            <p:grpSpPr>
              <a:xfrm>
                <a:off x="-713542" y="4987990"/>
                <a:ext cx="287071" cy="379107"/>
                <a:chOff x="-4050578" y="288410"/>
                <a:chExt cx="322125" cy="379107"/>
              </a:xfrm>
            </p:grpSpPr>
            <p:sp>
              <p:nvSpPr>
                <p:cNvPr id="92" name="Rechthoek met één afgeknipte en afgeronde hoek 47">
                  <a:extLst>
                    <a:ext uri="{FF2B5EF4-FFF2-40B4-BE49-F238E27FC236}">
                      <a16:creationId xmlns:a16="http://schemas.microsoft.com/office/drawing/2014/main" id="{80BAC87F-FC07-4060-A0F7-6C49FF02E1F6}"/>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ige driehoek 92">
                  <a:extLst>
                    <a:ext uri="{FF2B5EF4-FFF2-40B4-BE49-F238E27FC236}">
                      <a16:creationId xmlns:a16="http://schemas.microsoft.com/office/drawing/2014/main" id="{5BC47A13-8EDD-41F2-81E9-7CA709F2C954}"/>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B5959CE5-4A89-4E6B-B761-078D41FEC824}"/>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5" name="Rechthoek 94">
                  <a:extLst>
                    <a:ext uri="{FF2B5EF4-FFF2-40B4-BE49-F238E27FC236}">
                      <a16:creationId xmlns:a16="http://schemas.microsoft.com/office/drawing/2014/main" id="{E6ABFB8F-6D8C-4B6F-B6A6-9D6E1ACBE035}"/>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1" name="Rechthoek 90">
                <a:extLst>
                  <a:ext uri="{FF2B5EF4-FFF2-40B4-BE49-F238E27FC236}">
                    <a16:creationId xmlns:a16="http://schemas.microsoft.com/office/drawing/2014/main" id="{18438F99-6736-4BC2-9A30-2A63041EF2B6}"/>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2169424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_Slide">
    <p:spTree>
      <p:nvGrpSpPr>
        <p:cNvPr id="1" name=""/>
        <p:cNvGrpSpPr/>
        <p:nvPr/>
      </p:nvGrpSpPr>
      <p:grpSpPr>
        <a:xfrm>
          <a:off x="0" y="0"/>
          <a:ext cx="0" cy="0"/>
          <a:chOff x="0" y="0"/>
          <a:chExt cx="0" cy="0"/>
        </a:xfrm>
      </p:grpSpPr>
      <p:pic>
        <p:nvPicPr>
          <p:cNvPr id="3" name="Picture 2" descr="A black and orange logo&#10;&#10;Description automatically generated">
            <a:extLst>
              <a:ext uri="{FF2B5EF4-FFF2-40B4-BE49-F238E27FC236}">
                <a16:creationId xmlns:a16="http://schemas.microsoft.com/office/drawing/2014/main" id="{5B97B025-3B1C-80F6-217F-2D44049E39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80675" y="4479171"/>
            <a:ext cx="2387933" cy="432205"/>
          </a:xfrm>
          <a:prstGeom prst="rect">
            <a:avLst/>
          </a:prstGeom>
        </p:spPr>
      </p:pic>
      <p:pic>
        <p:nvPicPr>
          <p:cNvPr id="17" name="Picture 16">
            <a:extLst>
              <a:ext uri="{FF2B5EF4-FFF2-40B4-BE49-F238E27FC236}">
                <a16:creationId xmlns:a16="http://schemas.microsoft.com/office/drawing/2014/main" id="{FE5AEE1D-BF0C-565C-306C-F9487284BBDB}"/>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03" b="203"/>
          <a:stretch/>
        </p:blipFill>
        <p:spPr>
          <a:xfrm>
            <a:off x="1" y="0"/>
            <a:ext cx="9143999" cy="4120125"/>
          </a:xfrm>
          <a:prstGeom prst="rect">
            <a:avLst/>
          </a:prstGeom>
        </p:spPr>
      </p:pic>
      <p:sp>
        <p:nvSpPr>
          <p:cNvPr id="18" name="Picture Placeholder 6">
            <a:extLst>
              <a:ext uri="{FF2B5EF4-FFF2-40B4-BE49-F238E27FC236}">
                <a16:creationId xmlns:a16="http://schemas.microsoft.com/office/drawing/2014/main" id="{8C4FF6FF-661A-66D9-6147-655D78EA19F9}"/>
              </a:ext>
            </a:extLst>
          </p:cNvPr>
          <p:cNvSpPr>
            <a:spLocks noGrp="1"/>
          </p:cNvSpPr>
          <p:nvPr>
            <p:ph type="pic" sz="quarter" idx="13" hasCustomPrompt="1"/>
          </p:nvPr>
        </p:nvSpPr>
        <p:spPr>
          <a:xfrm>
            <a:off x="618597" y="0"/>
            <a:ext cx="3149601" cy="4120125"/>
          </a:xfrm>
          <a:solidFill>
            <a:srgbClr val="B44A31"/>
          </a:solidFill>
        </p:spPr>
        <p:txBody>
          <a:bodyPr anchor="ctr">
            <a:normAutofit/>
          </a:bodyPr>
          <a:lstStyle>
            <a:lvl1pPr marL="0" indent="0" algn="ctr">
              <a:buNone/>
              <a:defRPr sz="1400"/>
            </a:lvl1pPr>
          </a:lstStyle>
          <a:p>
            <a:r>
              <a:rPr lang="en-US"/>
              <a:t> </a:t>
            </a:r>
          </a:p>
        </p:txBody>
      </p:sp>
      <p:sp>
        <p:nvSpPr>
          <p:cNvPr id="19" name="Text Placeholder 2">
            <a:extLst>
              <a:ext uri="{FF2B5EF4-FFF2-40B4-BE49-F238E27FC236}">
                <a16:creationId xmlns:a16="http://schemas.microsoft.com/office/drawing/2014/main" id="{6B7DA5AC-6019-20BF-9547-AE0CE22F63D2}"/>
              </a:ext>
            </a:extLst>
          </p:cNvPr>
          <p:cNvSpPr>
            <a:spLocks noGrp="1"/>
          </p:cNvSpPr>
          <p:nvPr>
            <p:ph idx="1" hasCustomPrompt="1"/>
          </p:nvPr>
        </p:nvSpPr>
        <p:spPr>
          <a:xfrm>
            <a:off x="618597" y="3498965"/>
            <a:ext cx="3139017" cy="254445"/>
          </a:xfrm>
          <a:prstGeom prst="rect">
            <a:avLst/>
          </a:prstGeom>
        </p:spPr>
        <p:txBody>
          <a:bodyPr vert="horz" lIns="68580" tIns="34290" rIns="68580" bIns="34290" rtlCol="0" anchor="ctr">
            <a:normAutofit/>
          </a:bodyPr>
          <a:lstStyle>
            <a:lvl1pPr marL="0" indent="0" algn="ctr">
              <a:buNone/>
              <a:defRPr sz="1200" b="0" baseline="0">
                <a:solidFill>
                  <a:srgbClr val="FFFFFF"/>
                </a:solidFill>
                <a:latin typeface="Open Sans"/>
                <a:cs typeface="Open Sans"/>
              </a:defRPr>
            </a:lvl1pPr>
            <a:lvl2pPr>
              <a:defRPr>
                <a:latin typeface="Open Sans"/>
                <a:cs typeface="Open Sans"/>
              </a:defRPr>
            </a:lvl2pPr>
            <a:lvl3pPr>
              <a:defRPr>
                <a:latin typeface="Open Sans"/>
                <a:cs typeface="Open Sans"/>
              </a:defRPr>
            </a:lvl3pPr>
            <a:lvl4pPr>
              <a:defRPr>
                <a:latin typeface="Open Sans"/>
                <a:cs typeface="Open Sans"/>
              </a:defRPr>
            </a:lvl4pPr>
            <a:lvl5pPr>
              <a:defRPr>
                <a:latin typeface="Open Sans"/>
                <a:cs typeface="Open Sans"/>
              </a:defRPr>
            </a:lvl5pPr>
          </a:lstStyle>
          <a:p>
            <a:pPr lvl="0"/>
            <a:r>
              <a:rPr lang="en-US" noProof="0"/>
              <a:t>Date</a:t>
            </a:r>
          </a:p>
        </p:txBody>
      </p:sp>
      <p:sp>
        <p:nvSpPr>
          <p:cNvPr id="20" name="Text Placeholder 2">
            <a:extLst>
              <a:ext uri="{FF2B5EF4-FFF2-40B4-BE49-F238E27FC236}">
                <a16:creationId xmlns:a16="http://schemas.microsoft.com/office/drawing/2014/main" id="{164072DE-46CF-A15E-F0E6-FB45DFD35582}"/>
              </a:ext>
            </a:extLst>
          </p:cNvPr>
          <p:cNvSpPr>
            <a:spLocks noGrp="1"/>
          </p:cNvSpPr>
          <p:nvPr>
            <p:ph idx="11" hasCustomPrompt="1"/>
          </p:nvPr>
        </p:nvSpPr>
        <p:spPr>
          <a:xfrm>
            <a:off x="625957" y="2538351"/>
            <a:ext cx="3139017" cy="276165"/>
          </a:xfrm>
          <a:prstGeom prst="rect">
            <a:avLst/>
          </a:prstGeom>
        </p:spPr>
        <p:txBody>
          <a:bodyPr vert="horz" lIns="68580" tIns="34290" rIns="68580" bIns="34290" rtlCol="0" anchor="t">
            <a:normAutofit/>
          </a:bodyPr>
          <a:lstStyle>
            <a:lvl1pPr marL="0" indent="0" algn="ctr">
              <a:buNone/>
              <a:defRPr sz="1400" b="1" baseline="0">
                <a:solidFill>
                  <a:srgbClr val="FFFFFF"/>
                </a:solidFill>
                <a:latin typeface="Open Sans"/>
                <a:cs typeface="Open Sans"/>
              </a:defRPr>
            </a:lvl1pPr>
            <a:lvl2pPr>
              <a:defRPr>
                <a:latin typeface="Open Sans"/>
                <a:cs typeface="Open Sans"/>
              </a:defRPr>
            </a:lvl2pPr>
            <a:lvl3pPr>
              <a:defRPr>
                <a:latin typeface="Open Sans"/>
                <a:cs typeface="Open Sans"/>
              </a:defRPr>
            </a:lvl3pPr>
            <a:lvl4pPr>
              <a:defRPr>
                <a:latin typeface="Open Sans"/>
                <a:cs typeface="Open Sans"/>
              </a:defRPr>
            </a:lvl4pPr>
            <a:lvl5pPr>
              <a:defRPr>
                <a:latin typeface="Open Sans"/>
                <a:cs typeface="Open Sans"/>
              </a:defRPr>
            </a:lvl5pPr>
          </a:lstStyle>
          <a:p>
            <a:pPr lvl="0"/>
            <a:r>
              <a:rPr lang="en-US" noProof="0"/>
              <a:t>Presenter or Writer name</a:t>
            </a:r>
          </a:p>
        </p:txBody>
      </p:sp>
      <p:sp>
        <p:nvSpPr>
          <p:cNvPr id="21" name="Text Placeholder 2">
            <a:extLst>
              <a:ext uri="{FF2B5EF4-FFF2-40B4-BE49-F238E27FC236}">
                <a16:creationId xmlns:a16="http://schemas.microsoft.com/office/drawing/2014/main" id="{8DCF3F75-A97F-D6D0-D3FB-8224D20134CC}"/>
              </a:ext>
            </a:extLst>
          </p:cNvPr>
          <p:cNvSpPr>
            <a:spLocks noGrp="1"/>
          </p:cNvSpPr>
          <p:nvPr>
            <p:ph idx="12" hasCustomPrompt="1"/>
          </p:nvPr>
        </p:nvSpPr>
        <p:spPr>
          <a:xfrm>
            <a:off x="625957" y="618733"/>
            <a:ext cx="3139017" cy="1642533"/>
          </a:xfrm>
          <a:prstGeom prst="rect">
            <a:avLst/>
          </a:prstGeom>
        </p:spPr>
        <p:txBody>
          <a:bodyPr vert="horz" lIns="68580" tIns="34290" rIns="68580" bIns="34290" rtlCol="0" anchor="ctr">
            <a:noAutofit/>
          </a:bodyPr>
          <a:lstStyle>
            <a:lvl1pPr marL="0" indent="0" algn="ctr">
              <a:lnSpc>
                <a:spcPct val="80000"/>
              </a:lnSpc>
              <a:buNone/>
              <a:defRPr sz="3000" b="1" i="0" cap="all" baseline="0">
                <a:solidFill>
                  <a:srgbClr val="FFFFFF"/>
                </a:solidFill>
                <a:latin typeface="AvenirNext LT Pro Bold" panose="020B0504020202020204" pitchFamily="34" charset="77"/>
                <a:cs typeface="AvenirNext LT Pro Bold" panose="020B0504020202020204" pitchFamily="34" charset="77"/>
              </a:defRPr>
            </a:lvl1pPr>
            <a:lvl2pPr>
              <a:defRPr>
                <a:latin typeface="Open Sans"/>
                <a:cs typeface="Open Sans"/>
              </a:defRPr>
            </a:lvl2pPr>
            <a:lvl3pPr>
              <a:defRPr>
                <a:latin typeface="Open Sans"/>
                <a:cs typeface="Open Sans"/>
              </a:defRPr>
            </a:lvl3pPr>
            <a:lvl4pPr>
              <a:defRPr>
                <a:latin typeface="Open Sans"/>
                <a:cs typeface="Open Sans"/>
              </a:defRPr>
            </a:lvl4pPr>
            <a:lvl5pPr>
              <a:defRPr>
                <a:latin typeface="Open Sans"/>
                <a:cs typeface="Open Sans"/>
              </a:defRPr>
            </a:lvl5pPr>
          </a:lstStyle>
          <a:p>
            <a:pPr lvl="0"/>
            <a:r>
              <a:rPr lang="en-US" noProof="0"/>
              <a:t>Click here   To edit</a:t>
            </a:r>
          </a:p>
        </p:txBody>
      </p:sp>
      <p:sp>
        <p:nvSpPr>
          <p:cNvPr id="22" name="Text Placeholder 2">
            <a:extLst>
              <a:ext uri="{FF2B5EF4-FFF2-40B4-BE49-F238E27FC236}">
                <a16:creationId xmlns:a16="http://schemas.microsoft.com/office/drawing/2014/main" id="{23C51B48-7732-948A-6536-9EDAA3A25C4F}"/>
              </a:ext>
            </a:extLst>
          </p:cNvPr>
          <p:cNvSpPr>
            <a:spLocks noGrp="1"/>
          </p:cNvSpPr>
          <p:nvPr>
            <p:ph idx="14" hasCustomPrompt="1"/>
          </p:nvPr>
        </p:nvSpPr>
        <p:spPr>
          <a:xfrm>
            <a:off x="623890" y="2747962"/>
            <a:ext cx="3139017" cy="295378"/>
          </a:xfrm>
          <a:prstGeom prst="rect">
            <a:avLst/>
          </a:prstGeom>
        </p:spPr>
        <p:txBody>
          <a:bodyPr vert="horz" lIns="68580" tIns="34290" rIns="68580" bIns="34290" rtlCol="0" anchor="t">
            <a:normAutofit/>
          </a:bodyPr>
          <a:lstStyle>
            <a:lvl1pPr marL="0" indent="0" algn="ctr">
              <a:buNone/>
              <a:defRPr sz="1200" b="0" baseline="0">
                <a:solidFill>
                  <a:srgbClr val="FFFFFF"/>
                </a:solidFill>
                <a:latin typeface="Open Sans"/>
                <a:cs typeface="Open Sans"/>
              </a:defRPr>
            </a:lvl1pPr>
            <a:lvl2pPr>
              <a:defRPr>
                <a:latin typeface="Open Sans"/>
                <a:cs typeface="Open Sans"/>
              </a:defRPr>
            </a:lvl2pPr>
            <a:lvl3pPr>
              <a:defRPr>
                <a:latin typeface="Open Sans"/>
                <a:cs typeface="Open Sans"/>
              </a:defRPr>
            </a:lvl3pPr>
            <a:lvl4pPr>
              <a:defRPr>
                <a:latin typeface="Open Sans"/>
                <a:cs typeface="Open Sans"/>
              </a:defRPr>
            </a:lvl4pPr>
            <a:lvl5pPr>
              <a:defRPr>
                <a:latin typeface="Open Sans"/>
                <a:cs typeface="Open Sans"/>
              </a:defRPr>
            </a:lvl5pPr>
          </a:lstStyle>
          <a:p>
            <a:pPr lvl="0"/>
            <a:r>
              <a:rPr lang="en-US" noProof="0"/>
              <a:t>Function</a:t>
            </a:r>
          </a:p>
        </p:txBody>
      </p:sp>
    </p:spTree>
    <p:extLst>
      <p:ext uri="{BB962C8B-B14F-4D97-AF65-F5344CB8AC3E}">
        <p14:creationId xmlns:p14="http://schemas.microsoft.com/office/powerpoint/2010/main" val="19703662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ogo animation">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8FB941EA-8D71-4535-8FCE-4485033BAE1E}"/>
              </a:ext>
            </a:extLst>
          </p:cNvPr>
          <p:cNvSpPr/>
          <p:nvPr userDrawn="1"/>
        </p:nvSpPr>
        <p:spPr>
          <a:xfrm>
            <a:off x="-8063" y="-8263"/>
            <a:ext cx="9152063" cy="5151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Tekstvak 4"/>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BLANK (CUSTOM)</a:t>
            </a:r>
          </a:p>
        </p:txBody>
      </p:sp>
      <p:sp>
        <p:nvSpPr>
          <p:cNvPr id="4" name="GREEN">
            <a:extLst>
              <a:ext uri="{FF2B5EF4-FFF2-40B4-BE49-F238E27FC236}">
                <a16:creationId xmlns:a16="http://schemas.microsoft.com/office/drawing/2014/main" id="{5DA358E0-910A-4B3F-9E1D-55D03F31A503}"/>
              </a:ext>
            </a:extLst>
          </p:cNvPr>
          <p:cNvSpPr/>
          <p:nvPr userDrawn="1"/>
        </p:nvSpPr>
        <p:spPr>
          <a:xfrm>
            <a:off x="0" y="2980098"/>
            <a:ext cx="9144000" cy="2163402"/>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noProof="0"/>
          </a:p>
        </p:txBody>
      </p:sp>
      <p:sp>
        <p:nvSpPr>
          <p:cNvPr id="7" name="ORANGE">
            <a:extLst>
              <a:ext uri="{FF2B5EF4-FFF2-40B4-BE49-F238E27FC236}">
                <a16:creationId xmlns:a16="http://schemas.microsoft.com/office/drawing/2014/main" id="{FB83656D-A98D-4E29-A3A6-F7F900CAD424}"/>
              </a:ext>
            </a:extLst>
          </p:cNvPr>
          <p:cNvSpPr/>
          <p:nvPr userDrawn="1"/>
        </p:nvSpPr>
        <p:spPr>
          <a:xfrm>
            <a:off x="-8063" y="32079"/>
            <a:ext cx="9160125" cy="2948019"/>
          </a:xfrm>
          <a:prstGeom prst="rect">
            <a:avLst/>
          </a:prstGeom>
          <a:solidFill>
            <a:schemeClr val="accent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noProof="0"/>
          </a:p>
        </p:txBody>
      </p:sp>
      <p:sp>
        <p:nvSpPr>
          <p:cNvPr id="8" name="GREEN">
            <a:extLst>
              <a:ext uri="{FF2B5EF4-FFF2-40B4-BE49-F238E27FC236}">
                <a16:creationId xmlns:a16="http://schemas.microsoft.com/office/drawing/2014/main" id="{4B6E743B-A051-4E65-8EBE-0833DF7E6B1F}"/>
              </a:ext>
            </a:extLst>
          </p:cNvPr>
          <p:cNvSpPr/>
          <p:nvPr userDrawn="1"/>
        </p:nvSpPr>
        <p:spPr>
          <a:xfrm>
            <a:off x="-24188" y="2980098"/>
            <a:ext cx="9176250" cy="21634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noProof="0"/>
          </a:p>
        </p:txBody>
      </p:sp>
      <p:sp>
        <p:nvSpPr>
          <p:cNvPr id="9" name="ORANGE">
            <a:extLst>
              <a:ext uri="{FF2B5EF4-FFF2-40B4-BE49-F238E27FC236}">
                <a16:creationId xmlns:a16="http://schemas.microsoft.com/office/drawing/2014/main" id="{2EAA24AB-9C82-42C0-8137-EF135CDC9CF0}"/>
              </a:ext>
            </a:extLst>
          </p:cNvPr>
          <p:cNvSpPr/>
          <p:nvPr userDrawn="1"/>
        </p:nvSpPr>
        <p:spPr>
          <a:xfrm>
            <a:off x="-8063" y="23959"/>
            <a:ext cx="9160125" cy="29989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noProof="0"/>
          </a:p>
        </p:txBody>
      </p:sp>
      <p:sp>
        <p:nvSpPr>
          <p:cNvPr id="10" name="WHITE Bottom">
            <a:extLst>
              <a:ext uri="{FF2B5EF4-FFF2-40B4-BE49-F238E27FC236}">
                <a16:creationId xmlns:a16="http://schemas.microsoft.com/office/drawing/2014/main" id="{A485F942-6709-4C4F-9887-E1B6FC14B7F7}"/>
              </a:ext>
            </a:extLst>
          </p:cNvPr>
          <p:cNvSpPr/>
          <p:nvPr userDrawn="1"/>
        </p:nvSpPr>
        <p:spPr>
          <a:xfrm>
            <a:off x="-24188" y="3022894"/>
            <a:ext cx="9176250" cy="2120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noProof="0"/>
          </a:p>
        </p:txBody>
      </p:sp>
      <p:sp>
        <p:nvSpPr>
          <p:cNvPr id="11" name="WHITE Top">
            <a:extLst>
              <a:ext uri="{FF2B5EF4-FFF2-40B4-BE49-F238E27FC236}">
                <a16:creationId xmlns:a16="http://schemas.microsoft.com/office/drawing/2014/main" id="{0BF82C94-CDE5-4D70-B339-DA224917770B}"/>
              </a:ext>
            </a:extLst>
          </p:cNvPr>
          <p:cNvSpPr/>
          <p:nvPr userDrawn="1"/>
        </p:nvSpPr>
        <p:spPr>
          <a:xfrm>
            <a:off x="-24188" y="-26952"/>
            <a:ext cx="9176250" cy="3049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noProof="0"/>
          </a:p>
        </p:txBody>
      </p:sp>
      <p:grpSp>
        <p:nvGrpSpPr>
          <p:cNvPr id="12" name="SLOGAN">
            <a:extLst>
              <a:ext uri="{FF2B5EF4-FFF2-40B4-BE49-F238E27FC236}">
                <a16:creationId xmlns:a16="http://schemas.microsoft.com/office/drawing/2014/main" id="{45788001-B192-42A7-871B-3A66C1DB8DFA}"/>
              </a:ext>
            </a:extLst>
          </p:cNvPr>
          <p:cNvGrpSpPr>
            <a:grpSpLocks noChangeAspect="1"/>
          </p:cNvGrpSpPr>
          <p:nvPr userDrawn="1"/>
        </p:nvGrpSpPr>
        <p:grpSpPr bwMode="auto">
          <a:xfrm>
            <a:off x="2385260" y="3625560"/>
            <a:ext cx="4373481" cy="371252"/>
            <a:chOff x="786" y="1675"/>
            <a:chExt cx="5148" cy="437"/>
          </a:xfrm>
          <a:solidFill>
            <a:schemeClr val="accent1"/>
          </a:solidFill>
        </p:grpSpPr>
        <p:sp>
          <p:nvSpPr>
            <p:cNvPr id="13" name="Freeform 5">
              <a:extLst>
                <a:ext uri="{FF2B5EF4-FFF2-40B4-BE49-F238E27FC236}">
                  <a16:creationId xmlns:a16="http://schemas.microsoft.com/office/drawing/2014/main" id="{6AC360A1-D9EA-48E6-AB8D-44D99B331F0C}"/>
                </a:ext>
              </a:extLst>
            </p:cNvPr>
            <p:cNvSpPr>
              <a:spLocks noEditPoints="1"/>
            </p:cNvSpPr>
            <p:nvPr userDrawn="1"/>
          </p:nvSpPr>
          <p:spPr bwMode="auto">
            <a:xfrm>
              <a:off x="786" y="1690"/>
              <a:ext cx="296" cy="350"/>
            </a:xfrm>
            <a:custGeom>
              <a:avLst/>
              <a:gdLst>
                <a:gd name="T0" fmla="*/ 118 w 141"/>
                <a:gd name="T1" fmla="*/ 28 h 165"/>
                <a:gd name="T2" fmla="*/ 36 w 141"/>
                <a:gd name="T3" fmla="*/ 17 h 165"/>
                <a:gd name="T4" fmla="*/ 19 w 141"/>
                <a:gd name="T5" fmla="*/ 132 h 165"/>
                <a:gd name="T6" fmla="*/ 112 w 141"/>
                <a:gd name="T7" fmla="*/ 143 h 165"/>
                <a:gd name="T8" fmla="*/ 112 w 141"/>
                <a:gd name="T9" fmla="*/ 142 h 165"/>
                <a:gd name="T10" fmla="*/ 118 w 141"/>
                <a:gd name="T11" fmla="*/ 28 h 165"/>
                <a:gd name="T12" fmla="*/ 96 w 141"/>
                <a:gd name="T13" fmla="*/ 43 h 165"/>
                <a:gd name="T14" fmla="*/ 103 w 141"/>
                <a:gd name="T15" fmla="*/ 95 h 165"/>
                <a:gd name="T16" fmla="*/ 53 w 141"/>
                <a:gd name="T17" fmla="*/ 134 h 165"/>
                <a:gd name="T18" fmla="*/ 37 w 141"/>
                <a:gd name="T19" fmla="*/ 77 h 165"/>
                <a:gd name="T20" fmla="*/ 43 w 141"/>
                <a:gd name="T21" fmla="*/ 43 h 165"/>
                <a:gd name="T22" fmla="*/ 96 w 141"/>
                <a:gd name="T23" fmla="*/ 4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165">
                  <a:moveTo>
                    <a:pt x="118" y="28"/>
                  </a:moveTo>
                  <a:cubicBezTo>
                    <a:pt x="100" y="3"/>
                    <a:pt x="59" y="0"/>
                    <a:pt x="36" y="17"/>
                  </a:cubicBezTo>
                  <a:cubicBezTo>
                    <a:pt x="1" y="41"/>
                    <a:pt x="0" y="98"/>
                    <a:pt x="19" y="132"/>
                  </a:cubicBezTo>
                  <a:cubicBezTo>
                    <a:pt x="38" y="165"/>
                    <a:pt x="85" y="165"/>
                    <a:pt x="112" y="143"/>
                  </a:cubicBezTo>
                  <a:cubicBezTo>
                    <a:pt x="112" y="143"/>
                    <a:pt x="112" y="143"/>
                    <a:pt x="112" y="142"/>
                  </a:cubicBezTo>
                  <a:cubicBezTo>
                    <a:pt x="140" y="114"/>
                    <a:pt x="141" y="59"/>
                    <a:pt x="118" y="28"/>
                  </a:cubicBezTo>
                  <a:close/>
                  <a:moveTo>
                    <a:pt x="96" y="43"/>
                  </a:moveTo>
                  <a:cubicBezTo>
                    <a:pt x="103" y="59"/>
                    <a:pt x="103" y="77"/>
                    <a:pt x="103" y="95"/>
                  </a:cubicBezTo>
                  <a:cubicBezTo>
                    <a:pt x="102" y="120"/>
                    <a:pt x="88" y="158"/>
                    <a:pt x="53" y="134"/>
                  </a:cubicBezTo>
                  <a:cubicBezTo>
                    <a:pt x="37" y="123"/>
                    <a:pt x="38" y="93"/>
                    <a:pt x="37" y="77"/>
                  </a:cubicBezTo>
                  <a:cubicBezTo>
                    <a:pt x="37" y="65"/>
                    <a:pt x="39" y="54"/>
                    <a:pt x="43" y="43"/>
                  </a:cubicBezTo>
                  <a:cubicBezTo>
                    <a:pt x="51" y="18"/>
                    <a:pt x="85" y="23"/>
                    <a:pt x="96"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14" name="Freeform 6">
              <a:extLst>
                <a:ext uri="{FF2B5EF4-FFF2-40B4-BE49-F238E27FC236}">
                  <a16:creationId xmlns:a16="http://schemas.microsoft.com/office/drawing/2014/main" id="{698E91B4-9F44-48AB-9181-431A4C07C145}"/>
                </a:ext>
              </a:extLst>
            </p:cNvPr>
            <p:cNvSpPr>
              <a:spLocks/>
            </p:cNvSpPr>
            <p:nvPr userDrawn="1"/>
          </p:nvSpPr>
          <p:spPr bwMode="auto">
            <a:xfrm>
              <a:off x="1117" y="1772"/>
              <a:ext cx="193" cy="281"/>
            </a:xfrm>
            <a:custGeom>
              <a:avLst/>
              <a:gdLst>
                <a:gd name="T0" fmla="*/ 84 w 92"/>
                <a:gd name="T1" fmla="*/ 54 h 132"/>
                <a:gd name="T2" fmla="*/ 84 w 92"/>
                <a:gd name="T3" fmla="*/ 10 h 132"/>
                <a:gd name="T4" fmla="*/ 78 w 92"/>
                <a:gd name="T5" fmla="*/ 1 h 132"/>
                <a:gd name="T6" fmla="*/ 62 w 92"/>
                <a:gd name="T7" fmla="*/ 3 h 132"/>
                <a:gd name="T8" fmla="*/ 61 w 92"/>
                <a:gd name="T9" fmla="*/ 4 h 132"/>
                <a:gd name="T10" fmla="*/ 61 w 92"/>
                <a:gd name="T11" fmla="*/ 44 h 132"/>
                <a:gd name="T12" fmla="*/ 45 w 92"/>
                <a:gd name="T13" fmla="*/ 93 h 132"/>
                <a:gd name="T14" fmla="*/ 22 w 92"/>
                <a:gd name="T15" fmla="*/ 55 h 132"/>
                <a:gd name="T16" fmla="*/ 22 w 92"/>
                <a:gd name="T17" fmla="*/ 9 h 132"/>
                <a:gd name="T18" fmla="*/ 16 w 92"/>
                <a:gd name="T19" fmla="*/ 0 h 132"/>
                <a:gd name="T20" fmla="*/ 0 w 92"/>
                <a:gd name="T21" fmla="*/ 3 h 132"/>
                <a:gd name="T22" fmla="*/ 0 w 92"/>
                <a:gd name="T23" fmla="*/ 3 h 132"/>
                <a:gd name="T24" fmla="*/ 0 w 92"/>
                <a:gd name="T25" fmla="*/ 79 h 132"/>
                <a:gd name="T26" fmla="*/ 67 w 92"/>
                <a:gd name="T27" fmla="*/ 105 h 132"/>
                <a:gd name="T28" fmla="*/ 79 w 92"/>
                <a:gd name="T29" fmla="*/ 120 h 132"/>
                <a:gd name="T30" fmla="*/ 80 w 92"/>
                <a:gd name="T31" fmla="*/ 120 h 132"/>
                <a:gd name="T32" fmla="*/ 80 w 92"/>
                <a:gd name="T33" fmla="*/ 120 h 132"/>
                <a:gd name="T34" fmla="*/ 91 w 92"/>
                <a:gd name="T35" fmla="*/ 109 h 132"/>
                <a:gd name="T36" fmla="*/ 86 w 92"/>
                <a:gd name="T37" fmla="*/ 100 h 132"/>
                <a:gd name="T38" fmla="*/ 84 w 92"/>
                <a:gd name="T39" fmla="*/ 5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132">
                  <a:moveTo>
                    <a:pt x="84" y="54"/>
                  </a:moveTo>
                  <a:cubicBezTo>
                    <a:pt x="84" y="39"/>
                    <a:pt x="84" y="25"/>
                    <a:pt x="84" y="10"/>
                  </a:cubicBezTo>
                  <a:cubicBezTo>
                    <a:pt x="84" y="8"/>
                    <a:pt x="80" y="0"/>
                    <a:pt x="78" y="1"/>
                  </a:cubicBezTo>
                  <a:cubicBezTo>
                    <a:pt x="72" y="2"/>
                    <a:pt x="67" y="2"/>
                    <a:pt x="62" y="3"/>
                  </a:cubicBezTo>
                  <a:cubicBezTo>
                    <a:pt x="62" y="3"/>
                    <a:pt x="62" y="4"/>
                    <a:pt x="61" y="4"/>
                  </a:cubicBezTo>
                  <a:cubicBezTo>
                    <a:pt x="61" y="17"/>
                    <a:pt x="61" y="31"/>
                    <a:pt x="61" y="44"/>
                  </a:cubicBezTo>
                  <a:cubicBezTo>
                    <a:pt x="61" y="65"/>
                    <a:pt x="66" y="81"/>
                    <a:pt x="45" y="93"/>
                  </a:cubicBezTo>
                  <a:cubicBezTo>
                    <a:pt x="18" y="109"/>
                    <a:pt x="22" y="67"/>
                    <a:pt x="22" y="55"/>
                  </a:cubicBezTo>
                  <a:cubicBezTo>
                    <a:pt x="22" y="39"/>
                    <a:pt x="22" y="24"/>
                    <a:pt x="22" y="9"/>
                  </a:cubicBezTo>
                  <a:cubicBezTo>
                    <a:pt x="22" y="7"/>
                    <a:pt x="19" y="0"/>
                    <a:pt x="16" y="0"/>
                  </a:cubicBezTo>
                  <a:cubicBezTo>
                    <a:pt x="11" y="1"/>
                    <a:pt x="6" y="2"/>
                    <a:pt x="0" y="3"/>
                  </a:cubicBezTo>
                  <a:cubicBezTo>
                    <a:pt x="0" y="3"/>
                    <a:pt x="0" y="3"/>
                    <a:pt x="0" y="3"/>
                  </a:cubicBezTo>
                  <a:cubicBezTo>
                    <a:pt x="0" y="29"/>
                    <a:pt x="0" y="54"/>
                    <a:pt x="0" y="79"/>
                  </a:cubicBezTo>
                  <a:cubicBezTo>
                    <a:pt x="0" y="116"/>
                    <a:pt x="42" y="132"/>
                    <a:pt x="67" y="105"/>
                  </a:cubicBezTo>
                  <a:cubicBezTo>
                    <a:pt x="70" y="110"/>
                    <a:pt x="74" y="115"/>
                    <a:pt x="79" y="120"/>
                  </a:cubicBezTo>
                  <a:cubicBezTo>
                    <a:pt x="80" y="120"/>
                    <a:pt x="80" y="120"/>
                    <a:pt x="80" y="120"/>
                  </a:cubicBezTo>
                  <a:cubicBezTo>
                    <a:pt x="80" y="120"/>
                    <a:pt x="80" y="120"/>
                    <a:pt x="80" y="120"/>
                  </a:cubicBezTo>
                  <a:cubicBezTo>
                    <a:pt x="84" y="116"/>
                    <a:pt x="87" y="113"/>
                    <a:pt x="91" y="109"/>
                  </a:cubicBezTo>
                  <a:cubicBezTo>
                    <a:pt x="92" y="107"/>
                    <a:pt x="87" y="101"/>
                    <a:pt x="86" y="100"/>
                  </a:cubicBezTo>
                  <a:cubicBezTo>
                    <a:pt x="80" y="93"/>
                    <a:pt x="84" y="62"/>
                    <a:pt x="84" y="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15" name="Freeform 7">
              <a:extLst>
                <a:ext uri="{FF2B5EF4-FFF2-40B4-BE49-F238E27FC236}">
                  <a16:creationId xmlns:a16="http://schemas.microsoft.com/office/drawing/2014/main" id="{724BFCF3-3C05-447D-A9AC-B93FD15DA015}"/>
                </a:ext>
              </a:extLst>
            </p:cNvPr>
            <p:cNvSpPr>
              <a:spLocks/>
            </p:cNvSpPr>
            <p:nvPr userDrawn="1"/>
          </p:nvSpPr>
          <p:spPr bwMode="auto">
            <a:xfrm>
              <a:off x="1356" y="1770"/>
              <a:ext cx="136" cy="244"/>
            </a:xfrm>
            <a:custGeom>
              <a:avLst/>
              <a:gdLst>
                <a:gd name="T0" fmla="*/ 55 w 65"/>
                <a:gd name="T1" fmla="*/ 3 h 115"/>
                <a:gd name="T2" fmla="*/ 27 w 65"/>
                <a:gd name="T3" fmla="*/ 12 h 115"/>
                <a:gd name="T4" fmla="*/ 26 w 65"/>
                <a:gd name="T5" fmla="*/ 8 h 115"/>
                <a:gd name="T6" fmla="*/ 17 w 65"/>
                <a:gd name="T7" fmla="*/ 2 h 115"/>
                <a:gd name="T8" fmla="*/ 0 w 65"/>
                <a:gd name="T9" fmla="*/ 7 h 115"/>
                <a:gd name="T10" fmla="*/ 0 w 65"/>
                <a:gd name="T11" fmla="*/ 7 h 115"/>
                <a:gd name="T12" fmla="*/ 4 w 65"/>
                <a:gd name="T13" fmla="*/ 57 h 115"/>
                <a:gd name="T14" fmla="*/ 4 w 65"/>
                <a:gd name="T15" fmla="*/ 109 h 115"/>
                <a:gd name="T16" fmla="*/ 13 w 65"/>
                <a:gd name="T17" fmla="*/ 115 h 115"/>
                <a:gd name="T18" fmla="*/ 29 w 65"/>
                <a:gd name="T19" fmla="*/ 115 h 115"/>
                <a:gd name="T20" fmla="*/ 29 w 65"/>
                <a:gd name="T21" fmla="*/ 115 h 115"/>
                <a:gd name="T22" fmla="*/ 57 w 65"/>
                <a:gd name="T23" fmla="*/ 27 h 115"/>
                <a:gd name="T24" fmla="*/ 56 w 65"/>
                <a:gd name="T25" fmla="*/ 27 h 115"/>
                <a:gd name="T26" fmla="*/ 57 w 65"/>
                <a:gd name="T27" fmla="*/ 27 h 115"/>
                <a:gd name="T28" fmla="*/ 64 w 65"/>
                <a:gd name="T29" fmla="*/ 9 h 115"/>
                <a:gd name="T30" fmla="*/ 55 w 65"/>
                <a:gd name="T31" fmla="*/ 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115">
                  <a:moveTo>
                    <a:pt x="55" y="3"/>
                  </a:moveTo>
                  <a:cubicBezTo>
                    <a:pt x="45" y="0"/>
                    <a:pt x="35" y="4"/>
                    <a:pt x="27" y="12"/>
                  </a:cubicBezTo>
                  <a:cubicBezTo>
                    <a:pt x="27" y="10"/>
                    <a:pt x="26" y="9"/>
                    <a:pt x="26" y="8"/>
                  </a:cubicBezTo>
                  <a:cubicBezTo>
                    <a:pt x="25" y="6"/>
                    <a:pt x="19" y="2"/>
                    <a:pt x="17" y="2"/>
                  </a:cubicBezTo>
                  <a:cubicBezTo>
                    <a:pt x="11" y="4"/>
                    <a:pt x="6" y="5"/>
                    <a:pt x="0" y="7"/>
                  </a:cubicBezTo>
                  <a:cubicBezTo>
                    <a:pt x="0" y="7"/>
                    <a:pt x="0" y="7"/>
                    <a:pt x="0" y="7"/>
                  </a:cubicBezTo>
                  <a:cubicBezTo>
                    <a:pt x="7" y="21"/>
                    <a:pt x="4" y="42"/>
                    <a:pt x="4" y="57"/>
                  </a:cubicBezTo>
                  <a:cubicBezTo>
                    <a:pt x="4" y="74"/>
                    <a:pt x="4" y="91"/>
                    <a:pt x="4" y="109"/>
                  </a:cubicBezTo>
                  <a:cubicBezTo>
                    <a:pt x="4" y="111"/>
                    <a:pt x="11" y="115"/>
                    <a:pt x="13" y="115"/>
                  </a:cubicBezTo>
                  <a:cubicBezTo>
                    <a:pt x="18" y="115"/>
                    <a:pt x="24" y="115"/>
                    <a:pt x="29" y="115"/>
                  </a:cubicBezTo>
                  <a:cubicBezTo>
                    <a:pt x="29" y="115"/>
                    <a:pt x="29" y="115"/>
                    <a:pt x="29" y="115"/>
                  </a:cubicBezTo>
                  <a:cubicBezTo>
                    <a:pt x="29" y="93"/>
                    <a:pt x="17" y="20"/>
                    <a:pt x="57" y="27"/>
                  </a:cubicBezTo>
                  <a:cubicBezTo>
                    <a:pt x="57" y="27"/>
                    <a:pt x="57" y="27"/>
                    <a:pt x="56" y="27"/>
                  </a:cubicBezTo>
                  <a:cubicBezTo>
                    <a:pt x="57" y="27"/>
                    <a:pt x="57" y="27"/>
                    <a:pt x="57" y="27"/>
                  </a:cubicBezTo>
                  <a:cubicBezTo>
                    <a:pt x="60" y="21"/>
                    <a:pt x="62" y="15"/>
                    <a:pt x="64" y="9"/>
                  </a:cubicBezTo>
                  <a:cubicBezTo>
                    <a:pt x="65" y="8"/>
                    <a:pt x="57" y="3"/>
                    <a:pt x="5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16" name="Freeform 8">
              <a:extLst>
                <a:ext uri="{FF2B5EF4-FFF2-40B4-BE49-F238E27FC236}">
                  <a16:creationId xmlns:a16="http://schemas.microsoft.com/office/drawing/2014/main" id="{3AB33F16-6A2F-4025-AF11-F78387404999}"/>
                </a:ext>
              </a:extLst>
            </p:cNvPr>
            <p:cNvSpPr>
              <a:spLocks noEditPoints="1"/>
            </p:cNvSpPr>
            <p:nvPr userDrawn="1"/>
          </p:nvSpPr>
          <p:spPr bwMode="auto">
            <a:xfrm>
              <a:off x="1661" y="1675"/>
              <a:ext cx="208" cy="378"/>
            </a:xfrm>
            <a:custGeom>
              <a:avLst/>
              <a:gdLst>
                <a:gd name="T0" fmla="*/ 95 w 99"/>
                <a:gd name="T1" fmla="*/ 79 h 178"/>
                <a:gd name="T2" fmla="*/ 95 w 99"/>
                <a:gd name="T3" fmla="*/ 10 h 178"/>
                <a:gd name="T4" fmla="*/ 89 w 99"/>
                <a:gd name="T5" fmla="*/ 3 h 178"/>
                <a:gd name="T6" fmla="*/ 73 w 99"/>
                <a:gd name="T7" fmla="*/ 1 h 178"/>
                <a:gd name="T8" fmla="*/ 70 w 99"/>
                <a:gd name="T9" fmla="*/ 3 h 178"/>
                <a:gd name="T10" fmla="*/ 70 w 99"/>
                <a:gd name="T11" fmla="*/ 56 h 178"/>
                <a:gd name="T12" fmla="*/ 28 w 99"/>
                <a:gd name="T13" fmla="*/ 51 h 178"/>
                <a:gd name="T14" fmla="*/ 1 w 99"/>
                <a:gd name="T15" fmla="*/ 110 h 178"/>
                <a:gd name="T16" fmla="*/ 73 w 99"/>
                <a:gd name="T17" fmla="*/ 155 h 178"/>
                <a:gd name="T18" fmla="*/ 73 w 99"/>
                <a:gd name="T19" fmla="*/ 156 h 178"/>
                <a:gd name="T20" fmla="*/ 76 w 99"/>
                <a:gd name="T21" fmla="*/ 159 h 178"/>
                <a:gd name="T22" fmla="*/ 80 w 99"/>
                <a:gd name="T23" fmla="*/ 161 h 178"/>
                <a:gd name="T24" fmla="*/ 97 w 99"/>
                <a:gd name="T25" fmla="*/ 161 h 178"/>
                <a:gd name="T26" fmla="*/ 98 w 99"/>
                <a:gd name="T27" fmla="*/ 158 h 178"/>
                <a:gd name="T28" fmla="*/ 95 w 99"/>
                <a:gd name="T29" fmla="*/ 79 h 178"/>
                <a:gd name="T30" fmla="*/ 28 w 99"/>
                <a:gd name="T31" fmla="*/ 113 h 178"/>
                <a:gd name="T32" fmla="*/ 31 w 99"/>
                <a:gd name="T33" fmla="*/ 84 h 178"/>
                <a:gd name="T34" fmla="*/ 70 w 99"/>
                <a:gd name="T35" fmla="*/ 75 h 178"/>
                <a:gd name="T36" fmla="*/ 70 w 99"/>
                <a:gd name="T37" fmla="*/ 127 h 178"/>
                <a:gd name="T38" fmla="*/ 53 w 99"/>
                <a:gd name="T39" fmla="*/ 139 h 178"/>
                <a:gd name="T40" fmla="*/ 28 w 99"/>
                <a:gd name="T41" fmla="*/ 1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178">
                  <a:moveTo>
                    <a:pt x="95" y="79"/>
                  </a:moveTo>
                  <a:cubicBezTo>
                    <a:pt x="95" y="56"/>
                    <a:pt x="95" y="33"/>
                    <a:pt x="95" y="10"/>
                  </a:cubicBezTo>
                  <a:cubicBezTo>
                    <a:pt x="95" y="7"/>
                    <a:pt x="91" y="4"/>
                    <a:pt x="89" y="3"/>
                  </a:cubicBezTo>
                  <a:cubicBezTo>
                    <a:pt x="84" y="3"/>
                    <a:pt x="78" y="2"/>
                    <a:pt x="73" y="1"/>
                  </a:cubicBezTo>
                  <a:cubicBezTo>
                    <a:pt x="71" y="0"/>
                    <a:pt x="70" y="1"/>
                    <a:pt x="70" y="3"/>
                  </a:cubicBezTo>
                  <a:cubicBezTo>
                    <a:pt x="70" y="21"/>
                    <a:pt x="70" y="38"/>
                    <a:pt x="70" y="56"/>
                  </a:cubicBezTo>
                  <a:cubicBezTo>
                    <a:pt x="58" y="47"/>
                    <a:pt x="43" y="44"/>
                    <a:pt x="28" y="51"/>
                  </a:cubicBezTo>
                  <a:cubicBezTo>
                    <a:pt x="5" y="60"/>
                    <a:pt x="0" y="88"/>
                    <a:pt x="1" y="110"/>
                  </a:cubicBezTo>
                  <a:cubicBezTo>
                    <a:pt x="2" y="146"/>
                    <a:pt x="41" y="178"/>
                    <a:pt x="73" y="155"/>
                  </a:cubicBezTo>
                  <a:cubicBezTo>
                    <a:pt x="73" y="155"/>
                    <a:pt x="73" y="156"/>
                    <a:pt x="73" y="156"/>
                  </a:cubicBezTo>
                  <a:cubicBezTo>
                    <a:pt x="73" y="157"/>
                    <a:pt x="74" y="158"/>
                    <a:pt x="76" y="159"/>
                  </a:cubicBezTo>
                  <a:cubicBezTo>
                    <a:pt x="77" y="160"/>
                    <a:pt x="79" y="161"/>
                    <a:pt x="80" y="161"/>
                  </a:cubicBezTo>
                  <a:cubicBezTo>
                    <a:pt x="85" y="161"/>
                    <a:pt x="91" y="161"/>
                    <a:pt x="97" y="161"/>
                  </a:cubicBezTo>
                  <a:cubicBezTo>
                    <a:pt x="99" y="161"/>
                    <a:pt x="99" y="159"/>
                    <a:pt x="98" y="158"/>
                  </a:cubicBezTo>
                  <a:cubicBezTo>
                    <a:pt x="91" y="135"/>
                    <a:pt x="95" y="103"/>
                    <a:pt x="95" y="79"/>
                  </a:cubicBezTo>
                  <a:close/>
                  <a:moveTo>
                    <a:pt x="28" y="113"/>
                  </a:moveTo>
                  <a:cubicBezTo>
                    <a:pt x="27" y="103"/>
                    <a:pt x="28" y="94"/>
                    <a:pt x="31" y="84"/>
                  </a:cubicBezTo>
                  <a:cubicBezTo>
                    <a:pt x="37" y="70"/>
                    <a:pt x="57" y="63"/>
                    <a:pt x="70" y="75"/>
                  </a:cubicBezTo>
                  <a:cubicBezTo>
                    <a:pt x="70" y="92"/>
                    <a:pt x="70" y="110"/>
                    <a:pt x="70" y="127"/>
                  </a:cubicBezTo>
                  <a:cubicBezTo>
                    <a:pt x="70" y="133"/>
                    <a:pt x="58" y="138"/>
                    <a:pt x="53" y="139"/>
                  </a:cubicBezTo>
                  <a:cubicBezTo>
                    <a:pt x="34" y="146"/>
                    <a:pt x="29" y="128"/>
                    <a:pt x="28" y="1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17" name="Freeform 9">
              <a:extLst>
                <a:ext uri="{FF2B5EF4-FFF2-40B4-BE49-F238E27FC236}">
                  <a16:creationId xmlns:a16="http://schemas.microsoft.com/office/drawing/2014/main" id="{20C4C099-1CD8-4EE0-A9EE-717BFEB1E047}"/>
                </a:ext>
              </a:extLst>
            </p:cNvPr>
            <p:cNvSpPr>
              <a:spLocks/>
            </p:cNvSpPr>
            <p:nvPr userDrawn="1"/>
          </p:nvSpPr>
          <p:spPr bwMode="auto">
            <a:xfrm>
              <a:off x="1936" y="1766"/>
              <a:ext cx="138" cy="251"/>
            </a:xfrm>
            <a:custGeom>
              <a:avLst/>
              <a:gdLst>
                <a:gd name="T0" fmla="*/ 64 w 66"/>
                <a:gd name="T1" fmla="*/ 4 h 118"/>
                <a:gd name="T2" fmla="*/ 30 w 66"/>
                <a:gd name="T3" fmla="*/ 14 h 118"/>
                <a:gd name="T4" fmla="*/ 27 w 66"/>
                <a:gd name="T5" fmla="*/ 5 h 118"/>
                <a:gd name="T6" fmla="*/ 22 w 66"/>
                <a:gd name="T7" fmla="*/ 3 h 118"/>
                <a:gd name="T8" fmla="*/ 5 w 66"/>
                <a:gd name="T9" fmla="*/ 8 h 118"/>
                <a:gd name="T10" fmla="*/ 1 w 66"/>
                <a:gd name="T11" fmla="*/ 15 h 118"/>
                <a:gd name="T12" fmla="*/ 4 w 66"/>
                <a:gd name="T13" fmla="*/ 67 h 118"/>
                <a:gd name="T14" fmla="*/ 4 w 66"/>
                <a:gd name="T15" fmla="*/ 114 h 118"/>
                <a:gd name="T16" fmla="*/ 8 w 66"/>
                <a:gd name="T17" fmla="*/ 118 h 118"/>
                <a:gd name="T18" fmla="*/ 24 w 66"/>
                <a:gd name="T19" fmla="*/ 118 h 118"/>
                <a:gd name="T20" fmla="*/ 31 w 66"/>
                <a:gd name="T21" fmla="*/ 113 h 118"/>
                <a:gd name="T22" fmla="*/ 31 w 66"/>
                <a:gd name="T23" fmla="*/ 79 h 118"/>
                <a:gd name="T24" fmla="*/ 52 w 66"/>
                <a:gd name="T25" fmla="*/ 30 h 118"/>
                <a:gd name="T26" fmla="*/ 57 w 66"/>
                <a:gd name="T27" fmla="*/ 29 h 118"/>
                <a:gd name="T28" fmla="*/ 59 w 66"/>
                <a:gd name="T29" fmla="*/ 26 h 118"/>
                <a:gd name="T30" fmla="*/ 65 w 66"/>
                <a:gd name="T31" fmla="*/ 9 h 118"/>
                <a:gd name="T32" fmla="*/ 64 w 66"/>
                <a:gd name="T33"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118">
                  <a:moveTo>
                    <a:pt x="64" y="4"/>
                  </a:moveTo>
                  <a:cubicBezTo>
                    <a:pt x="51" y="0"/>
                    <a:pt x="39" y="5"/>
                    <a:pt x="30" y="14"/>
                  </a:cubicBezTo>
                  <a:cubicBezTo>
                    <a:pt x="29" y="11"/>
                    <a:pt x="29" y="8"/>
                    <a:pt x="27" y="5"/>
                  </a:cubicBezTo>
                  <a:cubicBezTo>
                    <a:pt x="26" y="2"/>
                    <a:pt x="23" y="3"/>
                    <a:pt x="22" y="3"/>
                  </a:cubicBezTo>
                  <a:cubicBezTo>
                    <a:pt x="16" y="5"/>
                    <a:pt x="11" y="6"/>
                    <a:pt x="5" y="8"/>
                  </a:cubicBezTo>
                  <a:cubicBezTo>
                    <a:pt x="2" y="8"/>
                    <a:pt x="0" y="12"/>
                    <a:pt x="1" y="15"/>
                  </a:cubicBezTo>
                  <a:cubicBezTo>
                    <a:pt x="8" y="29"/>
                    <a:pt x="4" y="51"/>
                    <a:pt x="4" y="67"/>
                  </a:cubicBezTo>
                  <a:cubicBezTo>
                    <a:pt x="4" y="83"/>
                    <a:pt x="4" y="99"/>
                    <a:pt x="4" y="114"/>
                  </a:cubicBezTo>
                  <a:cubicBezTo>
                    <a:pt x="4" y="116"/>
                    <a:pt x="5" y="118"/>
                    <a:pt x="8" y="118"/>
                  </a:cubicBezTo>
                  <a:cubicBezTo>
                    <a:pt x="13" y="118"/>
                    <a:pt x="19" y="118"/>
                    <a:pt x="24" y="118"/>
                  </a:cubicBezTo>
                  <a:cubicBezTo>
                    <a:pt x="27" y="118"/>
                    <a:pt x="31" y="116"/>
                    <a:pt x="31" y="113"/>
                  </a:cubicBezTo>
                  <a:cubicBezTo>
                    <a:pt x="31" y="102"/>
                    <a:pt x="31" y="90"/>
                    <a:pt x="31" y="79"/>
                  </a:cubicBezTo>
                  <a:cubicBezTo>
                    <a:pt x="31" y="65"/>
                    <a:pt x="25" y="25"/>
                    <a:pt x="52" y="30"/>
                  </a:cubicBezTo>
                  <a:cubicBezTo>
                    <a:pt x="54" y="31"/>
                    <a:pt x="55" y="30"/>
                    <a:pt x="57" y="29"/>
                  </a:cubicBezTo>
                  <a:cubicBezTo>
                    <a:pt x="58" y="28"/>
                    <a:pt x="58" y="27"/>
                    <a:pt x="59" y="26"/>
                  </a:cubicBezTo>
                  <a:cubicBezTo>
                    <a:pt x="61" y="20"/>
                    <a:pt x="63" y="14"/>
                    <a:pt x="65" y="9"/>
                  </a:cubicBezTo>
                  <a:cubicBezTo>
                    <a:pt x="66" y="7"/>
                    <a:pt x="66" y="4"/>
                    <a:pt x="64"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18" name="Freeform 10">
              <a:extLst>
                <a:ext uri="{FF2B5EF4-FFF2-40B4-BE49-F238E27FC236}">
                  <a16:creationId xmlns:a16="http://schemas.microsoft.com/office/drawing/2014/main" id="{84F2728D-6F33-445A-B0B5-84ADA71C9721}"/>
                </a:ext>
              </a:extLst>
            </p:cNvPr>
            <p:cNvSpPr>
              <a:spLocks/>
            </p:cNvSpPr>
            <p:nvPr userDrawn="1"/>
          </p:nvSpPr>
          <p:spPr bwMode="auto">
            <a:xfrm>
              <a:off x="2097" y="1683"/>
              <a:ext cx="79" cy="70"/>
            </a:xfrm>
            <a:custGeom>
              <a:avLst/>
              <a:gdLst>
                <a:gd name="T0" fmla="*/ 22 w 38"/>
                <a:gd name="T1" fmla="*/ 1 h 33"/>
                <a:gd name="T2" fmla="*/ 2 w 38"/>
                <a:gd name="T3" fmla="*/ 16 h 33"/>
                <a:gd name="T4" fmla="*/ 16 w 38"/>
                <a:gd name="T5" fmla="*/ 33 h 33"/>
                <a:gd name="T6" fmla="*/ 19 w 38"/>
                <a:gd name="T7" fmla="*/ 33 h 33"/>
                <a:gd name="T8" fmla="*/ 37 w 38"/>
                <a:gd name="T9" fmla="*/ 18 h 33"/>
                <a:gd name="T10" fmla="*/ 22 w 38"/>
                <a:gd name="T11" fmla="*/ 1 h 33"/>
              </a:gdLst>
              <a:ahLst/>
              <a:cxnLst>
                <a:cxn ang="0">
                  <a:pos x="T0" y="T1"/>
                </a:cxn>
                <a:cxn ang="0">
                  <a:pos x="T2" y="T3"/>
                </a:cxn>
                <a:cxn ang="0">
                  <a:pos x="T4" y="T5"/>
                </a:cxn>
                <a:cxn ang="0">
                  <a:pos x="T6" y="T7"/>
                </a:cxn>
                <a:cxn ang="0">
                  <a:pos x="T8" y="T9"/>
                </a:cxn>
                <a:cxn ang="0">
                  <a:pos x="T10" y="T11"/>
                </a:cxn>
              </a:cxnLst>
              <a:rect l="0" t="0" r="r" b="b"/>
              <a:pathLst>
                <a:path w="38" h="33">
                  <a:moveTo>
                    <a:pt x="22" y="1"/>
                  </a:moveTo>
                  <a:cubicBezTo>
                    <a:pt x="13" y="0"/>
                    <a:pt x="3" y="7"/>
                    <a:pt x="2" y="16"/>
                  </a:cubicBezTo>
                  <a:cubicBezTo>
                    <a:pt x="0" y="26"/>
                    <a:pt x="7" y="33"/>
                    <a:pt x="16" y="33"/>
                  </a:cubicBezTo>
                  <a:cubicBezTo>
                    <a:pt x="17" y="33"/>
                    <a:pt x="18" y="33"/>
                    <a:pt x="19" y="33"/>
                  </a:cubicBezTo>
                  <a:cubicBezTo>
                    <a:pt x="27" y="32"/>
                    <a:pt x="35" y="27"/>
                    <a:pt x="37" y="18"/>
                  </a:cubicBezTo>
                  <a:cubicBezTo>
                    <a:pt x="38" y="9"/>
                    <a:pt x="31" y="1"/>
                    <a:pt x="22"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19" name="Freeform 11">
              <a:extLst>
                <a:ext uri="{FF2B5EF4-FFF2-40B4-BE49-F238E27FC236}">
                  <a16:creationId xmlns:a16="http://schemas.microsoft.com/office/drawing/2014/main" id="{1CE117C7-F91A-4331-9F38-C750BC4A4170}"/>
                </a:ext>
              </a:extLst>
            </p:cNvPr>
            <p:cNvSpPr>
              <a:spLocks/>
            </p:cNvSpPr>
            <p:nvPr userDrawn="1"/>
          </p:nvSpPr>
          <p:spPr bwMode="auto">
            <a:xfrm>
              <a:off x="2107" y="1775"/>
              <a:ext cx="59" cy="239"/>
            </a:xfrm>
            <a:custGeom>
              <a:avLst/>
              <a:gdLst>
                <a:gd name="T0" fmla="*/ 24 w 28"/>
                <a:gd name="T1" fmla="*/ 0 h 113"/>
                <a:gd name="T2" fmla="*/ 7 w 28"/>
                <a:gd name="T3" fmla="*/ 3 h 113"/>
                <a:gd name="T4" fmla="*/ 0 w 28"/>
                <a:gd name="T5" fmla="*/ 8 h 113"/>
                <a:gd name="T6" fmla="*/ 0 w 28"/>
                <a:gd name="T7" fmla="*/ 111 h 113"/>
                <a:gd name="T8" fmla="*/ 0 w 28"/>
                <a:gd name="T9" fmla="*/ 112 h 113"/>
                <a:gd name="T10" fmla="*/ 2 w 28"/>
                <a:gd name="T11" fmla="*/ 113 h 113"/>
                <a:gd name="T12" fmla="*/ 3 w 28"/>
                <a:gd name="T13" fmla="*/ 113 h 113"/>
                <a:gd name="T14" fmla="*/ 20 w 28"/>
                <a:gd name="T15" fmla="*/ 113 h 113"/>
                <a:gd name="T16" fmla="*/ 28 w 28"/>
                <a:gd name="T17" fmla="*/ 108 h 113"/>
                <a:gd name="T18" fmla="*/ 28 w 28"/>
                <a:gd name="T19" fmla="*/ 2 h 113"/>
                <a:gd name="T20" fmla="*/ 24 w 28"/>
                <a:gd name="T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3">
                  <a:moveTo>
                    <a:pt x="24" y="0"/>
                  </a:moveTo>
                  <a:cubicBezTo>
                    <a:pt x="18" y="1"/>
                    <a:pt x="13" y="2"/>
                    <a:pt x="7" y="3"/>
                  </a:cubicBezTo>
                  <a:cubicBezTo>
                    <a:pt x="5" y="3"/>
                    <a:pt x="0" y="5"/>
                    <a:pt x="0" y="8"/>
                  </a:cubicBezTo>
                  <a:cubicBezTo>
                    <a:pt x="0" y="43"/>
                    <a:pt x="0" y="77"/>
                    <a:pt x="0" y="111"/>
                  </a:cubicBezTo>
                  <a:cubicBezTo>
                    <a:pt x="0" y="112"/>
                    <a:pt x="0" y="112"/>
                    <a:pt x="0" y="112"/>
                  </a:cubicBezTo>
                  <a:cubicBezTo>
                    <a:pt x="1" y="113"/>
                    <a:pt x="1" y="113"/>
                    <a:pt x="2" y="113"/>
                  </a:cubicBezTo>
                  <a:cubicBezTo>
                    <a:pt x="2" y="113"/>
                    <a:pt x="3" y="113"/>
                    <a:pt x="3" y="113"/>
                  </a:cubicBezTo>
                  <a:cubicBezTo>
                    <a:pt x="9" y="113"/>
                    <a:pt x="14" y="113"/>
                    <a:pt x="20" y="113"/>
                  </a:cubicBezTo>
                  <a:cubicBezTo>
                    <a:pt x="22" y="113"/>
                    <a:pt x="28" y="111"/>
                    <a:pt x="28" y="108"/>
                  </a:cubicBezTo>
                  <a:cubicBezTo>
                    <a:pt x="28" y="73"/>
                    <a:pt x="28" y="38"/>
                    <a:pt x="28" y="2"/>
                  </a:cubicBezTo>
                  <a:cubicBezTo>
                    <a:pt x="28" y="0"/>
                    <a:pt x="25" y="0"/>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20" name="Freeform 12">
              <a:extLst>
                <a:ext uri="{FF2B5EF4-FFF2-40B4-BE49-F238E27FC236}">
                  <a16:creationId xmlns:a16="http://schemas.microsoft.com/office/drawing/2014/main" id="{50575BE8-8F62-40E1-99FB-21CAB9E6EF9A}"/>
                </a:ext>
              </a:extLst>
            </p:cNvPr>
            <p:cNvSpPr>
              <a:spLocks/>
            </p:cNvSpPr>
            <p:nvPr userDrawn="1"/>
          </p:nvSpPr>
          <p:spPr bwMode="auto">
            <a:xfrm>
              <a:off x="2220" y="1764"/>
              <a:ext cx="193" cy="255"/>
            </a:xfrm>
            <a:custGeom>
              <a:avLst/>
              <a:gdLst>
                <a:gd name="T0" fmla="*/ 77 w 92"/>
                <a:gd name="T1" fmla="*/ 8 h 120"/>
                <a:gd name="T2" fmla="*/ 30 w 92"/>
                <a:gd name="T3" fmla="*/ 15 h 120"/>
                <a:gd name="T4" fmla="*/ 27 w 92"/>
                <a:gd name="T5" fmla="*/ 7 h 120"/>
                <a:gd name="T6" fmla="*/ 21 w 92"/>
                <a:gd name="T7" fmla="*/ 4 h 120"/>
                <a:gd name="T8" fmla="*/ 5 w 92"/>
                <a:gd name="T9" fmla="*/ 8 h 120"/>
                <a:gd name="T10" fmla="*/ 2 w 92"/>
                <a:gd name="T11" fmla="*/ 16 h 120"/>
                <a:gd name="T12" fmla="*/ 5 w 92"/>
                <a:gd name="T13" fmla="*/ 68 h 120"/>
                <a:gd name="T14" fmla="*/ 5 w 92"/>
                <a:gd name="T15" fmla="*/ 115 h 120"/>
                <a:gd name="T16" fmla="*/ 9 w 92"/>
                <a:gd name="T17" fmla="*/ 120 h 120"/>
                <a:gd name="T18" fmla="*/ 24 w 92"/>
                <a:gd name="T19" fmla="*/ 120 h 120"/>
                <a:gd name="T20" fmla="*/ 31 w 92"/>
                <a:gd name="T21" fmla="*/ 114 h 120"/>
                <a:gd name="T22" fmla="*/ 31 w 92"/>
                <a:gd name="T23" fmla="*/ 73 h 120"/>
                <a:gd name="T24" fmla="*/ 31 w 92"/>
                <a:gd name="T25" fmla="*/ 48 h 120"/>
                <a:gd name="T26" fmla="*/ 46 w 92"/>
                <a:gd name="T27" fmla="*/ 30 h 120"/>
                <a:gd name="T28" fmla="*/ 65 w 92"/>
                <a:gd name="T29" fmla="*/ 75 h 120"/>
                <a:gd name="T30" fmla="*/ 65 w 92"/>
                <a:gd name="T31" fmla="*/ 115 h 120"/>
                <a:gd name="T32" fmla="*/ 65 w 92"/>
                <a:gd name="T33" fmla="*/ 117 h 120"/>
                <a:gd name="T34" fmla="*/ 68 w 92"/>
                <a:gd name="T35" fmla="*/ 120 h 120"/>
                <a:gd name="T36" fmla="*/ 85 w 92"/>
                <a:gd name="T37" fmla="*/ 120 h 120"/>
                <a:gd name="T38" fmla="*/ 92 w 92"/>
                <a:gd name="T39" fmla="*/ 114 h 120"/>
                <a:gd name="T40" fmla="*/ 92 w 92"/>
                <a:gd name="T41" fmla="*/ 39 h 120"/>
                <a:gd name="T42" fmla="*/ 77 w 92"/>
                <a:gd name="T43"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120">
                  <a:moveTo>
                    <a:pt x="77" y="8"/>
                  </a:moveTo>
                  <a:cubicBezTo>
                    <a:pt x="59" y="0"/>
                    <a:pt x="44" y="5"/>
                    <a:pt x="30" y="15"/>
                  </a:cubicBezTo>
                  <a:cubicBezTo>
                    <a:pt x="29" y="12"/>
                    <a:pt x="29" y="10"/>
                    <a:pt x="27" y="7"/>
                  </a:cubicBezTo>
                  <a:cubicBezTo>
                    <a:pt x="26" y="4"/>
                    <a:pt x="24" y="3"/>
                    <a:pt x="21" y="4"/>
                  </a:cubicBezTo>
                  <a:cubicBezTo>
                    <a:pt x="16" y="5"/>
                    <a:pt x="10" y="7"/>
                    <a:pt x="5" y="8"/>
                  </a:cubicBezTo>
                  <a:cubicBezTo>
                    <a:pt x="2" y="9"/>
                    <a:pt x="0" y="13"/>
                    <a:pt x="2" y="16"/>
                  </a:cubicBezTo>
                  <a:cubicBezTo>
                    <a:pt x="8" y="30"/>
                    <a:pt x="5" y="53"/>
                    <a:pt x="5" y="68"/>
                  </a:cubicBezTo>
                  <a:cubicBezTo>
                    <a:pt x="5" y="83"/>
                    <a:pt x="5" y="99"/>
                    <a:pt x="5" y="115"/>
                  </a:cubicBezTo>
                  <a:cubicBezTo>
                    <a:pt x="5" y="117"/>
                    <a:pt x="6" y="120"/>
                    <a:pt x="9" y="120"/>
                  </a:cubicBezTo>
                  <a:cubicBezTo>
                    <a:pt x="14" y="120"/>
                    <a:pt x="19" y="120"/>
                    <a:pt x="24" y="120"/>
                  </a:cubicBezTo>
                  <a:cubicBezTo>
                    <a:pt x="28" y="120"/>
                    <a:pt x="31" y="118"/>
                    <a:pt x="31" y="114"/>
                  </a:cubicBezTo>
                  <a:cubicBezTo>
                    <a:pt x="31" y="101"/>
                    <a:pt x="31" y="87"/>
                    <a:pt x="31" y="73"/>
                  </a:cubicBezTo>
                  <a:cubicBezTo>
                    <a:pt x="31" y="65"/>
                    <a:pt x="31" y="57"/>
                    <a:pt x="31" y="48"/>
                  </a:cubicBezTo>
                  <a:cubicBezTo>
                    <a:pt x="31" y="35"/>
                    <a:pt x="33" y="36"/>
                    <a:pt x="46" y="30"/>
                  </a:cubicBezTo>
                  <a:cubicBezTo>
                    <a:pt x="70" y="19"/>
                    <a:pt x="65" y="63"/>
                    <a:pt x="65" y="75"/>
                  </a:cubicBezTo>
                  <a:cubicBezTo>
                    <a:pt x="65" y="88"/>
                    <a:pt x="65" y="102"/>
                    <a:pt x="65" y="115"/>
                  </a:cubicBezTo>
                  <a:cubicBezTo>
                    <a:pt x="65" y="116"/>
                    <a:pt x="65" y="116"/>
                    <a:pt x="65" y="117"/>
                  </a:cubicBezTo>
                  <a:cubicBezTo>
                    <a:pt x="65" y="118"/>
                    <a:pt x="66" y="120"/>
                    <a:pt x="68" y="120"/>
                  </a:cubicBezTo>
                  <a:cubicBezTo>
                    <a:pt x="74" y="120"/>
                    <a:pt x="79" y="120"/>
                    <a:pt x="85" y="120"/>
                  </a:cubicBezTo>
                  <a:cubicBezTo>
                    <a:pt x="88" y="120"/>
                    <a:pt x="92" y="118"/>
                    <a:pt x="92" y="114"/>
                  </a:cubicBezTo>
                  <a:cubicBezTo>
                    <a:pt x="92" y="89"/>
                    <a:pt x="92" y="64"/>
                    <a:pt x="92" y="39"/>
                  </a:cubicBezTo>
                  <a:cubicBezTo>
                    <a:pt x="92" y="27"/>
                    <a:pt x="89" y="14"/>
                    <a:pt x="77"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21" name="Freeform 13">
              <a:extLst>
                <a:ext uri="{FF2B5EF4-FFF2-40B4-BE49-F238E27FC236}">
                  <a16:creationId xmlns:a16="http://schemas.microsoft.com/office/drawing/2014/main" id="{5D941548-299A-440C-BB6B-7F9B5C752A32}"/>
                </a:ext>
              </a:extLst>
            </p:cNvPr>
            <p:cNvSpPr>
              <a:spLocks/>
            </p:cNvSpPr>
            <p:nvPr userDrawn="1"/>
          </p:nvSpPr>
          <p:spPr bwMode="auto">
            <a:xfrm>
              <a:off x="2469" y="1675"/>
              <a:ext cx="203" cy="342"/>
            </a:xfrm>
            <a:custGeom>
              <a:avLst/>
              <a:gdLst>
                <a:gd name="T0" fmla="*/ 47 w 97"/>
                <a:gd name="T1" fmla="*/ 102 h 161"/>
                <a:gd name="T2" fmla="*/ 87 w 97"/>
                <a:gd name="T3" fmla="*/ 58 h 161"/>
                <a:gd name="T4" fmla="*/ 80 w 97"/>
                <a:gd name="T5" fmla="*/ 49 h 161"/>
                <a:gd name="T6" fmla="*/ 51 w 97"/>
                <a:gd name="T7" fmla="*/ 59 h 161"/>
                <a:gd name="T8" fmla="*/ 26 w 97"/>
                <a:gd name="T9" fmla="*/ 86 h 161"/>
                <a:gd name="T10" fmla="*/ 26 w 97"/>
                <a:gd name="T11" fmla="*/ 81 h 161"/>
                <a:gd name="T12" fmla="*/ 24 w 97"/>
                <a:gd name="T13" fmla="*/ 8 h 161"/>
                <a:gd name="T14" fmla="*/ 17 w 97"/>
                <a:gd name="T15" fmla="*/ 0 h 161"/>
                <a:gd name="T16" fmla="*/ 0 w 97"/>
                <a:gd name="T17" fmla="*/ 3 h 161"/>
                <a:gd name="T18" fmla="*/ 0 w 97"/>
                <a:gd name="T19" fmla="*/ 4 h 161"/>
                <a:gd name="T20" fmla="*/ 3 w 97"/>
                <a:gd name="T21" fmla="*/ 77 h 161"/>
                <a:gd name="T22" fmla="*/ 3 w 97"/>
                <a:gd name="T23" fmla="*/ 153 h 161"/>
                <a:gd name="T24" fmla="*/ 5 w 97"/>
                <a:gd name="T25" fmla="*/ 157 h 161"/>
                <a:gd name="T26" fmla="*/ 10 w 97"/>
                <a:gd name="T27" fmla="*/ 161 h 161"/>
                <a:gd name="T28" fmla="*/ 26 w 97"/>
                <a:gd name="T29" fmla="*/ 161 h 161"/>
                <a:gd name="T30" fmla="*/ 26 w 97"/>
                <a:gd name="T31" fmla="*/ 161 h 161"/>
                <a:gd name="T32" fmla="*/ 26 w 97"/>
                <a:gd name="T33" fmla="*/ 103 h 161"/>
                <a:gd name="T34" fmla="*/ 70 w 97"/>
                <a:gd name="T35" fmla="*/ 157 h 161"/>
                <a:gd name="T36" fmla="*/ 70 w 97"/>
                <a:gd name="T37" fmla="*/ 157 h 161"/>
                <a:gd name="T38" fmla="*/ 74 w 97"/>
                <a:gd name="T39" fmla="*/ 161 h 161"/>
                <a:gd name="T40" fmla="*/ 96 w 97"/>
                <a:gd name="T41" fmla="*/ 161 h 161"/>
                <a:gd name="T42" fmla="*/ 93 w 97"/>
                <a:gd name="T43" fmla="*/ 155 h 161"/>
                <a:gd name="T44" fmla="*/ 47 w 97"/>
                <a:gd name="T45" fmla="*/ 10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161">
                  <a:moveTo>
                    <a:pt x="47" y="102"/>
                  </a:moveTo>
                  <a:cubicBezTo>
                    <a:pt x="60" y="87"/>
                    <a:pt x="74" y="72"/>
                    <a:pt x="87" y="58"/>
                  </a:cubicBezTo>
                  <a:cubicBezTo>
                    <a:pt x="88" y="56"/>
                    <a:pt x="82" y="49"/>
                    <a:pt x="80" y="49"/>
                  </a:cubicBezTo>
                  <a:cubicBezTo>
                    <a:pt x="64" y="49"/>
                    <a:pt x="61" y="47"/>
                    <a:pt x="51" y="59"/>
                  </a:cubicBezTo>
                  <a:cubicBezTo>
                    <a:pt x="43" y="68"/>
                    <a:pt x="35" y="77"/>
                    <a:pt x="26" y="86"/>
                  </a:cubicBezTo>
                  <a:cubicBezTo>
                    <a:pt x="26" y="85"/>
                    <a:pt x="26" y="83"/>
                    <a:pt x="26" y="81"/>
                  </a:cubicBezTo>
                  <a:cubicBezTo>
                    <a:pt x="26" y="58"/>
                    <a:pt x="30" y="31"/>
                    <a:pt x="24" y="8"/>
                  </a:cubicBezTo>
                  <a:cubicBezTo>
                    <a:pt x="23" y="6"/>
                    <a:pt x="19" y="0"/>
                    <a:pt x="17" y="0"/>
                  </a:cubicBezTo>
                  <a:cubicBezTo>
                    <a:pt x="11" y="1"/>
                    <a:pt x="6" y="2"/>
                    <a:pt x="0" y="3"/>
                  </a:cubicBezTo>
                  <a:cubicBezTo>
                    <a:pt x="0" y="4"/>
                    <a:pt x="0" y="4"/>
                    <a:pt x="0" y="4"/>
                  </a:cubicBezTo>
                  <a:cubicBezTo>
                    <a:pt x="7" y="26"/>
                    <a:pt x="3" y="55"/>
                    <a:pt x="3" y="77"/>
                  </a:cubicBezTo>
                  <a:cubicBezTo>
                    <a:pt x="3" y="102"/>
                    <a:pt x="3" y="127"/>
                    <a:pt x="3" y="153"/>
                  </a:cubicBezTo>
                  <a:cubicBezTo>
                    <a:pt x="3" y="154"/>
                    <a:pt x="4" y="155"/>
                    <a:pt x="5" y="157"/>
                  </a:cubicBezTo>
                  <a:cubicBezTo>
                    <a:pt x="7" y="159"/>
                    <a:pt x="8" y="161"/>
                    <a:pt x="10" y="161"/>
                  </a:cubicBezTo>
                  <a:cubicBezTo>
                    <a:pt x="15" y="161"/>
                    <a:pt x="21" y="161"/>
                    <a:pt x="26" y="161"/>
                  </a:cubicBezTo>
                  <a:cubicBezTo>
                    <a:pt x="26" y="161"/>
                    <a:pt x="26" y="161"/>
                    <a:pt x="26" y="161"/>
                  </a:cubicBezTo>
                  <a:cubicBezTo>
                    <a:pt x="26" y="142"/>
                    <a:pt x="26" y="122"/>
                    <a:pt x="26" y="103"/>
                  </a:cubicBezTo>
                  <a:cubicBezTo>
                    <a:pt x="41" y="121"/>
                    <a:pt x="56" y="139"/>
                    <a:pt x="70" y="157"/>
                  </a:cubicBezTo>
                  <a:cubicBezTo>
                    <a:pt x="70" y="157"/>
                    <a:pt x="70" y="157"/>
                    <a:pt x="70" y="157"/>
                  </a:cubicBezTo>
                  <a:cubicBezTo>
                    <a:pt x="72" y="159"/>
                    <a:pt x="73" y="161"/>
                    <a:pt x="74" y="161"/>
                  </a:cubicBezTo>
                  <a:cubicBezTo>
                    <a:pt x="81" y="161"/>
                    <a:pt x="89" y="161"/>
                    <a:pt x="96" y="161"/>
                  </a:cubicBezTo>
                  <a:cubicBezTo>
                    <a:pt x="97" y="161"/>
                    <a:pt x="93" y="155"/>
                    <a:pt x="93" y="155"/>
                  </a:cubicBezTo>
                  <a:cubicBezTo>
                    <a:pt x="77" y="137"/>
                    <a:pt x="62" y="119"/>
                    <a:pt x="47" y="10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22" name="Freeform 14">
              <a:extLst>
                <a:ext uri="{FF2B5EF4-FFF2-40B4-BE49-F238E27FC236}">
                  <a16:creationId xmlns:a16="http://schemas.microsoft.com/office/drawing/2014/main" id="{56BE5089-BAF1-4A30-9DE3-97DC5BBA7DD9}"/>
                </a:ext>
              </a:extLst>
            </p:cNvPr>
            <p:cNvSpPr>
              <a:spLocks/>
            </p:cNvSpPr>
            <p:nvPr userDrawn="1"/>
          </p:nvSpPr>
          <p:spPr bwMode="auto">
            <a:xfrm>
              <a:off x="2700" y="1762"/>
              <a:ext cx="194" cy="259"/>
            </a:xfrm>
            <a:custGeom>
              <a:avLst/>
              <a:gdLst>
                <a:gd name="T0" fmla="*/ 64 w 93"/>
                <a:gd name="T1" fmla="*/ 54 h 122"/>
                <a:gd name="T2" fmla="*/ 48 w 93"/>
                <a:gd name="T3" fmla="*/ 51 h 122"/>
                <a:gd name="T4" fmla="*/ 37 w 93"/>
                <a:gd name="T5" fmla="*/ 47 h 122"/>
                <a:gd name="T6" fmla="*/ 32 w 93"/>
                <a:gd name="T7" fmla="*/ 41 h 122"/>
                <a:gd name="T8" fmla="*/ 68 w 93"/>
                <a:gd name="T9" fmla="*/ 31 h 122"/>
                <a:gd name="T10" fmla="*/ 77 w 93"/>
                <a:gd name="T11" fmla="*/ 29 h 122"/>
                <a:gd name="T12" fmla="*/ 83 w 93"/>
                <a:gd name="T13" fmla="*/ 17 h 122"/>
                <a:gd name="T14" fmla="*/ 82 w 93"/>
                <a:gd name="T15" fmla="*/ 14 h 122"/>
                <a:gd name="T16" fmla="*/ 4 w 93"/>
                <a:gd name="T17" fmla="*/ 35 h 122"/>
                <a:gd name="T18" fmla="*/ 22 w 93"/>
                <a:gd name="T19" fmla="*/ 68 h 122"/>
                <a:gd name="T20" fmla="*/ 44 w 93"/>
                <a:gd name="T21" fmla="*/ 74 h 122"/>
                <a:gd name="T22" fmla="*/ 60 w 93"/>
                <a:gd name="T23" fmla="*/ 85 h 122"/>
                <a:gd name="T24" fmla="*/ 16 w 93"/>
                <a:gd name="T25" fmla="*/ 94 h 122"/>
                <a:gd name="T26" fmla="*/ 7 w 93"/>
                <a:gd name="T27" fmla="*/ 96 h 122"/>
                <a:gd name="T28" fmla="*/ 0 w 93"/>
                <a:gd name="T29" fmla="*/ 108 h 122"/>
                <a:gd name="T30" fmla="*/ 1 w 93"/>
                <a:gd name="T31" fmla="*/ 111 h 122"/>
                <a:gd name="T32" fmla="*/ 42 w 93"/>
                <a:gd name="T33" fmla="*/ 122 h 122"/>
                <a:gd name="T34" fmla="*/ 42 w 93"/>
                <a:gd name="T35" fmla="*/ 122 h 122"/>
                <a:gd name="T36" fmla="*/ 43 w 93"/>
                <a:gd name="T37" fmla="*/ 122 h 122"/>
                <a:gd name="T38" fmla="*/ 87 w 93"/>
                <a:gd name="T39" fmla="*/ 75 h 122"/>
                <a:gd name="T40" fmla="*/ 64 w 93"/>
                <a:gd name="T41" fmla="*/ 5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122">
                  <a:moveTo>
                    <a:pt x="64" y="54"/>
                  </a:moveTo>
                  <a:cubicBezTo>
                    <a:pt x="59" y="52"/>
                    <a:pt x="53" y="52"/>
                    <a:pt x="48" y="51"/>
                  </a:cubicBezTo>
                  <a:cubicBezTo>
                    <a:pt x="44" y="50"/>
                    <a:pt x="41" y="49"/>
                    <a:pt x="37" y="47"/>
                  </a:cubicBezTo>
                  <a:cubicBezTo>
                    <a:pt x="35" y="45"/>
                    <a:pt x="34" y="43"/>
                    <a:pt x="32" y="41"/>
                  </a:cubicBezTo>
                  <a:cubicBezTo>
                    <a:pt x="43" y="25"/>
                    <a:pt x="55" y="22"/>
                    <a:pt x="68" y="31"/>
                  </a:cubicBezTo>
                  <a:cubicBezTo>
                    <a:pt x="70" y="33"/>
                    <a:pt x="76" y="32"/>
                    <a:pt x="77" y="29"/>
                  </a:cubicBezTo>
                  <a:cubicBezTo>
                    <a:pt x="79" y="25"/>
                    <a:pt x="81" y="21"/>
                    <a:pt x="83" y="17"/>
                  </a:cubicBezTo>
                  <a:cubicBezTo>
                    <a:pt x="84" y="16"/>
                    <a:pt x="84" y="14"/>
                    <a:pt x="82" y="14"/>
                  </a:cubicBezTo>
                  <a:cubicBezTo>
                    <a:pt x="56" y="0"/>
                    <a:pt x="13" y="0"/>
                    <a:pt x="4" y="35"/>
                  </a:cubicBezTo>
                  <a:cubicBezTo>
                    <a:pt x="1" y="49"/>
                    <a:pt x="10" y="63"/>
                    <a:pt x="22" y="68"/>
                  </a:cubicBezTo>
                  <a:cubicBezTo>
                    <a:pt x="29" y="71"/>
                    <a:pt x="36" y="73"/>
                    <a:pt x="44" y="74"/>
                  </a:cubicBezTo>
                  <a:cubicBezTo>
                    <a:pt x="51" y="76"/>
                    <a:pt x="57" y="77"/>
                    <a:pt x="60" y="85"/>
                  </a:cubicBezTo>
                  <a:cubicBezTo>
                    <a:pt x="69" y="111"/>
                    <a:pt x="25" y="98"/>
                    <a:pt x="16" y="94"/>
                  </a:cubicBezTo>
                  <a:cubicBezTo>
                    <a:pt x="14" y="92"/>
                    <a:pt x="8" y="93"/>
                    <a:pt x="7" y="96"/>
                  </a:cubicBezTo>
                  <a:cubicBezTo>
                    <a:pt x="5" y="100"/>
                    <a:pt x="3" y="104"/>
                    <a:pt x="0" y="108"/>
                  </a:cubicBezTo>
                  <a:cubicBezTo>
                    <a:pt x="0" y="109"/>
                    <a:pt x="0" y="110"/>
                    <a:pt x="1" y="111"/>
                  </a:cubicBezTo>
                  <a:cubicBezTo>
                    <a:pt x="14" y="118"/>
                    <a:pt x="27" y="122"/>
                    <a:pt x="42" y="122"/>
                  </a:cubicBezTo>
                  <a:cubicBezTo>
                    <a:pt x="42" y="122"/>
                    <a:pt x="42" y="122"/>
                    <a:pt x="42" y="122"/>
                  </a:cubicBezTo>
                  <a:cubicBezTo>
                    <a:pt x="42" y="122"/>
                    <a:pt x="42" y="122"/>
                    <a:pt x="43" y="122"/>
                  </a:cubicBezTo>
                  <a:cubicBezTo>
                    <a:pt x="70" y="121"/>
                    <a:pt x="93" y="104"/>
                    <a:pt x="87" y="75"/>
                  </a:cubicBezTo>
                  <a:cubicBezTo>
                    <a:pt x="85" y="64"/>
                    <a:pt x="74" y="58"/>
                    <a:pt x="64" y="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23" name="Freeform 15">
              <a:extLst>
                <a:ext uri="{FF2B5EF4-FFF2-40B4-BE49-F238E27FC236}">
                  <a16:creationId xmlns:a16="http://schemas.microsoft.com/office/drawing/2014/main" id="{E1B76E68-AFB8-43DB-BF65-76B467F6C7AF}"/>
                </a:ext>
              </a:extLst>
            </p:cNvPr>
            <p:cNvSpPr>
              <a:spLocks noEditPoints="1"/>
            </p:cNvSpPr>
            <p:nvPr userDrawn="1"/>
          </p:nvSpPr>
          <p:spPr bwMode="auto">
            <a:xfrm>
              <a:off x="3060" y="1775"/>
              <a:ext cx="230" cy="254"/>
            </a:xfrm>
            <a:custGeom>
              <a:avLst/>
              <a:gdLst>
                <a:gd name="T0" fmla="*/ 55 w 110"/>
                <a:gd name="T1" fmla="*/ 1 h 120"/>
                <a:gd name="T2" fmla="*/ 5 w 110"/>
                <a:gd name="T3" fmla="*/ 47 h 120"/>
                <a:gd name="T4" fmla="*/ 51 w 110"/>
                <a:gd name="T5" fmla="*/ 114 h 120"/>
                <a:gd name="T6" fmla="*/ 52 w 110"/>
                <a:gd name="T7" fmla="*/ 114 h 120"/>
                <a:gd name="T8" fmla="*/ 52 w 110"/>
                <a:gd name="T9" fmla="*/ 114 h 120"/>
                <a:gd name="T10" fmla="*/ 52 w 110"/>
                <a:gd name="T11" fmla="*/ 114 h 120"/>
                <a:gd name="T12" fmla="*/ 53 w 110"/>
                <a:gd name="T13" fmla="*/ 114 h 120"/>
                <a:gd name="T14" fmla="*/ 104 w 110"/>
                <a:gd name="T15" fmla="*/ 70 h 120"/>
                <a:gd name="T16" fmla="*/ 55 w 110"/>
                <a:gd name="T17" fmla="*/ 1 h 120"/>
                <a:gd name="T18" fmla="*/ 42 w 110"/>
                <a:gd name="T19" fmla="*/ 91 h 120"/>
                <a:gd name="T20" fmla="*/ 33 w 110"/>
                <a:gd name="T21" fmla="*/ 48 h 120"/>
                <a:gd name="T22" fmla="*/ 38 w 110"/>
                <a:gd name="T23" fmla="*/ 27 h 120"/>
                <a:gd name="T24" fmla="*/ 70 w 110"/>
                <a:gd name="T25" fmla="*/ 30 h 120"/>
                <a:gd name="T26" fmla="*/ 42 w 110"/>
                <a:gd name="T27" fmla="*/ 9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120">
                  <a:moveTo>
                    <a:pt x="55" y="1"/>
                  </a:moveTo>
                  <a:cubicBezTo>
                    <a:pt x="27" y="3"/>
                    <a:pt x="10" y="18"/>
                    <a:pt x="5" y="47"/>
                  </a:cubicBezTo>
                  <a:cubicBezTo>
                    <a:pt x="0" y="80"/>
                    <a:pt x="16" y="112"/>
                    <a:pt x="51" y="114"/>
                  </a:cubicBezTo>
                  <a:cubicBezTo>
                    <a:pt x="51" y="114"/>
                    <a:pt x="51" y="114"/>
                    <a:pt x="52" y="114"/>
                  </a:cubicBezTo>
                  <a:cubicBezTo>
                    <a:pt x="52" y="114"/>
                    <a:pt x="52" y="114"/>
                    <a:pt x="52" y="114"/>
                  </a:cubicBezTo>
                  <a:cubicBezTo>
                    <a:pt x="52" y="114"/>
                    <a:pt x="52" y="114"/>
                    <a:pt x="52" y="114"/>
                  </a:cubicBezTo>
                  <a:cubicBezTo>
                    <a:pt x="53" y="114"/>
                    <a:pt x="53" y="114"/>
                    <a:pt x="53" y="114"/>
                  </a:cubicBezTo>
                  <a:cubicBezTo>
                    <a:pt x="81" y="113"/>
                    <a:pt x="99" y="98"/>
                    <a:pt x="104" y="70"/>
                  </a:cubicBezTo>
                  <a:cubicBezTo>
                    <a:pt x="110" y="37"/>
                    <a:pt x="93" y="0"/>
                    <a:pt x="55" y="1"/>
                  </a:cubicBezTo>
                  <a:close/>
                  <a:moveTo>
                    <a:pt x="42" y="91"/>
                  </a:moveTo>
                  <a:cubicBezTo>
                    <a:pt x="32" y="83"/>
                    <a:pt x="33" y="59"/>
                    <a:pt x="33" y="48"/>
                  </a:cubicBezTo>
                  <a:cubicBezTo>
                    <a:pt x="34" y="41"/>
                    <a:pt x="35" y="34"/>
                    <a:pt x="38" y="27"/>
                  </a:cubicBezTo>
                  <a:cubicBezTo>
                    <a:pt x="46" y="10"/>
                    <a:pt x="64" y="20"/>
                    <a:pt x="70" y="30"/>
                  </a:cubicBezTo>
                  <a:cubicBezTo>
                    <a:pt x="77" y="46"/>
                    <a:pt x="79" y="120"/>
                    <a:pt x="42" y="9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24" name="Freeform 16">
              <a:extLst>
                <a:ext uri="{FF2B5EF4-FFF2-40B4-BE49-F238E27FC236}">
                  <a16:creationId xmlns:a16="http://schemas.microsoft.com/office/drawing/2014/main" id="{D6E188A1-5266-438A-83BB-E343644EE28D}"/>
                </a:ext>
              </a:extLst>
            </p:cNvPr>
            <p:cNvSpPr>
              <a:spLocks/>
            </p:cNvSpPr>
            <p:nvPr userDrawn="1"/>
          </p:nvSpPr>
          <p:spPr bwMode="auto">
            <a:xfrm>
              <a:off x="3328" y="1758"/>
              <a:ext cx="190" cy="261"/>
            </a:xfrm>
            <a:custGeom>
              <a:avLst/>
              <a:gdLst>
                <a:gd name="T0" fmla="*/ 76 w 91"/>
                <a:gd name="T1" fmla="*/ 12 h 123"/>
                <a:gd name="T2" fmla="*/ 29 w 91"/>
                <a:gd name="T3" fmla="*/ 18 h 123"/>
                <a:gd name="T4" fmla="*/ 26 w 91"/>
                <a:gd name="T5" fmla="*/ 9 h 123"/>
                <a:gd name="T6" fmla="*/ 20 w 91"/>
                <a:gd name="T7" fmla="*/ 6 h 123"/>
                <a:gd name="T8" fmla="*/ 5 w 91"/>
                <a:gd name="T9" fmla="*/ 11 h 123"/>
                <a:gd name="T10" fmla="*/ 2 w 91"/>
                <a:gd name="T11" fmla="*/ 18 h 123"/>
                <a:gd name="T12" fmla="*/ 5 w 91"/>
                <a:gd name="T13" fmla="*/ 69 h 123"/>
                <a:gd name="T14" fmla="*/ 5 w 91"/>
                <a:gd name="T15" fmla="*/ 117 h 123"/>
                <a:gd name="T16" fmla="*/ 10 w 91"/>
                <a:gd name="T17" fmla="*/ 123 h 123"/>
                <a:gd name="T18" fmla="*/ 26 w 91"/>
                <a:gd name="T19" fmla="*/ 123 h 123"/>
                <a:gd name="T20" fmla="*/ 31 w 91"/>
                <a:gd name="T21" fmla="*/ 118 h 123"/>
                <a:gd name="T22" fmla="*/ 31 w 91"/>
                <a:gd name="T23" fmla="*/ 78 h 123"/>
                <a:gd name="T24" fmla="*/ 31 w 91"/>
                <a:gd name="T25" fmla="*/ 52 h 123"/>
                <a:gd name="T26" fmla="*/ 42 w 91"/>
                <a:gd name="T27" fmla="*/ 35 h 123"/>
                <a:gd name="T28" fmla="*/ 64 w 91"/>
                <a:gd name="T29" fmla="*/ 76 h 123"/>
                <a:gd name="T30" fmla="*/ 64 w 91"/>
                <a:gd name="T31" fmla="*/ 117 h 123"/>
                <a:gd name="T32" fmla="*/ 65 w 91"/>
                <a:gd name="T33" fmla="*/ 119 h 123"/>
                <a:gd name="T34" fmla="*/ 70 w 91"/>
                <a:gd name="T35" fmla="*/ 123 h 123"/>
                <a:gd name="T36" fmla="*/ 86 w 91"/>
                <a:gd name="T37" fmla="*/ 123 h 123"/>
                <a:gd name="T38" fmla="*/ 91 w 91"/>
                <a:gd name="T39" fmla="*/ 118 h 123"/>
                <a:gd name="T40" fmla="*/ 91 w 91"/>
                <a:gd name="T41" fmla="*/ 44 h 123"/>
                <a:gd name="T42" fmla="*/ 76 w 91"/>
                <a:gd name="T43" fmla="*/ 1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1" h="123">
                  <a:moveTo>
                    <a:pt x="76" y="12"/>
                  </a:moveTo>
                  <a:cubicBezTo>
                    <a:pt x="61" y="0"/>
                    <a:pt x="42" y="8"/>
                    <a:pt x="29" y="18"/>
                  </a:cubicBezTo>
                  <a:cubicBezTo>
                    <a:pt x="28" y="15"/>
                    <a:pt x="27" y="12"/>
                    <a:pt x="26" y="9"/>
                  </a:cubicBezTo>
                  <a:cubicBezTo>
                    <a:pt x="25" y="7"/>
                    <a:pt x="23" y="6"/>
                    <a:pt x="20" y="6"/>
                  </a:cubicBezTo>
                  <a:cubicBezTo>
                    <a:pt x="15" y="8"/>
                    <a:pt x="10" y="9"/>
                    <a:pt x="5" y="11"/>
                  </a:cubicBezTo>
                  <a:cubicBezTo>
                    <a:pt x="1" y="12"/>
                    <a:pt x="0" y="15"/>
                    <a:pt x="2" y="18"/>
                  </a:cubicBezTo>
                  <a:cubicBezTo>
                    <a:pt x="8" y="32"/>
                    <a:pt x="5" y="55"/>
                    <a:pt x="5" y="69"/>
                  </a:cubicBezTo>
                  <a:cubicBezTo>
                    <a:pt x="5" y="85"/>
                    <a:pt x="5" y="101"/>
                    <a:pt x="5" y="117"/>
                  </a:cubicBezTo>
                  <a:cubicBezTo>
                    <a:pt x="5" y="120"/>
                    <a:pt x="7" y="123"/>
                    <a:pt x="10" y="123"/>
                  </a:cubicBezTo>
                  <a:cubicBezTo>
                    <a:pt x="15" y="123"/>
                    <a:pt x="20" y="123"/>
                    <a:pt x="26" y="123"/>
                  </a:cubicBezTo>
                  <a:cubicBezTo>
                    <a:pt x="29" y="123"/>
                    <a:pt x="31" y="121"/>
                    <a:pt x="31" y="118"/>
                  </a:cubicBezTo>
                  <a:cubicBezTo>
                    <a:pt x="31" y="105"/>
                    <a:pt x="31" y="91"/>
                    <a:pt x="31" y="78"/>
                  </a:cubicBezTo>
                  <a:cubicBezTo>
                    <a:pt x="31" y="69"/>
                    <a:pt x="31" y="61"/>
                    <a:pt x="31" y="52"/>
                  </a:cubicBezTo>
                  <a:cubicBezTo>
                    <a:pt x="31" y="41"/>
                    <a:pt x="31" y="42"/>
                    <a:pt x="42" y="35"/>
                  </a:cubicBezTo>
                  <a:cubicBezTo>
                    <a:pt x="70" y="20"/>
                    <a:pt x="64" y="63"/>
                    <a:pt x="64" y="76"/>
                  </a:cubicBezTo>
                  <a:cubicBezTo>
                    <a:pt x="64" y="90"/>
                    <a:pt x="64" y="104"/>
                    <a:pt x="64" y="117"/>
                  </a:cubicBezTo>
                  <a:cubicBezTo>
                    <a:pt x="64" y="118"/>
                    <a:pt x="65" y="118"/>
                    <a:pt x="65" y="119"/>
                  </a:cubicBezTo>
                  <a:cubicBezTo>
                    <a:pt x="65" y="121"/>
                    <a:pt x="67" y="123"/>
                    <a:pt x="70" y="123"/>
                  </a:cubicBezTo>
                  <a:cubicBezTo>
                    <a:pt x="75" y="123"/>
                    <a:pt x="81" y="123"/>
                    <a:pt x="86" y="123"/>
                  </a:cubicBezTo>
                  <a:cubicBezTo>
                    <a:pt x="89" y="123"/>
                    <a:pt x="91" y="121"/>
                    <a:pt x="91" y="118"/>
                  </a:cubicBezTo>
                  <a:cubicBezTo>
                    <a:pt x="91" y="93"/>
                    <a:pt x="91" y="68"/>
                    <a:pt x="91" y="44"/>
                  </a:cubicBezTo>
                  <a:cubicBezTo>
                    <a:pt x="91" y="30"/>
                    <a:pt x="87" y="20"/>
                    <a:pt x="76"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25" name="Freeform 17">
              <a:extLst>
                <a:ext uri="{FF2B5EF4-FFF2-40B4-BE49-F238E27FC236}">
                  <a16:creationId xmlns:a16="http://schemas.microsoft.com/office/drawing/2014/main" id="{CAF4705D-B6D8-4281-B12D-AD5B88055238}"/>
                </a:ext>
              </a:extLst>
            </p:cNvPr>
            <p:cNvSpPr>
              <a:spLocks noEditPoints="1"/>
            </p:cNvSpPr>
            <p:nvPr userDrawn="1"/>
          </p:nvSpPr>
          <p:spPr bwMode="auto">
            <a:xfrm>
              <a:off x="3671" y="1751"/>
              <a:ext cx="243" cy="327"/>
            </a:xfrm>
            <a:custGeom>
              <a:avLst/>
              <a:gdLst>
                <a:gd name="T0" fmla="*/ 93 w 116"/>
                <a:gd name="T1" fmla="*/ 17 h 154"/>
                <a:gd name="T2" fmla="*/ 28 w 116"/>
                <a:gd name="T3" fmla="*/ 38 h 154"/>
                <a:gd name="T4" fmla="*/ 113 w 116"/>
                <a:gd name="T5" fmla="*/ 114 h 154"/>
                <a:gd name="T6" fmla="*/ 114 w 116"/>
                <a:gd name="T7" fmla="*/ 110 h 154"/>
                <a:gd name="T8" fmla="*/ 107 w 116"/>
                <a:gd name="T9" fmla="*/ 100 h 154"/>
                <a:gd name="T10" fmla="*/ 98 w 116"/>
                <a:gd name="T11" fmla="*/ 96 h 154"/>
                <a:gd name="T12" fmla="*/ 52 w 116"/>
                <a:gd name="T13" fmla="*/ 76 h 154"/>
                <a:gd name="T14" fmla="*/ 113 w 116"/>
                <a:gd name="T15" fmla="*/ 76 h 154"/>
                <a:gd name="T16" fmla="*/ 116 w 116"/>
                <a:gd name="T17" fmla="*/ 74 h 154"/>
                <a:gd name="T18" fmla="*/ 93 w 116"/>
                <a:gd name="T19" fmla="*/ 17 h 154"/>
                <a:gd name="T20" fmla="*/ 85 w 116"/>
                <a:gd name="T21" fmla="*/ 37 h 154"/>
                <a:gd name="T22" fmla="*/ 89 w 116"/>
                <a:gd name="T23" fmla="*/ 55 h 154"/>
                <a:gd name="T24" fmla="*/ 52 w 116"/>
                <a:gd name="T25" fmla="*/ 55 h 154"/>
                <a:gd name="T26" fmla="*/ 59 w 116"/>
                <a:gd name="T27" fmla="*/ 37 h 154"/>
                <a:gd name="T28" fmla="*/ 85 w 116"/>
                <a:gd name="T29" fmla="*/ 3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 h="154">
                  <a:moveTo>
                    <a:pt x="93" y="17"/>
                  </a:moveTo>
                  <a:cubicBezTo>
                    <a:pt x="69" y="0"/>
                    <a:pt x="39" y="15"/>
                    <a:pt x="28" y="38"/>
                  </a:cubicBezTo>
                  <a:cubicBezTo>
                    <a:pt x="0" y="93"/>
                    <a:pt x="62" y="154"/>
                    <a:pt x="113" y="114"/>
                  </a:cubicBezTo>
                  <a:cubicBezTo>
                    <a:pt x="114" y="113"/>
                    <a:pt x="114" y="111"/>
                    <a:pt x="114" y="110"/>
                  </a:cubicBezTo>
                  <a:cubicBezTo>
                    <a:pt x="111" y="107"/>
                    <a:pt x="109" y="103"/>
                    <a:pt x="107" y="100"/>
                  </a:cubicBezTo>
                  <a:cubicBezTo>
                    <a:pt x="106" y="97"/>
                    <a:pt x="101" y="94"/>
                    <a:pt x="98" y="96"/>
                  </a:cubicBezTo>
                  <a:cubicBezTo>
                    <a:pt x="78" y="112"/>
                    <a:pt x="53" y="103"/>
                    <a:pt x="52" y="76"/>
                  </a:cubicBezTo>
                  <a:cubicBezTo>
                    <a:pt x="72" y="76"/>
                    <a:pt x="93" y="76"/>
                    <a:pt x="113" y="76"/>
                  </a:cubicBezTo>
                  <a:cubicBezTo>
                    <a:pt x="115" y="76"/>
                    <a:pt x="116" y="75"/>
                    <a:pt x="116" y="74"/>
                  </a:cubicBezTo>
                  <a:cubicBezTo>
                    <a:pt x="116" y="50"/>
                    <a:pt x="114" y="30"/>
                    <a:pt x="93" y="17"/>
                  </a:cubicBezTo>
                  <a:close/>
                  <a:moveTo>
                    <a:pt x="85" y="37"/>
                  </a:moveTo>
                  <a:cubicBezTo>
                    <a:pt x="88" y="43"/>
                    <a:pt x="89" y="49"/>
                    <a:pt x="89" y="55"/>
                  </a:cubicBezTo>
                  <a:cubicBezTo>
                    <a:pt x="77" y="55"/>
                    <a:pt x="64" y="55"/>
                    <a:pt x="52" y="55"/>
                  </a:cubicBezTo>
                  <a:cubicBezTo>
                    <a:pt x="53" y="49"/>
                    <a:pt x="55" y="43"/>
                    <a:pt x="59" y="37"/>
                  </a:cubicBezTo>
                  <a:cubicBezTo>
                    <a:pt x="65" y="29"/>
                    <a:pt x="79" y="29"/>
                    <a:pt x="85"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26" name="Freeform 18">
              <a:extLst>
                <a:ext uri="{FF2B5EF4-FFF2-40B4-BE49-F238E27FC236}">
                  <a16:creationId xmlns:a16="http://schemas.microsoft.com/office/drawing/2014/main" id="{40E5C03F-7389-404D-A297-F5EE8A231443}"/>
                </a:ext>
              </a:extLst>
            </p:cNvPr>
            <p:cNvSpPr>
              <a:spLocks/>
            </p:cNvSpPr>
            <p:nvPr userDrawn="1"/>
          </p:nvSpPr>
          <p:spPr bwMode="auto">
            <a:xfrm>
              <a:off x="3943" y="1772"/>
              <a:ext cx="220" cy="247"/>
            </a:xfrm>
            <a:custGeom>
              <a:avLst/>
              <a:gdLst>
                <a:gd name="T0" fmla="*/ 100 w 105"/>
                <a:gd name="T1" fmla="*/ 3 h 116"/>
                <a:gd name="T2" fmla="*/ 83 w 105"/>
                <a:gd name="T3" fmla="*/ 3 h 116"/>
                <a:gd name="T4" fmla="*/ 76 w 105"/>
                <a:gd name="T5" fmla="*/ 7 h 116"/>
                <a:gd name="T6" fmla="*/ 52 w 105"/>
                <a:gd name="T7" fmla="*/ 74 h 116"/>
                <a:gd name="T8" fmla="*/ 51 w 105"/>
                <a:gd name="T9" fmla="*/ 70 h 116"/>
                <a:gd name="T10" fmla="*/ 43 w 105"/>
                <a:gd name="T11" fmla="*/ 47 h 116"/>
                <a:gd name="T12" fmla="*/ 28 w 105"/>
                <a:gd name="T13" fmla="*/ 2 h 116"/>
                <a:gd name="T14" fmla="*/ 23 w 105"/>
                <a:gd name="T15" fmla="*/ 0 h 116"/>
                <a:gd name="T16" fmla="*/ 6 w 105"/>
                <a:gd name="T17" fmla="*/ 4 h 116"/>
                <a:gd name="T18" fmla="*/ 1 w 105"/>
                <a:gd name="T19" fmla="*/ 10 h 116"/>
                <a:gd name="T20" fmla="*/ 38 w 105"/>
                <a:gd name="T21" fmla="*/ 114 h 116"/>
                <a:gd name="T22" fmla="*/ 42 w 105"/>
                <a:gd name="T23" fmla="*/ 116 h 116"/>
                <a:gd name="T24" fmla="*/ 58 w 105"/>
                <a:gd name="T25" fmla="*/ 116 h 116"/>
                <a:gd name="T26" fmla="*/ 61 w 105"/>
                <a:gd name="T27" fmla="*/ 115 h 116"/>
                <a:gd name="T28" fmla="*/ 65 w 105"/>
                <a:gd name="T29" fmla="*/ 112 h 116"/>
                <a:gd name="T30" fmla="*/ 104 w 105"/>
                <a:gd name="T31" fmla="*/ 7 h 116"/>
                <a:gd name="T32" fmla="*/ 100 w 105"/>
                <a:gd name="T33" fmla="*/ 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5" h="116">
                  <a:moveTo>
                    <a:pt x="100" y="3"/>
                  </a:moveTo>
                  <a:cubicBezTo>
                    <a:pt x="94" y="3"/>
                    <a:pt x="88" y="3"/>
                    <a:pt x="83" y="3"/>
                  </a:cubicBezTo>
                  <a:cubicBezTo>
                    <a:pt x="80" y="3"/>
                    <a:pt x="77" y="4"/>
                    <a:pt x="76" y="7"/>
                  </a:cubicBezTo>
                  <a:cubicBezTo>
                    <a:pt x="68" y="29"/>
                    <a:pt x="59" y="51"/>
                    <a:pt x="52" y="74"/>
                  </a:cubicBezTo>
                  <a:cubicBezTo>
                    <a:pt x="52" y="72"/>
                    <a:pt x="51" y="71"/>
                    <a:pt x="51" y="70"/>
                  </a:cubicBezTo>
                  <a:cubicBezTo>
                    <a:pt x="49" y="62"/>
                    <a:pt x="46" y="55"/>
                    <a:pt x="43" y="47"/>
                  </a:cubicBezTo>
                  <a:cubicBezTo>
                    <a:pt x="38" y="32"/>
                    <a:pt x="33" y="17"/>
                    <a:pt x="28" y="2"/>
                  </a:cubicBezTo>
                  <a:cubicBezTo>
                    <a:pt x="28" y="0"/>
                    <a:pt x="25" y="0"/>
                    <a:pt x="23" y="0"/>
                  </a:cubicBezTo>
                  <a:cubicBezTo>
                    <a:pt x="17" y="1"/>
                    <a:pt x="12" y="2"/>
                    <a:pt x="6" y="4"/>
                  </a:cubicBezTo>
                  <a:cubicBezTo>
                    <a:pt x="3" y="4"/>
                    <a:pt x="0" y="7"/>
                    <a:pt x="1" y="10"/>
                  </a:cubicBezTo>
                  <a:cubicBezTo>
                    <a:pt x="13" y="45"/>
                    <a:pt x="26" y="79"/>
                    <a:pt x="38" y="114"/>
                  </a:cubicBezTo>
                  <a:cubicBezTo>
                    <a:pt x="39" y="115"/>
                    <a:pt x="41" y="116"/>
                    <a:pt x="42" y="116"/>
                  </a:cubicBezTo>
                  <a:cubicBezTo>
                    <a:pt x="47" y="116"/>
                    <a:pt x="53" y="116"/>
                    <a:pt x="58" y="116"/>
                  </a:cubicBezTo>
                  <a:cubicBezTo>
                    <a:pt x="59" y="116"/>
                    <a:pt x="60" y="116"/>
                    <a:pt x="61" y="115"/>
                  </a:cubicBezTo>
                  <a:cubicBezTo>
                    <a:pt x="63" y="115"/>
                    <a:pt x="64" y="114"/>
                    <a:pt x="65" y="112"/>
                  </a:cubicBezTo>
                  <a:cubicBezTo>
                    <a:pt x="78" y="77"/>
                    <a:pt x="91" y="42"/>
                    <a:pt x="104" y="7"/>
                  </a:cubicBezTo>
                  <a:cubicBezTo>
                    <a:pt x="105" y="5"/>
                    <a:pt x="102" y="3"/>
                    <a:pt x="100"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27" name="Freeform 19">
              <a:extLst>
                <a:ext uri="{FF2B5EF4-FFF2-40B4-BE49-F238E27FC236}">
                  <a16:creationId xmlns:a16="http://schemas.microsoft.com/office/drawing/2014/main" id="{0FD371D3-4CB1-4A6D-9E5E-A7B7390AFE2C}"/>
                </a:ext>
              </a:extLst>
            </p:cNvPr>
            <p:cNvSpPr>
              <a:spLocks noEditPoints="1"/>
            </p:cNvSpPr>
            <p:nvPr userDrawn="1"/>
          </p:nvSpPr>
          <p:spPr bwMode="auto">
            <a:xfrm>
              <a:off x="4182" y="1755"/>
              <a:ext cx="209" cy="281"/>
            </a:xfrm>
            <a:custGeom>
              <a:avLst/>
              <a:gdLst>
                <a:gd name="T0" fmla="*/ 77 w 100"/>
                <a:gd name="T1" fmla="*/ 13 h 132"/>
                <a:gd name="T2" fmla="*/ 11 w 100"/>
                <a:gd name="T3" fmla="*/ 37 h 132"/>
                <a:gd name="T4" fmla="*/ 22 w 100"/>
                <a:gd name="T5" fmla="*/ 112 h 132"/>
                <a:gd name="T6" fmla="*/ 96 w 100"/>
                <a:gd name="T7" fmla="*/ 113 h 132"/>
                <a:gd name="T8" fmla="*/ 97 w 100"/>
                <a:gd name="T9" fmla="*/ 105 h 132"/>
                <a:gd name="T10" fmla="*/ 90 w 100"/>
                <a:gd name="T11" fmla="*/ 95 h 132"/>
                <a:gd name="T12" fmla="*/ 83 w 100"/>
                <a:gd name="T13" fmla="*/ 93 h 132"/>
                <a:gd name="T14" fmla="*/ 36 w 100"/>
                <a:gd name="T15" fmla="*/ 75 h 132"/>
                <a:gd name="T16" fmla="*/ 96 w 100"/>
                <a:gd name="T17" fmla="*/ 75 h 132"/>
                <a:gd name="T18" fmla="*/ 100 w 100"/>
                <a:gd name="T19" fmla="*/ 71 h 132"/>
                <a:gd name="T20" fmla="*/ 77 w 100"/>
                <a:gd name="T21" fmla="*/ 13 h 132"/>
                <a:gd name="T22" fmla="*/ 69 w 100"/>
                <a:gd name="T23" fmla="*/ 37 h 132"/>
                <a:gd name="T24" fmla="*/ 72 w 100"/>
                <a:gd name="T25" fmla="*/ 52 h 132"/>
                <a:gd name="T26" fmla="*/ 36 w 100"/>
                <a:gd name="T27" fmla="*/ 52 h 132"/>
                <a:gd name="T28" fmla="*/ 43 w 100"/>
                <a:gd name="T29" fmla="*/ 35 h 132"/>
                <a:gd name="T30" fmla="*/ 69 w 100"/>
                <a:gd name="T31" fmla="*/ 3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32">
                  <a:moveTo>
                    <a:pt x="77" y="13"/>
                  </a:moveTo>
                  <a:cubicBezTo>
                    <a:pt x="51" y="0"/>
                    <a:pt x="24" y="11"/>
                    <a:pt x="11" y="37"/>
                  </a:cubicBezTo>
                  <a:cubicBezTo>
                    <a:pt x="0" y="58"/>
                    <a:pt x="4" y="95"/>
                    <a:pt x="22" y="112"/>
                  </a:cubicBezTo>
                  <a:cubicBezTo>
                    <a:pt x="42" y="132"/>
                    <a:pt x="74" y="130"/>
                    <a:pt x="96" y="113"/>
                  </a:cubicBezTo>
                  <a:cubicBezTo>
                    <a:pt x="98" y="111"/>
                    <a:pt x="98" y="108"/>
                    <a:pt x="97" y="105"/>
                  </a:cubicBezTo>
                  <a:cubicBezTo>
                    <a:pt x="95" y="102"/>
                    <a:pt x="92" y="99"/>
                    <a:pt x="90" y="95"/>
                  </a:cubicBezTo>
                  <a:cubicBezTo>
                    <a:pt x="89" y="93"/>
                    <a:pt x="85" y="91"/>
                    <a:pt x="83" y="93"/>
                  </a:cubicBezTo>
                  <a:cubicBezTo>
                    <a:pt x="61" y="110"/>
                    <a:pt x="38" y="101"/>
                    <a:pt x="36" y="75"/>
                  </a:cubicBezTo>
                  <a:cubicBezTo>
                    <a:pt x="56" y="75"/>
                    <a:pt x="76" y="75"/>
                    <a:pt x="96" y="75"/>
                  </a:cubicBezTo>
                  <a:cubicBezTo>
                    <a:pt x="98" y="75"/>
                    <a:pt x="100" y="73"/>
                    <a:pt x="100" y="71"/>
                  </a:cubicBezTo>
                  <a:cubicBezTo>
                    <a:pt x="100" y="50"/>
                    <a:pt x="99" y="24"/>
                    <a:pt x="77" y="13"/>
                  </a:cubicBezTo>
                  <a:close/>
                  <a:moveTo>
                    <a:pt x="69" y="37"/>
                  </a:moveTo>
                  <a:cubicBezTo>
                    <a:pt x="71" y="41"/>
                    <a:pt x="72" y="47"/>
                    <a:pt x="72" y="52"/>
                  </a:cubicBezTo>
                  <a:cubicBezTo>
                    <a:pt x="60" y="52"/>
                    <a:pt x="48" y="52"/>
                    <a:pt x="36" y="52"/>
                  </a:cubicBezTo>
                  <a:cubicBezTo>
                    <a:pt x="37" y="46"/>
                    <a:pt x="39" y="40"/>
                    <a:pt x="43" y="35"/>
                  </a:cubicBezTo>
                  <a:cubicBezTo>
                    <a:pt x="50" y="27"/>
                    <a:pt x="63" y="30"/>
                    <a:pt x="69"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28" name="Freeform 20">
              <a:extLst>
                <a:ext uri="{FF2B5EF4-FFF2-40B4-BE49-F238E27FC236}">
                  <a16:creationId xmlns:a16="http://schemas.microsoft.com/office/drawing/2014/main" id="{537BBFCF-5A5A-4381-82AB-A4D0914092F5}"/>
                </a:ext>
              </a:extLst>
            </p:cNvPr>
            <p:cNvSpPr>
              <a:spLocks/>
            </p:cNvSpPr>
            <p:nvPr userDrawn="1"/>
          </p:nvSpPr>
          <p:spPr bwMode="auto">
            <a:xfrm>
              <a:off x="4431" y="1764"/>
              <a:ext cx="134" cy="255"/>
            </a:xfrm>
            <a:custGeom>
              <a:avLst/>
              <a:gdLst>
                <a:gd name="T0" fmla="*/ 58 w 64"/>
                <a:gd name="T1" fmla="*/ 4 h 120"/>
                <a:gd name="T2" fmla="*/ 26 w 64"/>
                <a:gd name="T3" fmla="*/ 15 h 120"/>
                <a:gd name="T4" fmla="*/ 24 w 64"/>
                <a:gd name="T5" fmla="*/ 8 h 120"/>
                <a:gd name="T6" fmla="*/ 18 w 64"/>
                <a:gd name="T7" fmla="*/ 3 h 120"/>
                <a:gd name="T8" fmla="*/ 2 w 64"/>
                <a:gd name="T9" fmla="*/ 8 h 120"/>
                <a:gd name="T10" fmla="*/ 2 w 64"/>
                <a:gd name="T11" fmla="*/ 14 h 120"/>
                <a:gd name="T12" fmla="*/ 4 w 64"/>
                <a:gd name="T13" fmla="*/ 64 h 120"/>
                <a:gd name="T14" fmla="*/ 4 w 64"/>
                <a:gd name="T15" fmla="*/ 112 h 120"/>
                <a:gd name="T16" fmla="*/ 10 w 64"/>
                <a:gd name="T17" fmla="*/ 120 h 120"/>
                <a:gd name="T18" fmla="*/ 26 w 64"/>
                <a:gd name="T19" fmla="*/ 120 h 120"/>
                <a:gd name="T20" fmla="*/ 28 w 64"/>
                <a:gd name="T21" fmla="*/ 117 h 120"/>
                <a:gd name="T22" fmla="*/ 28 w 64"/>
                <a:gd name="T23" fmla="*/ 79 h 120"/>
                <a:gd name="T24" fmla="*/ 54 w 64"/>
                <a:gd name="T25" fmla="*/ 32 h 120"/>
                <a:gd name="T26" fmla="*/ 56 w 64"/>
                <a:gd name="T27" fmla="*/ 31 h 120"/>
                <a:gd name="T28" fmla="*/ 56 w 64"/>
                <a:gd name="T29" fmla="*/ 30 h 120"/>
                <a:gd name="T30" fmla="*/ 63 w 64"/>
                <a:gd name="T31" fmla="*/ 13 h 120"/>
                <a:gd name="T32" fmla="*/ 58 w 64"/>
                <a:gd name="T33" fmla="*/ 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20">
                  <a:moveTo>
                    <a:pt x="58" y="4"/>
                  </a:moveTo>
                  <a:cubicBezTo>
                    <a:pt x="46" y="0"/>
                    <a:pt x="35" y="7"/>
                    <a:pt x="26" y="15"/>
                  </a:cubicBezTo>
                  <a:cubicBezTo>
                    <a:pt x="26" y="13"/>
                    <a:pt x="25" y="11"/>
                    <a:pt x="24" y="8"/>
                  </a:cubicBezTo>
                  <a:cubicBezTo>
                    <a:pt x="23" y="6"/>
                    <a:pt x="21" y="3"/>
                    <a:pt x="18" y="3"/>
                  </a:cubicBezTo>
                  <a:cubicBezTo>
                    <a:pt x="13" y="5"/>
                    <a:pt x="7" y="6"/>
                    <a:pt x="2" y="8"/>
                  </a:cubicBezTo>
                  <a:cubicBezTo>
                    <a:pt x="0" y="8"/>
                    <a:pt x="1" y="13"/>
                    <a:pt x="2" y="14"/>
                  </a:cubicBezTo>
                  <a:cubicBezTo>
                    <a:pt x="8" y="27"/>
                    <a:pt x="4" y="50"/>
                    <a:pt x="4" y="64"/>
                  </a:cubicBezTo>
                  <a:cubicBezTo>
                    <a:pt x="4" y="80"/>
                    <a:pt x="4" y="96"/>
                    <a:pt x="4" y="112"/>
                  </a:cubicBezTo>
                  <a:cubicBezTo>
                    <a:pt x="4" y="115"/>
                    <a:pt x="7" y="120"/>
                    <a:pt x="10" y="120"/>
                  </a:cubicBezTo>
                  <a:cubicBezTo>
                    <a:pt x="15" y="120"/>
                    <a:pt x="21" y="120"/>
                    <a:pt x="26" y="120"/>
                  </a:cubicBezTo>
                  <a:cubicBezTo>
                    <a:pt x="28" y="120"/>
                    <a:pt x="28" y="118"/>
                    <a:pt x="28" y="117"/>
                  </a:cubicBezTo>
                  <a:cubicBezTo>
                    <a:pt x="28" y="105"/>
                    <a:pt x="28" y="92"/>
                    <a:pt x="28" y="79"/>
                  </a:cubicBezTo>
                  <a:cubicBezTo>
                    <a:pt x="28" y="60"/>
                    <a:pt x="24" y="26"/>
                    <a:pt x="54" y="32"/>
                  </a:cubicBezTo>
                  <a:cubicBezTo>
                    <a:pt x="55" y="32"/>
                    <a:pt x="56" y="32"/>
                    <a:pt x="56" y="31"/>
                  </a:cubicBezTo>
                  <a:cubicBezTo>
                    <a:pt x="56" y="31"/>
                    <a:pt x="56" y="30"/>
                    <a:pt x="56" y="30"/>
                  </a:cubicBezTo>
                  <a:cubicBezTo>
                    <a:pt x="58" y="24"/>
                    <a:pt x="60" y="19"/>
                    <a:pt x="63" y="13"/>
                  </a:cubicBezTo>
                  <a:cubicBezTo>
                    <a:pt x="64" y="10"/>
                    <a:pt x="61" y="5"/>
                    <a:pt x="58"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29" name="Freeform 21">
              <a:extLst>
                <a:ext uri="{FF2B5EF4-FFF2-40B4-BE49-F238E27FC236}">
                  <a16:creationId xmlns:a16="http://schemas.microsoft.com/office/drawing/2014/main" id="{D282B5FC-B306-43A3-95EA-65B7DC2CBB46}"/>
                </a:ext>
              </a:extLst>
            </p:cNvPr>
            <p:cNvSpPr>
              <a:spLocks/>
            </p:cNvSpPr>
            <p:nvPr userDrawn="1"/>
          </p:nvSpPr>
          <p:spPr bwMode="auto">
            <a:xfrm>
              <a:off x="4592" y="1768"/>
              <a:ext cx="209" cy="344"/>
            </a:xfrm>
            <a:custGeom>
              <a:avLst/>
              <a:gdLst>
                <a:gd name="T0" fmla="*/ 94 w 100"/>
                <a:gd name="T1" fmla="*/ 4 h 162"/>
                <a:gd name="T2" fmla="*/ 76 w 100"/>
                <a:gd name="T3" fmla="*/ 4 h 162"/>
                <a:gd name="T4" fmla="*/ 72 w 100"/>
                <a:gd name="T5" fmla="*/ 6 h 162"/>
                <a:gd name="T6" fmla="*/ 59 w 100"/>
                <a:gd name="T7" fmla="*/ 49 h 162"/>
                <a:gd name="T8" fmla="*/ 52 w 100"/>
                <a:gd name="T9" fmla="*/ 72 h 162"/>
                <a:gd name="T10" fmla="*/ 50 w 100"/>
                <a:gd name="T11" fmla="*/ 79 h 162"/>
                <a:gd name="T12" fmla="*/ 50 w 100"/>
                <a:gd name="T13" fmla="*/ 81 h 162"/>
                <a:gd name="T14" fmla="*/ 26 w 100"/>
                <a:gd name="T15" fmla="*/ 5 h 162"/>
                <a:gd name="T16" fmla="*/ 20 w 100"/>
                <a:gd name="T17" fmla="*/ 1 h 162"/>
                <a:gd name="T18" fmla="*/ 4 w 100"/>
                <a:gd name="T19" fmla="*/ 6 h 162"/>
                <a:gd name="T20" fmla="*/ 1 w 100"/>
                <a:gd name="T21" fmla="*/ 12 h 162"/>
                <a:gd name="T22" fmla="*/ 33 w 100"/>
                <a:gd name="T23" fmla="*/ 113 h 162"/>
                <a:gd name="T24" fmla="*/ 38 w 100"/>
                <a:gd name="T25" fmla="*/ 119 h 162"/>
                <a:gd name="T26" fmla="*/ 19 w 100"/>
                <a:gd name="T27" fmla="*/ 139 h 162"/>
                <a:gd name="T28" fmla="*/ 16 w 100"/>
                <a:gd name="T29" fmla="*/ 145 h 162"/>
                <a:gd name="T30" fmla="*/ 21 w 100"/>
                <a:gd name="T31" fmla="*/ 156 h 162"/>
                <a:gd name="T32" fmla="*/ 28 w 100"/>
                <a:gd name="T33" fmla="*/ 161 h 162"/>
                <a:gd name="T34" fmla="*/ 64 w 100"/>
                <a:gd name="T35" fmla="*/ 120 h 162"/>
                <a:gd name="T36" fmla="*/ 99 w 100"/>
                <a:gd name="T37" fmla="*/ 12 h 162"/>
                <a:gd name="T38" fmla="*/ 94 w 100"/>
                <a:gd name="T39" fmla="*/ 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0" h="162">
                  <a:moveTo>
                    <a:pt x="94" y="4"/>
                  </a:moveTo>
                  <a:cubicBezTo>
                    <a:pt x="88" y="4"/>
                    <a:pt x="82" y="4"/>
                    <a:pt x="76" y="4"/>
                  </a:cubicBezTo>
                  <a:cubicBezTo>
                    <a:pt x="74" y="4"/>
                    <a:pt x="72" y="4"/>
                    <a:pt x="72" y="6"/>
                  </a:cubicBezTo>
                  <a:cubicBezTo>
                    <a:pt x="68" y="21"/>
                    <a:pt x="63" y="35"/>
                    <a:pt x="59" y="49"/>
                  </a:cubicBezTo>
                  <a:cubicBezTo>
                    <a:pt x="57" y="57"/>
                    <a:pt x="54" y="64"/>
                    <a:pt x="52" y="72"/>
                  </a:cubicBezTo>
                  <a:cubicBezTo>
                    <a:pt x="51" y="74"/>
                    <a:pt x="51" y="76"/>
                    <a:pt x="50" y="79"/>
                  </a:cubicBezTo>
                  <a:cubicBezTo>
                    <a:pt x="50" y="79"/>
                    <a:pt x="50" y="80"/>
                    <a:pt x="50" y="81"/>
                  </a:cubicBezTo>
                  <a:cubicBezTo>
                    <a:pt x="43" y="55"/>
                    <a:pt x="34" y="30"/>
                    <a:pt x="26" y="5"/>
                  </a:cubicBezTo>
                  <a:cubicBezTo>
                    <a:pt x="25" y="3"/>
                    <a:pt x="23" y="0"/>
                    <a:pt x="20" y="1"/>
                  </a:cubicBezTo>
                  <a:cubicBezTo>
                    <a:pt x="15" y="3"/>
                    <a:pt x="9" y="4"/>
                    <a:pt x="4" y="6"/>
                  </a:cubicBezTo>
                  <a:cubicBezTo>
                    <a:pt x="1" y="7"/>
                    <a:pt x="0" y="10"/>
                    <a:pt x="1" y="12"/>
                  </a:cubicBezTo>
                  <a:cubicBezTo>
                    <a:pt x="12" y="45"/>
                    <a:pt x="26" y="79"/>
                    <a:pt x="33" y="113"/>
                  </a:cubicBezTo>
                  <a:cubicBezTo>
                    <a:pt x="34" y="116"/>
                    <a:pt x="35" y="118"/>
                    <a:pt x="38" y="119"/>
                  </a:cubicBezTo>
                  <a:cubicBezTo>
                    <a:pt x="34" y="128"/>
                    <a:pt x="30" y="135"/>
                    <a:pt x="19" y="139"/>
                  </a:cubicBezTo>
                  <a:cubicBezTo>
                    <a:pt x="17" y="140"/>
                    <a:pt x="15" y="143"/>
                    <a:pt x="16" y="145"/>
                  </a:cubicBezTo>
                  <a:cubicBezTo>
                    <a:pt x="18" y="149"/>
                    <a:pt x="20" y="153"/>
                    <a:pt x="21" y="156"/>
                  </a:cubicBezTo>
                  <a:cubicBezTo>
                    <a:pt x="22" y="159"/>
                    <a:pt x="25" y="162"/>
                    <a:pt x="28" y="161"/>
                  </a:cubicBezTo>
                  <a:cubicBezTo>
                    <a:pt x="48" y="154"/>
                    <a:pt x="57" y="139"/>
                    <a:pt x="64" y="120"/>
                  </a:cubicBezTo>
                  <a:cubicBezTo>
                    <a:pt x="76" y="84"/>
                    <a:pt x="87" y="48"/>
                    <a:pt x="99" y="12"/>
                  </a:cubicBezTo>
                  <a:cubicBezTo>
                    <a:pt x="100" y="9"/>
                    <a:pt x="98" y="4"/>
                    <a:pt x="94"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30" name="Freeform 22">
              <a:extLst>
                <a:ext uri="{FF2B5EF4-FFF2-40B4-BE49-F238E27FC236}">
                  <a16:creationId xmlns:a16="http://schemas.microsoft.com/office/drawing/2014/main" id="{B64D485E-49F3-4456-BB5B-651B2A776D94}"/>
                </a:ext>
              </a:extLst>
            </p:cNvPr>
            <p:cNvSpPr>
              <a:spLocks/>
            </p:cNvSpPr>
            <p:nvPr userDrawn="1"/>
          </p:nvSpPr>
          <p:spPr bwMode="auto">
            <a:xfrm>
              <a:off x="4956" y="1713"/>
              <a:ext cx="132" cy="323"/>
            </a:xfrm>
            <a:custGeom>
              <a:avLst/>
              <a:gdLst>
                <a:gd name="T0" fmla="*/ 36 w 63"/>
                <a:gd name="T1" fmla="*/ 81 h 152"/>
                <a:gd name="T2" fmla="*/ 36 w 63"/>
                <a:gd name="T3" fmla="*/ 53 h 152"/>
                <a:gd name="T4" fmla="*/ 57 w 63"/>
                <a:gd name="T5" fmla="*/ 52 h 152"/>
                <a:gd name="T6" fmla="*/ 56 w 63"/>
                <a:gd name="T7" fmla="*/ 51 h 152"/>
                <a:gd name="T8" fmla="*/ 57 w 63"/>
                <a:gd name="T9" fmla="*/ 52 h 152"/>
                <a:gd name="T10" fmla="*/ 62 w 63"/>
                <a:gd name="T11" fmla="*/ 40 h 152"/>
                <a:gd name="T12" fmla="*/ 56 w 63"/>
                <a:gd name="T13" fmla="*/ 30 h 152"/>
                <a:gd name="T14" fmla="*/ 37 w 63"/>
                <a:gd name="T15" fmla="*/ 30 h 152"/>
                <a:gd name="T16" fmla="*/ 38 w 63"/>
                <a:gd name="T17" fmla="*/ 10 h 152"/>
                <a:gd name="T18" fmla="*/ 32 w 63"/>
                <a:gd name="T19" fmla="*/ 0 h 152"/>
                <a:gd name="T20" fmla="*/ 15 w 63"/>
                <a:gd name="T21" fmla="*/ 4 h 152"/>
                <a:gd name="T22" fmla="*/ 15 w 63"/>
                <a:gd name="T23" fmla="*/ 4 h 152"/>
                <a:gd name="T24" fmla="*/ 13 w 63"/>
                <a:gd name="T25" fmla="*/ 26 h 152"/>
                <a:gd name="T26" fmla="*/ 0 w 63"/>
                <a:gd name="T27" fmla="*/ 30 h 152"/>
                <a:gd name="T28" fmla="*/ 0 w 63"/>
                <a:gd name="T29" fmla="*/ 31 h 152"/>
                <a:gd name="T30" fmla="*/ 0 w 63"/>
                <a:gd name="T31" fmla="*/ 43 h 152"/>
                <a:gd name="T32" fmla="*/ 6 w 63"/>
                <a:gd name="T33" fmla="*/ 52 h 152"/>
                <a:gd name="T34" fmla="*/ 13 w 63"/>
                <a:gd name="T35" fmla="*/ 52 h 152"/>
                <a:gd name="T36" fmla="*/ 17 w 63"/>
                <a:gd name="T37" fmla="*/ 128 h 152"/>
                <a:gd name="T38" fmla="*/ 20 w 63"/>
                <a:gd name="T39" fmla="*/ 134 h 152"/>
                <a:gd name="T40" fmla="*/ 61 w 63"/>
                <a:gd name="T41" fmla="*/ 143 h 152"/>
                <a:gd name="T42" fmla="*/ 61 w 63"/>
                <a:gd name="T43" fmla="*/ 142 h 152"/>
                <a:gd name="T44" fmla="*/ 59 w 63"/>
                <a:gd name="T45" fmla="*/ 132 h 152"/>
                <a:gd name="T46" fmla="*/ 53 w 63"/>
                <a:gd name="T47" fmla="*/ 123 h 152"/>
                <a:gd name="T48" fmla="*/ 36 w 63"/>
                <a:gd name="T49" fmla="*/ 124 h 152"/>
                <a:gd name="T50" fmla="*/ 36 w 63"/>
                <a:gd name="T51" fmla="*/ 114 h 152"/>
                <a:gd name="T52" fmla="*/ 36 w 63"/>
                <a:gd name="T53" fmla="*/ 8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 h="152">
                  <a:moveTo>
                    <a:pt x="36" y="81"/>
                  </a:moveTo>
                  <a:cubicBezTo>
                    <a:pt x="36" y="72"/>
                    <a:pt x="36" y="62"/>
                    <a:pt x="36" y="53"/>
                  </a:cubicBezTo>
                  <a:cubicBezTo>
                    <a:pt x="36" y="51"/>
                    <a:pt x="54" y="52"/>
                    <a:pt x="57" y="52"/>
                  </a:cubicBezTo>
                  <a:cubicBezTo>
                    <a:pt x="57" y="52"/>
                    <a:pt x="57" y="51"/>
                    <a:pt x="56" y="51"/>
                  </a:cubicBezTo>
                  <a:cubicBezTo>
                    <a:pt x="57" y="51"/>
                    <a:pt x="57" y="52"/>
                    <a:pt x="57" y="52"/>
                  </a:cubicBezTo>
                  <a:cubicBezTo>
                    <a:pt x="59" y="48"/>
                    <a:pt x="60" y="44"/>
                    <a:pt x="62" y="40"/>
                  </a:cubicBezTo>
                  <a:cubicBezTo>
                    <a:pt x="63" y="38"/>
                    <a:pt x="58" y="30"/>
                    <a:pt x="56" y="30"/>
                  </a:cubicBezTo>
                  <a:cubicBezTo>
                    <a:pt x="49" y="30"/>
                    <a:pt x="43" y="30"/>
                    <a:pt x="37" y="30"/>
                  </a:cubicBezTo>
                  <a:cubicBezTo>
                    <a:pt x="37" y="23"/>
                    <a:pt x="37" y="17"/>
                    <a:pt x="38" y="10"/>
                  </a:cubicBezTo>
                  <a:cubicBezTo>
                    <a:pt x="38" y="8"/>
                    <a:pt x="33" y="0"/>
                    <a:pt x="32" y="0"/>
                  </a:cubicBezTo>
                  <a:cubicBezTo>
                    <a:pt x="26" y="2"/>
                    <a:pt x="21" y="3"/>
                    <a:pt x="15" y="4"/>
                  </a:cubicBezTo>
                  <a:cubicBezTo>
                    <a:pt x="15" y="4"/>
                    <a:pt x="15" y="4"/>
                    <a:pt x="15" y="4"/>
                  </a:cubicBezTo>
                  <a:cubicBezTo>
                    <a:pt x="14" y="12"/>
                    <a:pt x="14" y="19"/>
                    <a:pt x="13" y="26"/>
                  </a:cubicBezTo>
                  <a:cubicBezTo>
                    <a:pt x="13" y="33"/>
                    <a:pt x="5" y="30"/>
                    <a:pt x="0" y="30"/>
                  </a:cubicBezTo>
                  <a:cubicBezTo>
                    <a:pt x="0" y="31"/>
                    <a:pt x="0" y="31"/>
                    <a:pt x="0" y="31"/>
                  </a:cubicBezTo>
                  <a:cubicBezTo>
                    <a:pt x="0" y="35"/>
                    <a:pt x="0" y="39"/>
                    <a:pt x="0" y="43"/>
                  </a:cubicBezTo>
                  <a:cubicBezTo>
                    <a:pt x="0" y="45"/>
                    <a:pt x="4" y="52"/>
                    <a:pt x="6" y="52"/>
                  </a:cubicBezTo>
                  <a:cubicBezTo>
                    <a:pt x="8" y="52"/>
                    <a:pt x="11" y="52"/>
                    <a:pt x="13" y="52"/>
                  </a:cubicBezTo>
                  <a:cubicBezTo>
                    <a:pt x="12" y="73"/>
                    <a:pt x="9" y="107"/>
                    <a:pt x="17" y="128"/>
                  </a:cubicBezTo>
                  <a:cubicBezTo>
                    <a:pt x="18" y="130"/>
                    <a:pt x="19" y="133"/>
                    <a:pt x="20" y="134"/>
                  </a:cubicBezTo>
                  <a:cubicBezTo>
                    <a:pt x="27" y="146"/>
                    <a:pt x="40" y="152"/>
                    <a:pt x="61" y="143"/>
                  </a:cubicBezTo>
                  <a:cubicBezTo>
                    <a:pt x="61" y="143"/>
                    <a:pt x="61" y="142"/>
                    <a:pt x="61" y="142"/>
                  </a:cubicBezTo>
                  <a:cubicBezTo>
                    <a:pt x="61" y="139"/>
                    <a:pt x="60" y="135"/>
                    <a:pt x="59" y="132"/>
                  </a:cubicBezTo>
                  <a:cubicBezTo>
                    <a:pt x="59" y="131"/>
                    <a:pt x="54" y="122"/>
                    <a:pt x="53" y="123"/>
                  </a:cubicBezTo>
                  <a:cubicBezTo>
                    <a:pt x="49" y="124"/>
                    <a:pt x="36" y="126"/>
                    <a:pt x="36" y="124"/>
                  </a:cubicBezTo>
                  <a:cubicBezTo>
                    <a:pt x="35" y="121"/>
                    <a:pt x="36" y="117"/>
                    <a:pt x="36" y="114"/>
                  </a:cubicBezTo>
                  <a:cubicBezTo>
                    <a:pt x="36" y="103"/>
                    <a:pt x="36" y="92"/>
                    <a:pt x="36"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31" name="Freeform 23">
              <a:extLst>
                <a:ext uri="{FF2B5EF4-FFF2-40B4-BE49-F238E27FC236}">
                  <a16:creationId xmlns:a16="http://schemas.microsoft.com/office/drawing/2014/main" id="{A193EFE7-E087-4978-9172-C49B1051478D}"/>
                </a:ext>
              </a:extLst>
            </p:cNvPr>
            <p:cNvSpPr>
              <a:spLocks noEditPoints="1"/>
            </p:cNvSpPr>
            <p:nvPr userDrawn="1"/>
          </p:nvSpPr>
          <p:spPr bwMode="auto">
            <a:xfrm>
              <a:off x="5124" y="1753"/>
              <a:ext cx="205" cy="274"/>
            </a:xfrm>
            <a:custGeom>
              <a:avLst/>
              <a:gdLst>
                <a:gd name="T0" fmla="*/ 94 w 98"/>
                <a:gd name="T1" fmla="*/ 111 h 129"/>
                <a:gd name="T2" fmla="*/ 89 w 98"/>
                <a:gd name="T3" fmla="*/ 70 h 129"/>
                <a:gd name="T4" fmla="*/ 87 w 98"/>
                <a:gd name="T5" fmla="*/ 31 h 129"/>
                <a:gd name="T6" fmla="*/ 5 w 98"/>
                <a:gd name="T7" fmla="*/ 24 h 129"/>
                <a:gd name="T8" fmla="*/ 5 w 98"/>
                <a:gd name="T9" fmla="*/ 26 h 129"/>
                <a:gd name="T10" fmla="*/ 13 w 98"/>
                <a:gd name="T11" fmla="*/ 38 h 129"/>
                <a:gd name="T12" fmla="*/ 22 w 98"/>
                <a:gd name="T13" fmla="*/ 42 h 129"/>
                <a:gd name="T14" fmla="*/ 63 w 98"/>
                <a:gd name="T15" fmla="*/ 41 h 129"/>
                <a:gd name="T16" fmla="*/ 62 w 98"/>
                <a:gd name="T17" fmla="*/ 52 h 129"/>
                <a:gd name="T18" fmla="*/ 39 w 98"/>
                <a:gd name="T19" fmla="*/ 54 h 129"/>
                <a:gd name="T20" fmla="*/ 1 w 98"/>
                <a:gd name="T21" fmla="*/ 86 h 129"/>
                <a:gd name="T22" fmla="*/ 20 w 98"/>
                <a:gd name="T23" fmla="*/ 120 h 129"/>
                <a:gd name="T24" fmla="*/ 69 w 98"/>
                <a:gd name="T25" fmla="*/ 115 h 129"/>
                <a:gd name="T26" fmla="*/ 81 w 98"/>
                <a:gd name="T27" fmla="*/ 125 h 129"/>
                <a:gd name="T28" fmla="*/ 86 w 98"/>
                <a:gd name="T29" fmla="*/ 127 h 129"/>
                <a:gd name="T30" fmla="*/ 87 w 98"/>
                <a:gd name="T31" fmla="*/ 127 h 129"/>
                <a:gd name="T32" fmla="*/ 88 w 98"/>
                <a:gd name="T33" fmla="*/ 126 h 129"/>
                <a:gd name="T34" fmla="*/ 97 w 98"/>
                <a:gd name="T35" fmla="*/ 115 h 129"/>
                <a:gd name="T36" fmla="*/ 94 w 98"/>
                <a:gd name="T37" fmla="*/ 111 h 129"/>
                <a:gd name="T38" fmla="*/ 32 w 98"/>
                <a:gd name="T39" fmla="*/ 82 h 129"/>
                <a:gd name="T40" fmla="*/ 63 w 98"/>
                <a:gd name="T41" fmla="*/ 70 h 129"/>
                <a:gd name="T42" fmla="*/ 62 w 98"/>
                <a:gd name="T43" fmla="*/ 85 h 129"/>
                <a:gd name="T44" fmla="*/ 61 w 98"/>
                <a:gd name="T45" fmla="*/ 94 h 129"/>
                <a:gd name="T46" fmla="*/ 45 w 98"/>
                <a:gd name="T47" fmla="*/ 106 h 129"/>
                <a:gd name="T48" fmla="*/ 32 w 98"/>
                <a:gd name="T49"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29">
                  <a:moveTo>
                    <a:pt x="94" y="111"/>
                  </a:moveTo>
                  <a:cubicBezTo>
                    <a:pt x="84" y="105"/>
                    <a:pt x="89" y="80"/>
                    <a:pt x="89" y="70"/>
                  </a:cubicBezTo>
                  <a:cubicBezTo>
                    <a:pt x="89" y="58"/>
                    <a:pt x="92" y="42"/>
                    <a:pt x="87" y="31"/>
                  </a:cubicBezTo>
                  <a:cubicBezTo>
                    <a:pt x="71" y="0"/>
                    <a:pt x="30" y="9"/>
                    <a:pt x="5" y="24"/>
                  </a:cubicBezTo>
                  <a:cubicBezTo>
                    <a:pt x="5" y="25"/>
                    <a:pt x="5" y="25"/>
                    <a:pt x="5" y="26"/>
                  </a:cubicBezTo>
                  <a:cubicBezTo>
                    <a:pt x="8" y="30"/>
                    <a:pt x="10" y="34"/>
                    <a:pt x="13" y="38"/>
                  </a:cubicBezTo>
                  <a:cubicBezTo>
                    <a:pt x="14" y="39"/>
                    <a:pt x="20" y="44"/>
                    <a:pt x="22" y="42"/>
                  </a:cubicBezTo>
                  <a:cubicBezTo>
                    <a:pt x="31" y="35"/>
                    <a:pt x="61" y="20"/>
                    <a:pt x="63" y="41"/>
                  </a:cubicBezTo>
                  <a:cubicBezTo>
                    <a:pt x="63" y="40"/>
                    <a:pt x="64" y="53"/>
                    <a:pt x="62" y="52"/>
                  </a:cubicBezTo>
                  <a:cubicBezTo>
                    <a:pt x="55" y="52"/>
                    <a:pt x="47" y="53"/>
                    <a:pt x="39" y="54"/>
                  </a:cubicBezTo>
                  <a:cubicBezTo>
                    <a:pt x="22" y="56"/>
                    <a:pt x="2" y="67"/>
                    <a:pt x="1" y="86"/>
                  </a:cubicBezTo>
                  <a:cubicBezTo>
                    <a:pt x="0" y="101"/>
                    <a:pt x="6" y="114"/>
                    <a:pt x="20" y="120"/>
                  </a:cubicBezTo>
                  <a:cubicBezTo>
                    <a:pt x="37" y="129"/>
                    <a:pt x="54" y="127"/>
                    <a:pt x="69" y="115"/>
                  </a:cubicBezTo>
                  <a:cubicBezTo>
                    <a:pt x="72" y="119"/>
                    <a:pt x="76" y="122"/>
                    <a:pt x="81" y="125"/>
                  </a:cubicBezTo>
                  <a:cubicBezTo>
                    <a:pt x="83" y="126"/>
                    <a:pt x="85" y="127"/>
                    <a:pt x="86" y="127"/>
                  </a:cubicBezTo>
                  <a:cubicBezTo>
                    <a:pt x="87" y="127"/>
                    <a:pt x="87" y="127"/>
                    <a:pt x="87" y="127"/>
                  </a:cubicBezTo>
                  <a:cubicBezTo>
                    <a:pt x="88" y="127"/>
                    <a:pt x="88" y="127"/>
                    <a:pt x="88" y="126"/>
                  </a:cubicBezTo>
                  <a:cubicBezTo>
                    <a:pt x="91" y="123"/>
                    <a:pt x="94" y="119"/>
                    <a:pt x="97" y="115"/>
                  </a:cubicBezTo>
                  <a:cubicBezTo>
                    <a:pt x="98" y="114"/>
                    <a:pt x="95" y="111"/>
                    <a:pt x="94" y="111"/>
                  </a:cubicBezTo>
                  <a:close/>
                  <a:moveTo>
                    <a:pt x="32" y="82"/>
                  </a:moveTo>
                  <a:cubicBezTo>
                    <a:pt x="37" y="71"/>
                    <a:pt x="52" y="70"/>
                    <a:pt x="63" y="70"/>
                  </a:cubicBezTo>
                  <a:cubicBezTo>
                    <a:pt x="63" y="75"/>
                    <a:pt x="62" y="80"/>
                    <a:pt x="62" y="85"/>
                  </a:cubicBezTo>
                  <a:cubicBezTo>
                    <a:pt x="62" y="88"/>
                    <a:pt x="63" y="91"/>
                    <a:pt x="61" y="94"/>
                  </a:cubicBezTo>
                  <a:cubicBezTo>
                    <a:pt x="58" y="100"/>
                    <a:pt x="51" y="104"/>
                    <a:pt x="45" y="106"/>
                  </a:cubicBezTo>
                  <a:cubicBezTo>
                    <a:pt x="28" y="112"/>
                    <a:pt x="26" y="93"/>
                    <a:pt x="32"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32" name="Freeform 24">
              <a:extLst>
                <a:ext uri="{FF2B5EF4-FFF2-40B4-BE49-F238E27FC236}">
                  <a16:creationId xmlns:a16="http://schemas.microsoft.com/office/drawing/2014/main" id="{CE981EE8-2C57-48C2-A7B9-9D977A685CC9}"/>
                </a:ext>
              </a:extLst>
            </p:cNvPr>
            <p:cNvSpPr>
              <a:spLocks noEditPoints="1"/>
            </p:cNvSpPr>
            <p:nvPr userDrawn="1"/>
          </p:nvSpPr>
          <p:spPr bwMode="auto">
            <a:xfrm>
              <a:off x="5367" y="1675"/>
              <a:ext cx="219" cy="346"/>
            </a:xfrm>
            <a:custGeom>
              <a:avLst/>
              <a:gdLst>
                <a:gd name="T0" fmla="*/ 29 w 105"/>
                <a:gd name="T1" fmla="*/ 54 h 163"/>
                <a:gd name="T2" fmla="*/ 26 w 105"/>
                <a:gd name="T3" fmla="*/ 8 h 163"/>
                <a:gd name="T4" fmla="*/ 18 w 105"/>
                <a:gd name="T5" fmla="*/ 1 h 163"/>
                <a:gd name="T6" fmla="*/ 1 w 105"/>
                <a:gd name="T7" fmla="*/ 4 h 163"/>
                <a:gd name="T8" fmla="*/ 1 w 105"/>
                <a:gd name="T9" fmla="*/ 5 h 163"/>
                <a:gd name="T10" fmla="*/ 4 w 105"/>
                <a:gd name="T11" fmla="*/ 75 h 163"/>
                <a:gd name="T12" fmla="*/ 1 w 105"/>
                <a:gd name="T13" fmla="*/ 153 h 163"/>
                <a:gd name="T14" fmla="*/ 9 w 105"/>
                <a:gd name="T15" fmla="*/ 160 h 163"/>
                <a:gd name="T16" fmla="*/ 25 w 105"/>
                <a:gd name="T17" fmla="*/ 160 h 163"/>
                <a:gd name="T18" fmla="*/ 26 w 105"/>
                <a:gd name="T19" fmla="*/ 160 h 163"/>
                <a:gd name="T20" fmla="*/ 28 w 105"/>
                <a:gd name="T21" fmla="*/ 152 h 163"/>
                <a:gd name="T22" fmla="*/ 57 w 105"/>
                <a:gd name="T23" fmla="*/ 163 h 163"/>
                <a:gd name="T24" fmla="*/ 92 w 105"/>
                <a:gd name="T25" fmla="*/ 75 h 163"/>
                <a:gd name="T26" fmla="*/ 29 w 105"/>
                <a:gd name="T27" fmla="*/ 54 h 163"/>
                <a:gd name="T28" fmla="*/ 29 w 105"/>
                <a:gd name="T29" fmla="*/ 126 h 163"/>
                <a:gd name="T30" fmla="*/ 29 w 105"/>
                <a:gd name="T31" fmla="*/ 92 h 163"/>
                <a:gd name="T32" fmla="*/ 29 w 105"/>
                <a:gd name="T33" fmla="*/ 82 h 163"/>
                <a:gd name="T34" fmla="*/ 38 w 105"/>
                <a:gd name="T35" fmla="*/ 74 h 163"/>
                <a:gd name="T36" fmla="*/ 66 w 105"/>
                <a:gd name="T37" fmla="*/ 73 h 163"/>
                <a:gd name="T38" fmla="*/ 66 w 105"/>
                <a:gd name="T39" fmla="*/ 128 h 163"/>
                <a:gd name="T40" fmla="*/ 46 w 105"/>
                <a:gd name="T41" fmla="*/ 141 h 163"/>
                <a:gd name="T42" fmla="*/ 35 w 105"/>
                <a:gd name="T43" fmla="*/ 141 h 163"/>
                <a:gd name="T44" fmla="*/ 30 w 105"/>
                <a:gd name="T45" fmla="*/ 138 h 163"/>
                <a:gd name="T46" fmla="*/ 29 w 105"/>
                <a:gd name="T47" fmla="*/ 12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5" h="163">
                  <a:moveTo>
                    <a:pt x="29" y="54"/>
                  </a:moveTo>
                  <a:cubicBezTo>
                    <a:pt x="30" y="39"/>
                    <a:pt x="30" y="22"/>
                    <a:pt x="26" y="8"/>
                  </a:cubicBezTo>
                  <a:cubicBezTo>
                    <a:pt x="26" y="5"/>
                    <a:pt x="20" y="0"/>
                    <a:pt x="18" y="1"/>
                  </a:cubicBezTo>
                  <a:cubicBezTo>
                    <a:pt x="12" y="2"/>
                    <a:pt x="7" y="3"/>
                    <a:pt x="1" y="4"/>
                  </a:cubicBezTo>
                  <a:cubicBezTo>
                    <a:pt x="1" y="4"/>
                    <a:pt x="1" y="4"/>
                    <a:pt x="1" y="5"/>
                  </a:cubicBezTo>
                  <a:cubicBezTo>
                    <a:pt x="8" y="26"/>
                    <a:pt x="4" y="53"/>
                    <a:pt x="4" y="75"/>
                  </a:cubicBezTo>
                  <a:cubicBezTo>
                    <a:pt x="4" y="98"/>
                    <a:pt x="9" y="132"/>
                    <a:pt x="1" y="153"/>
                  </a:cubicBezTo>
                  <a:cubicBezTo>
                    <a:pt x="0" y="156"/>
                    <a:pt x="7" y="160"/>
                    <a:pt x="9" y="160"/>
                  </a:cubicBezTo>
                  <a:cubicBezTo>
                    <a:pt x="15" y="160"/>
                    <a:pt x="20" y="160"/>
                    <a:pt x="25" y="160"/>
                  </a:cubicBezTo>
                  <a:cubicBezTo>
                    <a:pt x="26" y="160"/>
                    <a:pt x="26" y="160"/>
                    <a:pt x="26" y="160"/>
                  </a:cubicBezTo>
                  <a:cubicBezTo>
                    <a:pt x="28" y="154"/>
                    <a:pt x="28" y="155"/>
                    <a:pt x="28" y="152"/>
                  </a:cubicBezTo>
                  <a:cubicBezTo>
                    <a:pt x="36" y="158"/>
                    <a:pt x="46" y="162"/>
                    <a:pt x="57" y="163"/>
                  </a:cubicBezTo>
                  <a:cubicBezTo>
                    <a:pt x="99" y="160"/>
                    <a:pt x="105" y="106"/>
                    <a:pt x="92" y="75"/>
                  </a:cubicBezTo>
                  <a:cubicBezTo>
                    <a:pt x="81" y="49"/>
                    <a:pt x="52" y="42"/>
                    <a:pt x="29" y="54"/>
                  </a:cubicBezTo>
                  <a:close/>
                  <a:moveTo>
                    <a:pt x="29" y="126"/>
                  </a:moveTo>
                  <a:cubicBezTo>
                    <a:pt x="29" y="115"/>
                    <a:pt x="29" y="103"/>
                    <a:pt x="29" y="92"/>
                  </a:cubicBezTo>
                  <a:cubicBezTo>
                    <a:pt x="29" y="89"/>
                    <a:pt x="29" y="86"/>
                    <a:pt x="29" y="82"/>
                  </a:cubicBezTo>
                  <a:cubicBezTo>
                    <a:pt x="29" y="80"/>
                    <a:pt x="36" y="75"/>
                    <a:pt x="38" y="74"/>
                  </a:cubicBezTo>
                  <a:cubicBezTo>
                    <a:pt x="45" y="69"/>
                    <a:pt x="59" y="67"/>
                    <a:pt x="66" y="73"/>
                  </a:cubicBezTo>
                  <a:cubicBezTo>
                    <a:pt x="75" y="88"/>
                    <a:pt x="73" y="112"/>
                    <a:pt x="66" y="128"/>
                  </a:cubicBezTo>
                  <a:cubicBezTo>
                    <a:pt x="63" y="137"/>
                    <a:pt x="55" y="140"/>
                    <a:pt x="46" y="141"/>
                  </a:cubicBezTo>
                  <a:cubicBezTo>
                    <a:pt x="41" y="142"/>
                    <a:pt x="37" y="142"/>
                    <a:pt x="35" y="141"/>
                  </a:cubicBezTo>
                  <a:cubicBezTo>
                    <a:pt x="33" y="140"/>
                    <a:pt x="31" y="139"/>
                    <a:pt x="30" y="138"/>
                  </a:cubicBezTo>
                  <a:cubicBezTo>
                    <a:pt x="28" y="135"/>
                    <a:pt x="29" y="131"/>
                    <a:pt x="29" y="12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33" name="Freeform 25">
              <a:extLst>
                <a:ext uri="{FF2B5EF4-FFF2-40B4-BE49-F238E27FC236}">
                  <a16:creationId xmlns:a16="http://schemas.microsoft.com/office/drawing/2014/main" id="{BBD170C7-D1A8-4D21-ADBB-D05D1E676B9A}"/>
                </a:ext>
              </a:extLst>
            </p:cNvPr>
            <p:cNvSpPr>
              <a:spLocks/>
            </p:cNvSpPr>
            <p:nvPr userDrawn="1"/>
          </p:nvSpPr>
          <p:spPr bwMode="auto">
            <a:xfrm>
              <a:off x="5616" y="1679"/>
              <a:ext cx="88" cy="340"/>
            </a:xfrm>
            <a:custGeom>
              <a:avLst/>
              <a:gdLst>
                <a:gd name="T0" fmla="*/ 38 w 42"/>
                <a:gd name="T1" fmla="*/ 147 h 160"/>
                <a:gd name="T2" fmla="*/ 30 w 42"/>
                <a:gd name="T3" fmla="*/ 141 h 160"/>
                <a:gd name="T4" fmla="*/ 31 w 42"/>
                <a:gd name="T5" fmla="*/ 117 h 160"/>
                <a:gd name="T6" fmla="*/ 31 w 42"/>
                <a:gd name="T7" fmla="*/ 72 h 160"/>
                <a:gd name="T8" fmla="*/ 28 w 42"/>
                <a:gd name="T9" fmla="*/ 6 h 160"/>
                <a:gd name="T10" fmla="*/ 18 w 42"/>
                <a:gd name="T11" fmla="*/ 0 h 160"/>
                <a:gd name="T12" fmla="*/ 2 w 42"/>
                <a:gd name="T13" fmla="*/ 4 h 160"/>
                <a:gd name="T14" fmla="*/ 2 w 42"/>
                <a:gd name="T15" fmla="*/ 4 h 160"/>
                <a:gd name="T16" fmla="*/ 4 w 42"/>
                <a:gd name="T17" fmla="*/ 44 h 160"/>
                <a:gd name="T18" fmla="*/ 4 w 42"/>
                <a:gd name="T19" fmla="*/ 103 h 160"/>
                <a:gd name="T20" fmla="*/ 30 w 42"/>
                <a:gd name="T21" fmla="*/ 160 h 160"/>
                <a:gd name="T22" fmla="*/ 31 w 42"/>
                <a:gd name="T23" fmla="*/ 160 h 160"/>
                <a:gd name="T24" fmla="*/ 42 w 42"/>
                <a:gd name="T25" fmla="*/ 157 h 160"/>
                <a:gd name="T26" fmla="*/ 42 w 42"/>
                <a:gd name="T27" fmla="*/ 157 h 160"/>
                <a:gd name="T28" fmla="*/ 38 w 42"/>
                <a:gd name="T29" fmla="*/ 1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160">
                  <a:moveTo>
                    <a:pt x="38" y="147"/>
                  </a:moveTo>
                  <a:cubicBezTo>
                    <a:pt x="38" y="145"/>
                    <a:pt x="33" y="142"/>
                    <a:pt x="30" y="141"/>
                  </a:cubicBezTo>
                  <a:cubicBezTo>
                    <a:pt x="29" y="134"/>
                    <a:pt x="31" y="121"/>
                    <a:pt x="31" y="117"/>
                  </a:cubicBezTo>
                  <a:cubicBezTo>
                    <a:pt x="31" y="102"/>
                    <a:pt x="31" y="87"/>
                    <a:pt x="31" y="72"/>
                  </a:cubicBezTo>
                  <a:cubicBezTo>
                    <a:pt x="31" y="51"/>
                    <a:pt x="34" y="26"/>
                    <a:pt x="28" y="6"/>
                  </a:cubicBezTo>
                  <a:cubicBezTo>
                    <a:pt x="27" y="4"/>
                    <a:pt x="20" y="0"/>
                    <a:pt x="18" y="0"/>
                  </a:cubicBezTo>
                  <a:cubicBezTo>
                    <a:pt x="13" y="2"/>
                    <a:pt x="8" y="3"/>
                    <a:pt x="2" y="4"/>
                  </a:cubicBezTo>
                  <a:cubicBezTo>
                    <a:pt x="2" y="4"/>
                    <a:pt x="2" y="4"/>
                    <a:pt x="2" y="4"/>
                  </a:cubicBezTo>
                  <a:cubicBezTo>
                    <a:pt x="6" y="16"/>
                    <a:pt x="4" y="31"/>
                    <a:pt x="4" y="44"/>
                  </a:cubicBezTo>
                  <a:cubicBezTo>
                    <a:pt x="4" y="63"/>
                    <a:pt x="4" y="83"/>
                    <a:pt x="4" y="103"/>
                  </a:cubicBezTo>
                  <a:cubicBezTo>
                    <a:pt x="4" y="126"/>
                    <a:pt x="0" y="156"/>
                    <a:pt x="30" y="160"/>
                  </a:cubicBezTo>
                  <a:cubicBezTo>
                    <a:pt x="30" y="160"/>
                    <a:pt x="31" y="160"/>
                    <a:pt x="31" y="160"/>
                  </a:cubicBezTo>
                  <a:cubicBezTo>
                    <a:pt x="38" y="159"/>
                    <a:pt x="35" y="160"/>
                    <a:pt x="42" y="157"/>
                  </a:cubicBezTo>
                  <a:cubicBezTo>
                    <a:pt x="42" y="157"/>
                    <a:pt x="42" y="157"/>
                    <a:pt x="42" y="157"/>
                  </a:cubicBezTo>
                  <a:cubicBezTo>
                    <a:pt x="41" y="154"/>
                    <a:pt x="39" y="150"/>
                    <a:pt x="38" y="1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34" name="Freeform 26">
              <a:extLst>
                <a:ext uri="{FF2B5EF4-FFF2-40B4-BE49-F238E27FC236}">
                  <a16:creationId xmlns:a16="http://schemas.microsoft.com/office/drawing/2014/main" id="{88808F20-4BDA-48B8-BD07-9B7302CE8106}"/>
                </a:ext>
              </a:extLst>
            </p:cNvPr>
            <p:cNvSpPr>
              <a:spLocks noEditPoints="1"/>
            </p:cNvSpPr>
            <p:nvPr userDrawn="1"/>
          </p:nvSpPr>
          <p:spPr bwMode="auto">
            <a:xfrm>
              <a:off x="5727" y="1772"/>
              <a:ext cx="207" cy="245"/>
            </a:xfrm>
            <a:custGeom>
              <a:avLst/>
              <a:gdLst>
                <a:gd name="T0" fmla="*/ 66 w 99"/>
                <a:gd name="T1" fmla="*/ 5 h 115"/>
                <a:gd name="T2" fmla="*/ 5 w 99"/>
                <a:gd name="T3" fmla="*/ 45 h 115"/>
                <a:gd name="T4" fmla="*/ 43 w 99"/>
                <a:gd name="T5" fmla="*/ 112 h 115"/>
                <a:gd name="T6" fmla="*/ 74 w 99"/>
                <a:gd name="T7" fmla="*/ 113 h 115"/>
                <a:gd name="T8" fmla="*/ 92 w 99"/>
                <a:gd name="T9" fmla="*/ 105 h 115"/>
                <a:gd name="T10" fmla="*/ 90 w 99"/>
                <a:gd name="T11" fmla="*/ 91 h 115"/>
                <a:gd name="T12" fmla="*/ 79 w 99"/>
                <a:gd name="T13" fmla="*/ 89 h 115"/>
                <a:gd name="T14" fmla="*/ 34 w 99"/>
                <a:gd name="T15" fmla="*/ 63 h 115"/>
                <a:gd name="T16" fmla="*/ 97 w 99"/>
                <a:gd name="T17" fmla="*/ 63 h 115"/>
                <a:gd name="T18" fmla="*/ 99 w 99"/>
                <a:gd name="T19" fmla="*/ 63 h 115"/>
                <a:gd name="T20" fmla="*/ 66 w 99"/>
                <a:gd name="T21" fmla="*/ 5 h 115"/>
                <a:gd name="T22" fmla="*/ 66 w 99"/>
                <a:gd name="T23" fmla="*/ 26 h 115"/>
                <a:gd name="T24" fmla="*/ 72 w 99"/>
                <a:gd name="T25" fmla="*/ 48 h 115"/>
                <a:gd name="T26" fmla="*/ 58 w 99"/>
                <a:gd name="T27" fmla="*/ 48 h 115"/>
                <a:gd name="T28" fmla="*/ 34 w 99"/>
                <a:gd name="T29" fmla="*/ 48 h 115"/>
                <a:gd name="T30" fmla="*/ 42 w 99"/>
                <a:gd name="T31" fmla="*/ 25 h 115"/>
                <a:gd name="T32" fmla="*/ 66 w 99"/>
                <a:gd name="T33" fmla="*/ 2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 h="115">
                  <a:moveTo>
                    <a:pt x="66" y="5"/>
                  </a:moveTo>
                  <a:cubicBezTo>
                    <a:pt x="35" y="0"/>
                    <a:pt x="11" y="13"/>
                    <a:pt x="5" y="45"/>
                  </a:cubicBezTo>
                  <a:cubicBezTo>
                    <a:pt x="0" y="75"/>
                    <a:pt x="13" y="105"/>
                    <a:pt x="43" y="112"/>
                  </a:cubicBezTo>
                  <a:cubicBezTo>
                    <a:pt x="53" y="115"/>
                    <a:pt x="64" y="114"/>
                    <a:pt x="74" y="113"/>
                  </a:cubicBezTo>
                  <a:cubicBezTo>
                    <a:pt x="80" y="112"/>
                    <a:pt x="87" y="109"/>
                    <a:pt x="92" y="105"/>
                  </a:cubicBezTo>
                  <a:cubicBezTo>
                    <a:pt x="99" y="99"/>
                    <a:pt x="94" y="98"/>
                    <a:pt x="90" y="91"/>
                  </a:cubicBezTo>
                  <a:cubicBezTo>
                    <a:pt x="89" y="89"/>
                    <a:pt x="81" y="88"/>
                    <a:pt x="79" y="89"/>
                  </a:cubicBezTo>
                  <a:cubicBezTo>
                    <a:pt x="53" y="109"/>
                    <a:pt x="34" y="89"/>
                    <a:pt x="34" y="63"/>
                  </a:cubicBezTo>
                  <a:cubicBezTo>
                    <a:pt x="55" y="63"/>
                    <a:pt x="76" y="63"/>
                    <a:pt x="97" y="63"/>
                  </a:cubicBezTo>
                  <a:cubicBezTo>
                    <a:pt x="97" y="63"/>
                    <a:pt x="99" y="63"/>
                    <a:pt x="99" y="63"/>
                  </a:cubicBezTo>
                  <a:cubicBezTo>
                    <a:pt x="99" y="38"/>
                    <a:pt x="95" y="11"/>
                    <a:pt x="66" y="5"/>
                  </a:cubicBezTo>
                  <a:close/>
                  <a:moveTo>
                    <a:pt x="66" y="26"/>
                  </a:moveTo>
                  <a:cubicBezTo>
                    <a:pt x="68" y="29"/>
                    <a:pt x="71" y="48"/>
                    <a:pt x="72" y="48"/>
                  </a:cubicBezTo>
                  <a:cubicBezTo>
                    <a:pt x="67" y="48"/>
                    <a:pt x="62" y="48"/>
                    <a:pt x="58" y="48"/>
                  </a:cubicBezTo>
                  <a:cubicBezTo>
                    <a:pt x="50" y="48"/>
                    <a:pt x="42" y="48"/>
                    <a:pt x="34" y="48"/>
                  </a:cubicBezTo>
                  <a:cubicBezTo>
                    <a:pt x="35" y="40"/>
                    <a:pt x="37" y="32"/>
                    <a:pt x="42" y="25"/>
                  </a:cubicBezTo>
                  <a:cubicBezTo>
                    <a:pt x="48" y="17"/>
                    <a:pt x="59" y="17"/>
                    <a:pt x="66" y="2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grpSp>
      <p:grpSp>
        <p:nvGrpSpPr>
          <p:cNvPr id="35" name="REFRESCO WORD">
            <a:extLst>
              <a:ext uri="{FF2B5EF4-FFF2-40B4-BE49-F238E27FC236}">
                <a16:creationId xmlns:a16="http://schemas.microsoft.com/office/drawing/2014/main" id="{B18F6188-D119-470B-9CDA-36F4CA36815B}"/>
              </a:ext>
            </a:extLst>
          </p:cNvPr>
          <p:cNvGrpSpPr>
            <a:grpSpLocks noChangeAspect="1"/>
          </p:cNvGrpSpPr>
          <p:nvPr userDrawn="1"/>
        </p:nvGrpSpPr>
        <p:grpSpPr bwMode="auto">
          <a:xfrm>
            <a:off x="2397174" y="2093596"/>
            <a:ext cx="4349653" cy="943585"/>
            <a:chOff x="899" y="1746"/>
            <a:chExt cx="4937" cy="1071"/>
          </a:xfrm>
        </p:grpSpPr>
        <p:sp>
          <p:nvSpPr>
            <p:cNvPr id="36" name="Freeform 31">
              <a:extLst>
                <a:ext uri="{FF2B5EF4-FFF2-40B4-BE49-F238E27FC236}">
                  <a16:creationId xmlns:a16="http://schemas.microsoft.com/office/drawing/2014/main" id="{DD82BF78-75CD-44A3-9945-0D70BB977F32}"/>
                </a:ext>
              </a:extLst>
            </p:cNvPr>
            <p:cNvSpPr>
              <a:spLocks noEditPoints="1"/>
            </p:cNvSpPr>
            <p:nvPr userDrawn="1"/>
          </p:nvSpPr>
          <p:spPr bwMode="auto">
            <a:xfrm>
              <a:off x="899" y="1746"/>
              <a:ext cx="806" cy="1052"/>
            </a:xfrm>
            <a:custGeom>
              <a:avLst/>
              <a:gdLst>
                <a:gd name="T0" fmla="*/ 37 w 128"/>
                <a:gd name="T1" fmla="*/ 25 h 167"/>
                <a:gd name="T2" fmla="*/ 71 w 128"/>
                <a:gd name="T3" fmla="*/ 51 h 167"/>
                <a:gd name="T4" fmla="*/ 37 w 128"/>
                <a:gd name="T5" fmla="*/ 78 h 167"/>
                <a:gd name="T6" fmla="*/ 37 w 128"/>
                <a:gd name="T7" fmla="*/ 25 h 167"/>
                <a:gd name="T8" fmla="*/ 4 w 128"/>
                <a:gd name="T9" fmla="*/ 124 h 167"/>
                <a:gd name="T10" fmla="*/ 0 w 128"/>
                <a:gd name="T11" fmla="*/ 167 h 167"/>
                <a:gd name="T12" fmla="*/ 42 w 128"/>
                <a:gd name="T13" fmla="*/ 167 h 167"/>
                <a:gd name="T14" fmla="*/ 37 w 128"/>
                <a:gd name="T15" fmla="*/ 131 h 167"/>
                <a:gd name="T16" fmla="*/ 37 w 128"/>
                <a:gd name="T17" fmla="*/ 101 h 167"/>
                <a:gd name="T18" fmla="*/ 98 w 128"/>
                <a:gd name="T19" fmla="*/ 167 h 167"/>
                <a:gd name="T20" fmla="*/ 128 w 128"/>
                <a:gd name="T21" fmla="*/ 167 h 167"/>
                <a:gd name="T22" fmla="*/ 71 w 128"/>
                <a:gd name="T23" fmla="*/ 92 h 167"/>
                <a:gd name="T24" fmla="*/ 107 w 128"/>
                <a:gd name="T25" fmla="*/ 48 h 167"/>
                <a:gd name="T26" fmla="*/ 42 w 128"/>
                <a:gd name="T27" fmla="*/ 1 h 167"/>
                <a:gd name="T28" fmla="*/ 0 w 128"/>
                <a:gd name="T29" fmla="*/ 1 h 167"/>
                <a:gd name="T30" fmla="*/ 4 w 128"/>
                <a:gd name="T31" fmla="*/ 36 h 167"/>
                <a:gd name="T32" fmla="*/ 4 w 128"/>
                <a:gd name="T33" fmla="*/ 12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167">
                  <a:moveTo>
                    <a:pt x="37" y="25"/>
                  </a:moveTo>
                  <a:cubicBezTo>
                    <a:pt x="59" y="26"/>
                    <a:pt x="71" y="38"/>
                    <a:pt x="71" y="51"/>
                  </a:cubicBezTo>
                  <a:cubicBezTo>
                    <a:pt x="71" y="76"/>
                    <a:pt x="45" y="77"/>
                    <a:pt x="37" y="78"/>
                  </a:cubicBezTo>
                  <a:lnTo>
                    <a:pt x="37" y="25"/>
                  </a:lnTo>
                  <a:close/>
                  <a:moveTo>
                    <a:pt x="4" y="124"/>
                  </a:moveTo>
                  <a:cubicBezTo>
                    <a:pt x="4" y="138"/>
                    <a:pt x="3" y="150"/>
                    <a:pt x="0" y="167"/>
                  </a:cubicBezTo>
                  <a:cubicBezTo>
                    <a:pt x="42" y="167"/>
                    <a:pt x="42" y="167"/>
                    <a:pt x="42" y="167"/>
                  </a:cubicBezTo>
                  <a:cubicBezTo>
                    <a:pt x="37" y="149"/>
                    <a:pt x="37" y="144"/>
                    <a:pt x="37" y="131"/>
                  </a:cubicBezTo>
                  <a:cubicBezTo>
                    <a:pt x="37" y="101"/>
                    <a:pt x="37" y="101"/>
                    <a:pt x="37" y="101"/>
                  </a:cubicBezTo>
                  <a:cubicBezTo>
                    <a:pt x="71" y="146"/>
                    <a:pt x="75" y="147"/>
                    <a:pt x="98" y="167"/>
                  </a:cubicBezTo>
                  <a:cubicBezTo>
                    <a:pt x="128" y="167"/>
                    <a:pt x="128" y="167"/>
                    <a:pt x="128" y="167"/>
                  </a:cubicBezTo>
                  <a:cubicBezTo>
                    <a:pt x="108" y="143"/>
                    <a:pt x="85" y="118"/>
                    <a:pt x="71" y="92"/>
                  </a:cubicBezTo>
                  <a:cubicBezTo>
                    <a:pt x="78" y="88"/>
                    <a:pt x="107" y="84"/>
                    <a:pt x="107" y="48"/>
                  </a:cubicBezTo>
                  <a:cubicBezTo>
                    <a:pt x="107" y="26"/>
                    <a:pt x="93" y="0"/>
                    <a:pt x="42" y="1"/>
                  </a:cubicBezTo>
                  <a:cubicBezTo>
                    <a:pt x="0" y="1"/>
                    <a:pt x="0" y="1"/>
                    <a:pt x="0" y="1"/>
                  </a:cubicBezTo>
                  <a:cubicBezTo>
                    <a:pt x="1" y="7"/>
                    <a:pt x="4" y="16"/>
                    <a:pt x="4" y="36"/>
                  </a:cubicBezTo>
                  <a:lnTo>
                    <a:pt x="4" y="1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37" name="Freeform 32">
              <a:extLst>
                <a:ext uri="{FF2B5EF4-FFF2-40B4-BE49-F238E27FC236}">
                  <a16:creationId xmlns:a16="http://schemas.microsoft.com/office/drawing/2014/main" id="{54A56875-FAF8-4EB4-BF21-71A7E22C7959}"/>
                </a:ext>
              </a:extLst>
            </p:cNvPr>
            <p:cNvSpPr>
              <a:spLocks noEditPoints="1"/>
            </p:cNvSpPr>
            <p:nvPr userDrawn="1"/>
          </p:nvSpPr>
          <p:spPr bwMode="auto">
            <a:xfrm>
              <a:off x="1692" y="2054"/>
              <a:ext cx="580" cy="763"/>
            </a:xfrm>
            <a:custGeom>
              <a:avLst/>
              <a:gdLst>
                <a:gd name="T0" fmla="*/ 27 w 92"/>
                <a:gd name="T1" fmla="*/ 48 h 121"/>
                <a:gd name="T2" fmla="*/ 47 w 92"/>
                <a:gd name="T3" fmla="*/ 20 h 121"/>
                <a:gd name="T4" fmla="*/ 65 w 92"/>
                <a:gd name="T5" fmla="*/ 48 h 121"/>
                <a:gd name="T6" fmla="*/ 27 w 92"/>
                <a:gd name="T7" fmla="*/ 48 h 121"/>
                <a:gd name="T8" fmla="*/ 90 w 92"/>
                <a:gd name="T9" fmla="*/ 88 h 121"/>
                <a:gd name="T10" fmla="*/ 63 w 92"/>
                <a:gd name="T11" fmla="*/ 96 h 121"/>
                <a:gd name="T12" fmla="*/ 30 w 92"/>
                <a:gd name="T13" fmla="*/ 66 h 121"/>
                <a:gd name="T14" fmla="*/ 91 w 92"/>
                <a:gd name="T15" fmla="*/ 66 h 121"/>
                <a:gd name="T16" fmla="*/ 91 w 92"/>
                <a:gd name="T17" fmla="*/ 36 h 121"/>
                <a:gd name="T18" fmla="*/ 48 w 92"/>
                <a:gd name="T19" fmla="*/ 0 h 121"/>
                <a:gd name="T20" fmla="*/ 0 w 92"/>
                <a:gd name="T21" fmla="*/ 62 h 121"/>
                <a:gd name="T22" fmla="*/ 56 w 92"/>
                <a:gd name="T23" fmla="*/ 121 h 121"/>
                <a:gd name="T24" fmla="*/ 80 w 92"/>
                <a:gd name="T25" fmla="*/ 115 h 121"/>
                <a:gd name="T26" fmla="*/ 90 w 92"/>
                <a:gd name="T27" fmla="*/ 8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21">
                  <a:moveTo>
                    <a:pt x="27" y="48"/>
                  </a:moveTo>
                  <a:cubicBezTo>
                    <a:pt x="27" y="36"/>
                    <a:pt x="36" y="20"/>
                    <a:pt x="47" y="20"/>
                  </a:cubicBezTo>
                  <a:cubicBezTo>
                    <a:pt x="57" y="20"/>
                    <a:pt x="65" y="30"/>
                    <a:pt x="65" y="48"/>
                  </a:cubicBezTo>
                  <a:lnTo>
                    <a:pt x="27" y="48"/>
                  </a:lnTo>
                  <a:close/>
                  <a:moveTo>
                    <a:pt x="90" y="88"/>
                  </a:moveTo>
                  <a:cubicBezTo>
                    <a:pt x="76" y="94"/>
                    <a:pt x="72" y="96"/>
                    <a:pt x="63" y="96"/>
                  </a:cubicBezTo>
                  <a:cubicBezTo>
                    <a:pt x="37" y="96"/>
                    <a:pt x="30" y="74"/>
                    <a:pt x="30" y="66"/>
                  </a:cubicBezTo>
                  <a:cubicBezTo>
                    <a:pt x="91" y="66"/>
                    <a:pt x="91" y="66"/>
                    <a:pt x="91" y="66"/>
                  </a:cubicBezTo>
                  <a:cubicBezTo>
                    <a:pt x="91" y="53"/>
                    <a:pt x="92" y="45"/>
                    <a:pt x="91" y="36"/>
                  </a:cubicBezTo>
                  <a:cubicBezTo>
                    <a:pt x="87" y="14"/>
                    <a:pt x="67" y="0"/>
                    <a:pt x="48" y="0"/>
                  </a:cubicBezTo>
                  <a:cubicBezTo>
                    <a:pt x="21" y="0"/>
                    <a:pt x="0" y="23"/>
                    <a:pt x="0" y="62"/>
                  </a:cubicBezTo>
                  <a:cubicBezTo>
                    <a:pt x="0" y="88"/>
                    <a:pt x="19" y="121"/>
                    <a:pt x="56" y="121"/>
                  </a:cubicBezTo>
                  <a:cubicBezTo>
                    <a:pt x="66" y="121"/>
                    <a:pt x="73" y="117"/>
                    <a:pt x="80" y="115"/>
                  </a:cubicBezTo>
                  <a:lnTo>
                    <a:pt x="90" y="8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38" name="Freeform 33">
              <a:extLst>
                <a:ext uri="{FF2B5EF4-FFF2-40B4-BE49-F238E27FC236}">
                  <a16:creationId xmlns:a16="http://schemas.microsoft.com/office/drawing/2014/main" id="{C1B374B9-94CA-4BF5-B0B9-FC8162BD3CFC}"/>
                </a:ext>
              </a:extLst>
            </p:cNvPr>
            <p:cNvSpPr>
              <a:spLocks/>
            </p:cNvSpPr>
            <p:nvPr userDrawn="1"/>
          </p:nvSpPr>
          <p:spPr bwMode="auto">
            <a:xfrm>
              <a:off x="2322" y="1752"/>
              <a:ext cx="498" cy="1046"/>
            </a:xfrm>
            <a:custGeom>
              <a:avLst/>
              <a:gdLst>
                <a:gd name="T0" fmla="*/ 67 w 79"/>
                <a:gd name="T1" fmla="*/ 71 h 166"/>
                <a:gd name="T2" fmla="*/ 43 w 79"/>
                <a:gd name="T3" fmla="*/ 71 h 166"/>
                <a:gd name="T4" fmla="*/ 43 w 79"/>
                <a:gd name="T5" fmla="*/ 137 h 166"/>
                <a:gd name="T6" fmla="*/ 49 w 79"/>
                <a:gd name="T7" fmla="*/ 165 h 166"/>
                <a:gd name="T8" fmla="*/ 10 w 79"/>
                <a:gd name="T9" fmla="*/ 166 h 166"/>
                <a:gd name="T10" fmla="*/ 17 w 79"/>
                <a:gd name="T11" fmla="*/ 136 h 166"/>
                <a:gd name="T12" fmla="*/ 17 w 79"/>
                <a:gd name="T13" fmla="*/ 71 h 166"/>
                <a:gd name="T14" fmla="*/ 0 w 79"/>
                <a:gd name="T15" fmla="*/ 71 h 166"/>
                <a:gd name="T16" fmla="*/ 11 w 79"/>
                <a:gd name="T17" fmla="*/ 51 h 166"/>
                <a:gd name="T18" fmla="*/ 17 w 79"/>
                <a:gd name="T19" fmla="*/ 51 h 166"/>
                <a:gd name="T20" fmla="*/ 17 w 79"/>
                <a:gd name="T21" fmla="*/ 44 h 166"/>
                <a:gd name="T22" fmla="*/ 55 w 79"/>
                <a:gd name="T23" fmla="*/ 0 h 166"/>
                <a:gd name="T24" fmla="*/ 79 w 79"/>
                <a:gd name="T25" fmla="*/ 4 h 166"/>
                <a:gd name="T26" fmla="*/ 75 w 79"/>
                <a:gd name="T27" fmla="*/ 26 h 166"/>
                <a:gd name="T28" fmla="*/ 58 w 79"/>
                <a:gd name="T29" fmla="*/ 20 h 166"/>
                <a:gd name="T30" fmla="*/ 43 w 79"/>
                <a:gd name="T31" fmla="*/ 38 h 166"/>
                <a:gd name="T32" fmla="*/ 43 w 79"/>
                <a:gd name="T33" fmla="*/ 50 h 166"/>
                <a:gd name="T34" fmla="*/ 67 w 79"/>
                <a:gd name="T35" fmla="*/ 50 h 166"/>
                <a:gd name="T36" fmla="*/ 67 w 79"/>
                <a:gd name="T37" fmla="*/ 7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 h="166">
                  <a:moveTo>
                    <a:pt x="67" y="71"/>
                  </a:moveTo>
                  <a:cubicBezTo>
                    <a:pt x="43" y="71"/>
                    <a:pt x="43" y="71"/>
                    <a:pt x="43" y="71"/>
                  </a:cubicBezTo>
                  <a:cubicBezTo>
                    <a:pt x="43" y="137"/>
                    <a:pt x="43" y="137"/>
                    <a:pt x="43" y="137"/>
                  </a:cubicBezTo>
                  <a:cubicBezTo>
                    <a:pt x="43" y="153"/>
                    <a:pt x="46" y="159"/>
                    <a:pt x="49" y="165"/>
                  </a:cubicBezTo>
                  <a:cubicBezTo>
                    <a:pt x="10" y="166"/>
                    <a:pt x="10" y="166"/>
                    <a:pt x="10" y="166"/>
                  </a:cubicBezTo>
                  <a:cubicBezTo>
                    <a:pt x="16" y="156"/>
                    <a:pt x="17" y="148"/>
                    <a:pt x="17" y="136"/>
                  </a:cubicBezTo>
                  <a:cubicBezTo>
                    <a:pt x="17" y="71"/>
                    <a:pt x="17" y="71"/>
                    <a:pt x="17" y="71"/>
                  </a:cubicBezTo>
                  <a:cubicBezTo>
                    <a:pt x="0" y="71"/>
                    <a:pt x="0" y="71"/>
                    <a:pt x="0" y="71"/>
                  </a:cubicBezTo>
                  <a:cubicBezTo>
                    <a:pt x="5" y="65"/>
                    <a:pt x="11" y="51"/>
                    <a:pt x="11" y="51"/>
                  </a:cubicBezTo>
                  <a:cubicBezTo>
                    <a:pt x="17" y="51"/>
                    <a:pt x="17" y="51"/>
                    <a:pt x="17" y="51"/>
                  </a:cubicBezTo>
                  <a:cubicBezTo>
                    <a:pt x="17" y="44"/>
                    <a:pt x="17" y="44"/>
                    <a:pt x="17" y="44"/>
                  </a:cubicBezTo>
                  <a:cubicBezTo>
                    <a:pt x="17" y="27"/>
                    <a:pt x="22" y="0"/>
                    <a:pt x="55" y="0"/>
                  </a:cubicBezTo>
                  <a:cubicBezTo>
                    <a:pt x="63" y="0"/>
                    <a:pt x="73" y="2"/>
                    <a:pt x="79" y="4"/>
                  </a:cubicBezTo>
                  <a:cubicBezTo>
                    <a:pt x="77" y="15"/>
                    <a:pt x="77" y="15"/>
                    <a:pt x="75" y="26"/>
                  </a:cubicBezTo>
                  <a:cubicBezTo>
                    <a:pt x="72" y="21"/>
                    <a:pt x="66" y="20"/>
                    <a:pt x="58" y="20"/>
                  </a:cubicBezTo>
                  <a:cubicBezTo>
                    <a:pt x="49" y="20"/>
                    <a:pt x="43" y="31"/>
                    <a:pt x="43" y="38"/>
                  </a:cubicBezTo>
                  <a:cubicBezTo>
                    <a:pt x="43" y="50"/>
                    <a:pt x="43" y="50"/>
                    <a:pt x="43" y="50"/>
                  </a:cubicBezTo>
                  <a:cubicBezTo>
                    <a:pt x="67" y="50"/>
                    <a:pt x="67" y="50"/>
                    <a:pt x="67" y="50"/>
                  </a:cubicBezTo>
                  <a:lnTo>
                    <a:pt x="67" y="71"/>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39" name="Freeform 34">
              <a:extLst>
                <a:ext uri="{FF2B5EF4-FFF2-40B4-BE49-F238E27FC236}">
                  <a16:creationId xmlns:a16="http://schemas.microsoft.com/office/drawing/2014/main" id="{FA6DBEE3-14C0-41B8-B701-757BA906F4E2}"/>
                </a:ext>
              </a:extLst>
            </p:cNvPr>
            <p:cNvSpPr>
              <a:spLocks/>
            </p:cNvSpPr>
            <p:nvPr userDrawn="1"/>
          </p:nvSpPr>
          <p:spPr bwMode="auto">
            <a:xfrm>
              <a:off x="2864" y="2048"/>
              <a:ext cx="459" cy="750"/>
            </a:xfrm>
            <a:custGeom>
              <a:avLst/>
              <a:gdLst>
                <a:gd name="T0" fmla="*/ 36 w 73"/>
                <a:gd name="T1" fmla="*/ 3 h 119"/>
                <a:gd name="T2" fmla="*/ 35 w 73"/>
                <a:gd name="T3" fmla="*/ 19 h 119"/>
                <a:gd name="T4" fmla="*/ 35 w 73"/>
                <a:gd name="T5" fmla="*/ 24 h 119"/>
                <a:gd name="T6" fmla="*/ 61 w 73"/>
                <a:gd name="T7" fmla="*/ 0 h 119"/>
                <a:gd name="T8" fmla="*/ 73 w 73"/>
                <a:gd name="T9" fmla="*/ 4 h 119"/>
                <a:gd name="T10" fmla="*/ 69 w 73"/>
                <a:gd name="T11" fmla="*/ 31 h 119"/>
                <a:gd name="T12" fmla="*/ 58 w 73"/>
                <a:gd name="T13" fmla="*/ 25 h 119"/>
                <a:gd name="T14" fmla="*/ 35 w 73"/>
                <a:gd name="T15" fmla="*/ 41 h 119"/>
                <a:gd name="T16" fmla="*/ 35 w 73"/>
                <a:gd name="T17" fmla="*/ 91 h 119"/>
                <a:gd name="T18" fmla="*/ 41 w 73"/>
                <a:gd name="T19" fmla="*/ 119 h 119"/>
                <a:gd name="T20" fmla="*/ 0 w 73"/>
                <a:gd name="T21" fmla="*/ 119 h 119"/>
                <a:gd name="T22" fmla="*/ 5 w 73"/>
                <a:gd name="T23" fmla="*/ 96 h 119"/>
                <a:gd name="T24" fmla="*/ 5 w 73"/>
                <a:gd name="T25" fmla="*/ 23 h 119"/>
                <a:gd name="T26" fmla="*/ 2 w 73"/>
                <a:gd name="T27" fmla="*/ 3 h 119"/>
                <a:gd name="T28" fmla="*/ 36 w 73"/>
                <a:gd name="T29" fmla="*/ 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119">
                  <a:moveTo>
                    <a:pt x="36" y="3"/>
                  </a:moveTo>
                  <a:cubicBezTo>
                    <a:pt x="35" y="9"/>
                    <a:pt x="35" y="11"/>
                    <a:pt x="35" y="19"/>
                  </a:cubicBezTo>
                  <a:cubicBezTo>
                    <a:pt x="35" y="24"/>
                    <a:pt x="35" y="24"/>
                    <a:pt x="35" y="24"/>
                  </a:cubicBezTo>
                  <a:cubicBezTo>
                    <a:pt x="46" y="8"/>
                    <a:pt x="52" y="0"/>
                    <a:pt x="61" y="0"/>
                  </a:cubicBezTo>
                  <a:cubicBezTo>
                    <a:pt x="66" y="0"/>
                    <a:pt x="70" y="2"/>
                    <a:pt x="73" y="4"/>
                  </a:cubicBezTo>
                  <a:cubicBezTo>
                    <a:pt x="69" y="31"/>
                    <a:pt x="69" y="31"/>
                    <a:pt x="69" y="31"/>
                  </a:cubicBezTo>
                  <a:cubicBezTo>
                    <a:pt x="65" y="26"/>
                    <a:pt x="62" y="25"/>
                    <a:pt x="58" y="25"/>
                  </a:cubicBezTo>
                  <a:cubicBezTo>
                    <a:pt x="46" y="25"/>
                    <a:pt x="39" y="37"/>
                    <a:pt x="35" y="41"/>
                  </a:cubicBezTo>
                  <a:cubicBezTo>
                    <a:pt x="35" y="91"/>
                    <a:pt x="35" y="91"/>
                    <a:pt x="35" y="91"/>
                  </a:cubicBezTo>
                  <a:cubicBezTo>
                    <a:pt x="35" y="108"/>
                    <a:pt x="37" y="112"/>
                    <a:pt x="41" y="119"/>
                  </a:cubicBezTo>
                  <a:cubicBezTo>
                    <a:pt x="0" y="119"/>
                    <a:pt x="0" y="119"/>
                    <a:pt x="0" y="119"/>
                  </a:cubicBezTo>
                  <a:cubicBezTo>
                    <a:pt x="4" y="111"/>
                    <a:pt x="5" y="107"/>
                    <a:pt x="5" y="96"/>
                  </a:cubicBezTo>
                  <a:cubicBezTo>
                    <a:pt x="5" y="23"/>
                    <a:pt x="5" y="23"/>
                    <a:pt x="5" y="23"/>
                  </a:cubicBezTo>
                  <a:cubicBezTo>
                    <a:pt x="5" y="19"/>
                    <a:pt x="5" y="14"/>
                    <a:pt x="2" y="3"/>
                  </a:cubicBezTo>
                  <a:lnTo>
                    <a:pt x="36" y="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40" name="Freeform 35">
              <a:extLst>
                <a:ext uri="{FF2B5EF4-FFF2-40B4-BE49-F238E27FC236}">
                  <a16:creationId xmlns:a16="http://schemas.microsoft.com/office/drawing/2014/main" id="{4C4282FF-2AD8-43EF-A962-0689330BC9C2}"/>
                </a:ext>
              </a:extLst>
            </p:cNvPr>
            <p:cNvSpPr>
              <a:spLocks noEditPoints="1"/>
            </p:cNvSpPr>
            <p:nvPr userDrawn="1"/>
          </p:nvSpPr>
          <p:spPr bwMode="auto">
            <a:xfrm>
              <a:off x="3374" y="2054"/>
              <a:ext cx="579" cy="756"/>
            </a:xfrm>
            <a:custGeom>
              <a:avLst/>
              <a:gdLst>
                <a:gd name="T0" fmla="*/ 29 w 92"/>
                <a:gd name="T1" fmla="*/ 48 h 120"/>
                <a:gd name="T2" fmla="*/ 47 w 92"/>
                <a:gd name="T3" fmla="*/ 20 h 120"/>
                <a:gd name="T4" fmla="*/ 64 w 92"/>
                <a:gd name="T5" fmla="*/ 48 h 120"/>
                <a:gd name="T6" fmla="*/ 29 w 92"/>
                <a:gd name="T7" fmla="*/ 48 h 120"/>
                <a:gd name="T8" fmla="*/ 89 w 92"/>
                <a:gd name="T9" fmla="*/ 88 h 120"/>
                <a:gd name="T10" fmla="*/ 65 w 92"/>
                <a:gd name="T11" fmla="*/ 96 h 120"/>
                <a:gd name="T12" fmla="*/ 31 w 92"/>
                <a:gd name="T13" fmla="*/ 66 h 120"/>
                <a:gd name="T14" fmla="*/ 92 w 92"/>
                <a:gd name="T15" fmla="*/ 65 h 120"/>
                <a:gd name="T16" fmla="*/ 90 w 92"/>
                <a:gd name="T17" fmla="*/ 34 h 120"/>
                <a:gd name="T18" fmla="*/ 49 w 92"/>
                <a:gd name="T19" fmla="*/ 0 h 120"/>
                <a:gd name="T20" fmla="*/ 0 w 92"/>
                <a:gd name="T21" fmla="*/ 60 h 120"/>
                <a:gd name="T22" fmla="*/ 53 w 92"/>
                <a:gd name="T23" fmla="*/ 120 h 120"/>
                <a:gd name="T24" fmla="*/ 78 w 92"/>
                <a:gd name="T25" fmla="*/ 115 h 120"/>
                <a:gd name="T26" fmla="*/ 89 w 92"/>
                <a:gd name="T27" fmla="*/ 8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20">
                  <a:moveTo>
                    <a:pt x="29" y="48"/>
                  </a:moveTo>
                  <a:cubicBezTo>
                    <a:pt x="30" y="28"/>
                    <a:pt x="39" y="20"/>
                    <a:pt x="47" y="20"/>
                  </a:cubicBezTo>
                  <a:cubicBezTo>
                    <a:pt x="56" y="20"/>
                    <a:pt x="64" y="27"/>
                    <a:pt x="64" y="48"/>
                  </a:cubicBezTo>
                  <a:lnTo>
                    <a:pt x="29" y="48"/>
                  </a:lnTo>
                  <a:close/>
                  <a:moveTo>
                    <a:pt x="89" y="88"/>
                  </a:moveTo>
                  <a:cubicBezTo>
                    <a:pt x="76" y="94"/>
                    <a:pt x="74" y="96"/>
                    <a:pt x="65" y="96"/>
                  </a:cubicBezTo>
                  <a:cubicBezTo>
                    <a:pt x="39" y="96"/>
                    <a:pt x="31" y="74"/>
                    <a:pt x="31" y="66"/>
                  </a:cubicBezTo>
                  <a:cubicBezTo>
                    <a:pt x="92" y="65"/>
                    <a:pt x="92" y="65"/>
                    <a:pt x="92" y="65"/>
                  </a:cubicBezTo>
                  <a:cubicBezTo>
                    <a:pt x="92" y="52"/>
                    <a:pt x="92" y="44"/>
                    <a:pt x="90" y="34"/>
                  </a:cubicBezTo>
                  <a:cubicBezTo>
                    <a:pt x="87" y="12"/>
                    <a:pt x="68" y="0"/>
                    <a:pt x="49" y="0"/>
                  </a:cubicBezTo>
                  <a:cubicBezTo>
                    <a:pt x="22" y="0"/>
                    <a:pt x="0" y="22"/>
                    <a:pt x="0" y="60"/>
                  </a:cubicBezTo>
                  <a:cubicBezTo>
                    <a:pt x="0" y="87"/>
                    <a:pt x="16" y="120"/>
                    <a:pt x="53" y="120"/>
                  </a:cubicBezTo>
                  <a:cubicBezTo>
                    <a:pt x="63" y="120"/>
                    <a:pt x="71" y="117"/>
                    <a:pt x="78" y="115"/>
                  </a:cubicBezTo>
                  <a:lnTo>
                    <a:pt x="89" y="8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41" name="Freeform 36">
              <a:extLst>
                <a:ext uri="{FF2B5EF4-FFF2-40B4-BE49-F238E27FC236}">
                  <a16:creationId xmlns:a16="http://schemas.microsoft.com/office/drawing/2014/main" id="{F1759CD5-2C1F-4E68-AFEB-98ADE50F7DA9}"/>
                </a:ext>
              </a:extLst>
            </p:cNvPr>
            <p:cNvSpPr>
              <a:spLocks/>
            </p:cNvSpPr>
            <p:nvPr userDrawn="1"/>
          </p:nvSpPr>
          <p:spPr bwMode="auto">
            <a:xfrm>
              <a:off x="4029" y="2054"/>
              <a:ext cx="409" cy="756"/>
            </a:xfrm>
            <a:custGeom>
              <a:avLst/>
              <a:gdLst>
                <a:gd name="T0" fmla="*/ 64 w 65"/>
                <a:gd name="T1" fmla="*/ 25 h 120"/>
                <a:gd name="T2" fmla="*/ 46 w 65"/>
                <a:gd name="T3" fmla="*/ 20 h 120"/>
                <a:gd name="T4" fmla="*/ 32 w 65"/>
                <a:gd name="T5" fmla="*/ 31 h 120"/>
                <a:gd name="T6" fmla="*/ 48 w 65"/>
                <a:gd name="T7" fmla="*/ 50 h 120"/>
                <a:gd name="T8" fmla="*/ 65 w 65"/>
                <a:gd name="T9" fmla="*/ 84 h 120"/>
                <a:gd name="T10" fmla="*/ 28 w 65"/>
                <a:gd name="T11" fmla="*/ 120 h 120"/>
                <a:gd name="T12" fmla="*/ 0 w 65"/>
                <a:gd name="T13" fmla="*/ 115 h 120"/>
                <a:gd name="T14" fmla="*/ 0 w 65"/>
                <a:gd name="T15" fmla="*/ 87 h 120"/>
                <a:gd name="T16" fmla="*/ 27 w 65"/>
                <a:gd name="T17" fmla="*/ 100 h 120"/>
                <a:gd name="T18" fmla="*/ 39 w 65"/>
                <a:gd name="T19" fmla="*/ 89 h 120"/>
                <a:gd name="T20" fmla="*/ 25 w 65"/>
                <a:gd name="T21" fmla="*/ 70 h 120"/>
                <a:gd name="T22" fmla="*/ 3 w 65"/>
                <a:gd name="T23" fmla="*/ 35 h 120"/>
                <a:gd name="T24" fmla="*/ 42 w 65"/>
                <a:gd name="T25" fmla="*/ 0 h 120"/>
                <a:gd name="T26" fmla="*/ 64 w 65"/>
                <a:gd name="T27" fmla="*/ 5 h 120"/>
                <a:gd name="T28" fmla="*/ 64 w 65"/>
                <a:gd name="T29" fmla="*/ 2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0">
                  <a:moveTo>
                    <a:pt x="64" y="25"/>
                  </a:moveTo>
                  <a:cubicBezTo>
                    <a:pt x="59" y="21"/>
                    <a:pt x="51" y="20"/>
                    <a:pt x="46" y="20"/>
                  </a:cubicBezTo>
                  <a:cubicBezTo>
                    <a:pt x="39" y="20"/>
                    <a:pt x="32" y="25"/>
                    <a:pt x="32" y="31"/>
                  </a:cubicBezTo>
                  <a:cubicBezTo>
                    <a:pt x="32" y="39"/>
                    <a:pt x="40" y="44"/>
                    <a:pt x="48" y="50"/>
                  </a:cubicBezTo>
                  <a:cubicBezTo>
                    <a:pt x="59" y="59"/>
                    <a:pt x="65" y="68"/>
                    <a:pt x="65" y="84"/>
                  </a:cubicBezTo>
                  <a:cubicBezTo>
                    <a:pt x="65" y="104"/>
                    <a:pt x="52" y="120"/>
                    <a:pt x="28" y="120"/>
                  </a:cubicBezTo>
                  <a:cubicBezTo>
                    <a:pt x="25" y="120"/>
                    <a:pt x="14" y="119"/>
                    <a:pt x="0" y="115"/>
                  </a:cubicBezTo>
                  <a:cubicBezTo>
                    <a:pt x="0" y="87"/>
                    <a:pt x="0" y="87"/>
                    <a:pt x="0" y="87"/>
                  </a:cubicBezTo>
                  <a:cubicBezTo>
                    <a:pt x="11" y="97"/>
                    <a:pt x="20" y="100"/>
                    <a:pt x="27" y="100"/>
                  </a:cubicBezTo>
                  <a:cubicBezTo>
                    <a:pt x="33" y="100"/>
                    <a:pt x="39" y="96"/>
                    <a:pt x="39" y="89"/>
                  </a:cubicBezTo>
                  <a:cubicBezTo>
                    <a:pt x="39" y="84"/>
                    <a:pt x="36" y="80"/>
                    <a:pt x="25" y="70"/>
                  </a:cubicBezTo>
                  <a:cubicBezTo>
                    <a:pt x="19" y="64"/>
                    <a:pt x="3" y="53"/>
                    <a:pt x="3" y="35"/>
                  </a:cubicBezTo>
                  <a:cubicBezTo>
                    <a:pt x="3" y="22"/>
                    <a:pt x="14" y="0"/>
                    <a:pt x="42" y="0"/>
                  </a:cubicBezTo>
                  <a:cubicBezTo>
                    <a:pt x="51" y="0"/>
                    <a:pt x="56" y="1"/>
                    <a:pt x="64" y="5"/>
                  </a:cubicBezTo>
                  <a:lnTo>
                    <a:pt x="64" y="25"/>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42" name="Freeform 37">
              <a:extLst>
                <a:ext uri="{FF2B5EF4-FFF2-40B4-BE49-F238E27FC236}">
                  <a16:creationId xmlns:a16="http://schemas.microsoft.com/office/drawing/2014/main" id="{3ACBC593-D790-42EC-936C-1F57CD63D9A5}"/>
                </a:ext>
              </a:extLst>
            </p:cNvPr>
            <p:cNvSpPr>
              <a:spLocks/>
            </p:cNvSpPr>
            <p:nvPr userDrawn="1"/>
          </p:nvSpPr>
          <p:spPr bwMode="auto">
            <a:xfrm>
              <a:off x="4513" y="2054"/>
              <a:ext cx="573" cy="756"/>
            </a:xfrm>
            <a:custGeom>
              <a:avLst/>
              <a:gdLst>
                <a:gd name="T0" fmla="*/ 85 w 91"/>
                <a:gd name="T1" fmla="*/ 31 h 120"/>
                <a:gd name="T2" fmla="*/ 62 w 91"/>
                <a:gd name="T3" fmla="*/ 20 h 120"/>
                <a:gd name="T4" fmla="*/ 31 w 91"/>
                <a:gd name="T5" fmla="*/ 59 h 120"/>
                <a:gd name="T6" fmla="*/ 66 w 91"/>
                <a:gd name="T7" fmla="*/ 96 h 120"/>
                <a:gd name="T8" fmla="*/ 91 w 91"/>
                <a:gd name="T9" fmla="*/ 89 h 120"/>
                <a:gd name="T10" fmla="*/ 79 w 91"/>
                <a:gd name="T11" fmla="*/ 118 h 120"/>
                <a:gd name="T12" fmla="*/ 54 w 91"/>
                <a:gd name="T13" fmla="*/ 120 h 120"/>
                <a:gd name="T14" fmla="*/ 0 w 91"/>
                <a:gd name="T15" fmla="*/ 65 h 120"/>
                <a:gd name="T16" fmla="*/ 64 w 91"/>
                <a:gd name="T17" fmla="*/ 0 h 120"/>
                <a:gd name="T18" fmla="*/ 87 w 91"/>
                <a:gd name="T19" fmla="*/ 4 h 120"/>
                <a:gd name="T20" fmla="*/ 85 w 91"/>
                <a:gd name="T21" fmla="*/ 3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120">
                  <a:moveTo>
                    <a:pt x="85" y="31"/>
                  </a:moveTo>
                  <a:cubicBezTo>
                    <a:pt x="83" y="29"/>
                    <a:pt x="75" y="20"/>
                    <a:pt x="62" y="20"/>
                  </a:cubicBezTo>
                  <a:cubicBezTo>
                    <a:pt x="38" y="20"/>
                    <a:pt x="31" y="44"/>
                    <a:pt x="31" y="59"/>
                  </a:cubicBezTo>
                  <a:cubicBezTo>
                    <a:pt x="31" y="87"/>
                    <a:pt x="57" y="96"/>
                    <a:pt x="66" y="96"/>
                  </a:cubicBezTo>
                  <a:cubicBezTo>
                    <a:pt x="76" y="96"/>
                    <a:pt x="85" y="92"/>
                    <a:pt x="91" y="89"/>
                  </a:cubicBezTo>
                  <a:cubicBezTo>
                    <a:pt x="79" y="118"/>
                    <a:pt x="79" y="118"/>
                    <a:pt x="79" y="118"/>
                  </a:cubicBezTo>
                  <a:cubicBezTo>
                    <a:pt x="73" y="119"/>
                    <a:pt x="62" y="120"/>
                    <a:pt x="54" y="120"/>
                  </a:cubicBezTo>
                  <a:cubicBezTo>
                    <a:pt x="26" y="120"/>
                    <a:pt x="0" y="92"/>
                    <a:pt x="0" y="65"/>
                  </a:cubicBezTo>
                  <a:cubicBezTo>
                    <a:pt x="0" y="41"/>
                    <a:pt x="13" y="0"/>
                    <a:pt x="64" y="0"/>
                  </a:cubicBezTo>
                  <a:cubicBezTo>
                    <a:pt x="74" y="0"/>
                    <a:pt x="81" y="3"/>
                    <a:pt x="87" y="4"/>
                  </a:cubicBezTo>
                  <a:lnTo>
                    <a:pt x="85" y="31"/>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sp>
          <p:nvSpPr>
            <p:cNvPr id="43" name="Freeform 38">
              <a:extLst>
                <a:ext uri="{FF2B5EF4-FFF2-40B4-BE49-F238E27FC236}">
                  <a16:creationId xmlns:a16="http://schemas.microsoft.com/office/drawing/2014/main" id="{05801180-E651-4A1C-B9EA-4FD93B7B8D94}"/>
                </a:ext>
              </a:extLst>
            </p:cNvPr>
            <p:cNvSpPr>
              <a:spLocks noEditPoints="1"/>
            </p:cNvSpPr>
            <p:nvPr userDrawn="1"/>
          </p:nvSpPr>
          <p:spPr bwMode="auto">
            <a:xfrm>
              <a:off x="5143" y="2042"/>
              <a:ext cx="693" cy="775"/>
            </a:xfrm>
            <a:custGeom>
              <a:avLst/>
              <a:gdLst>
                <a:gd name="T0" fmla="*/ 63 w 110"/>
                <a:gd name="T1" fmla="*/ 102 h 123"/>
                <a:gd name="T2" fmla="*/ 29 w 110"/>
                <a:gd name="T3" fmla="*/ 61 h 123"/>
                <a:gd name="T4" fmla="*/ 46 w 110"/>
                <a:gd name="T5" fmla="*/ 21 h 123"/>
                <a:gd name="T6" fmla="*/ 79 w 110"/>
                <a:gd name="T7" fmla="*/ 63 h 123"/>
                <a:gd name="T8" fmla="*/ 63 w 110"/>
                <a:gd name="T9" fmla="*/ 102 h 123"/>
                <a:gd name="T10" fmla="*/ 47 w 110"/>
                <a:gd name="T11" fmla="*/ 1 h 123"/>
                <a:gd name="T12" fmla="*/ 0 w 110"/>
                <a:gd name="T13" fmla="*/ 66 h 123"/>
                <a:gd name="T14" fmla="*/ 54 w 110"/>
                <a:gd name="T15" fmla="*/ 123 h 123"/>
                <a:gd name="T16" fmla="*/ 110 w 110"/>
                <a:gd name="T17" fmla="*/ 58 h 123"/>
                <a:gd name="T18" fmla="*/ 47 w 110"/>
                <a:gd name="T19" fmla="*/ 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23">
                  <a:moveTo>
                    <a:pt x="63" y="102"/>
                  </a:moveTo>
                  <a:cubicBezTo>
                    <a:pt x="44" y="104"/>
                    <a:pt x="29" y="78"/>
                    <a:pt x="29" y="61"/>
                  </a:cubicBezTo>
                  <a:cubicBezTo>
                    <a:pt x="29" y="44"/>
                    <a:pt x="40" y="21"/>
                    <a:pt x="46" y="21"/>
                  </a:cubicBezTo>
                  <a:cubicBezTo>
                    <a:pt x="58" y="21"/>
                    <a:pt x="79" y="35"/>
                    <a:pt x="79" y="63"/>
                  </a:cubicBezTo>
                  <a:cubicBezTo>
                    <a:pt x="79" y="88"/>
                    <a:pt x="67" y="100"/>
                    <a:pt x="63" y="102"/>
                  </a:cubicBezTo>
                  <a:moveTo>
                    <a:pt x="47" y="1"/>
                  </a:moveTo>
                  <a:cubicBezTo>
                    <a:pt x="28" y="7"/>
                    <a:pt x="0" y="18"/>
                    <a:pt x="0" y="66"/>
                  </a:cubicBezTo>
                  <a:cubicBezTo>
                    <a:pt x="0" y="107"/>
                    <a:pt x="32" y="123"/>
                    <a:pt x="54" y="123"/>
                  </a:cubicBezTo>
                  <a:cubicBezTo>
                    <a:pt x="68" y="123"/>
                    <a:pt x="110" y="108"/>
                    <a:pt x="110" y="58"/>
                  </a:cubicBezTo>
                  <a:cubicBezTo>
                    <a:pt x="110" y="24"/>
                    <a:pt x="78" y="0"/>
                    <a:pt x="47" y="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sz="1050" noProof="0"/>
            </a:p>
          </p:txBody>
        </p:sp>
      </p:grpSp>
      <p:sp>
        <p:nvSpPr>
          <p:cNvPr id="44" name="SWOOSH">
            <a:extLst>
              <a:ext uri="{FF2B5EF4-FFF2-40B4-BE49-F238E27FC236}">
                <a16:creationId xmlns:a16="http://schemas.microsoft.com/office/drawing/2014/main" id="{FA401D13-E847-4192-BC27-CBFEC42F543F}"/>
              </a:ext>
            </a:extLst>
          </p:cNvPr>
          <p:cNvSpPr>
            <a:spLocks/>
          </p:cNvSpPr>
          <p:nvPr userDrawn="1"/>
        </p:nvSpPr>
        <p:spPr bwMode="auto">
          <a:xfrm>
            <a:off x="2075597" y="1338552"/>
            <a:ext cx="4992806" cy="637867"/>
          </a:xfrm>
          <a:custGeom>
            <a:avLst/>
            <a:gdLst>
              <a:gd name="T0" fmla="*/ 890 w 900"/>
              <a:gd name="T1" fmla="*/ 111 h 115"/>
              <a:gd name="T2" fmla="*/ 843 w 900"/>
              <a:gd name="T3" fmla="*/ 94 h 115"/>
              <a:gd name="T4" fmla="*/ 807 w 900"/>
              <a:gd name="T5" fmla="*/ 82 h 115"/>
              <a:gd name="T6" fmla="*/ 778 w 900"/>
              <a:gd name="T7" fmla="*/ 74 h 115"/>
              <a:gd name="T8" fmla="*/ 747 w 900"/>
              <a:gd name="T9" fmla="*/ 67 h 115"/>
              <a:gd name="T10" fmla="*/ 713 w 900"/>
              <a:gd name="T11" fmla="*/ 59 h 115"/>
              <a:gd name="T12" fmla="*/ 676 w 900"/>
              <a:gd name="T13" fmla="*/ 52 h 115"/>
              <a:gd name="T14" fmla="*/ 638 w 900"/>
              <a:gd name="T15" fmla="*/ 46 h 115"/>
              <a:gd name="T16" fmla="*/ 577 w 900"/>
              <a:gd name="T17" fmla="*/ 39 h 115"/>
              <a:gd name="T18" fmla="*/ 535 w 900"/>
              <a:gd name="T19" fmla="*/ 36 h 115"/>
              <a:gd name="T20" fmla="*/ 493 w 900"/>
              <a:gd name="T21" fmla="*/ 34 h 115"/>
              <a:gd name="T22" fmla="*/ 407 w 900"/>
              <a:gd name="T23" fmla="*/ 34 h 115"/>
              <a:gd name="T24" fmla="*/ 364 w 900"/>
              <a:gd name="T25" fmla="*/ 36 h 115"/>
              <a:gd name="T26" fmla="*/ 323 w 900"/>
              <a:gd name="T27" fmla="*/ 39 h 115"/>
              <a:gd name="T28" fmla="*/ 262 w 900"/>
              <a:gd name="T29" fmla="*/ 46 h 115"/>
              <a:gd name="T30" fmla="*/ 224 w 900"/>
              <a:gd name="T31" fmla="*/ 52 h 115"/>
              <a:gd name="T32" fmla="*/ 187 w 900"/>
              <a:gd name="T33" fmla="*/ 59 h 115"/>
              <a:gd name="T34" fmla="*/ 153 w 900"/>
              <a:gd name="T35" fmla="*/ 67 h 115"/>
              <a:gd name="T36" fmla="*/ 122 w 900"/>
              <a:gd name="T37" fmla="*/ 74 h 115"/>
              <a:gd name="T38" fmla="*/ 93 w 900"/>
              <a:gd name="T39" fmla="*/ 82 h 115"/>
              <a:gd name="T40" fmla="*/ 57 w 900"/>
              <a:gd name="T41" fmla="*/ 94 h 115"/>
              <a:gd name="T42" fmla="*/ 10 w 900"/>
              <a:gd name="T43" fmla="*/ 111 h 115"/>
              <a:gd name="T44" fmla="*/ 9 w 900"/>
              <a:gd name="T45" fmla="*/ 109 h 115"/>
              <a:gd name="T46" fmla="*/ 76 w 900"/>
              <a:gd name="T47" fmla="*/ 74 h 115"/>
              <a:gd name="T48" fmla="*/ 102 w 900"/>
              <a:gd name="T49" fmla="*/ 63 h 115"/>
              <a:gd name="T50" fmla="*/ 132 w 900"/>
              <a:gd name="T51" fmla="*/ 52 h 115"/>
              <a:gd name="T52" fmla="*/ 165 w 900"/>
              <a:gd name="T53" fmla="*/ 42 h 115"/>
              <a:gd name="T54" fmla="*/ 200 w 900"/>
              <a:gd name="T55" fmla="*/ 32 h 115"/>
              <a:gd name="T56" fmla="*/ 238 w 900"/>
              <a:gd name="T57" fmla="*/ 23 h 115"/>
              <a:gd name="T58" fmla="*/ 278 w 900"/>
              <a:gd name="T59" fmla="*/ 15 h 115"/>
              <a:gd name="T60" fmla="*/ 319 w 900"/>
              <a:gd name="T61" fmla="*/ 9 h 115"/>
              <a:gd name="T62" fmla="*/ 384 w 900"/>
              <a:gd name="T63" fmla="*/ 2 h 115"/>
              <a:gd name="T64" fmla="*/ 450 w 900"/>
              <a:gd name="T65" fmla="*/ 0 h 115"/>
              <a:gd name="T66" fmla="*/ 516 w 900"/>
              <a:gd name="T67" fmla="*/ 2 h 115"/>
              <a:gd name="T68" fmla="*/ 581 w 900"/>
              <a:gd name="T69" fmla="*/ 9 h 115"/>
              <a:gd name="T70" fmla="*/ 622 w 900"/>
              <a:gd name="T71" fmla="*/ 15 h 115"/>
              <a:gd name="T72" fmla="*/ 662 w 900"/>
              <a:gd name="T73" fmla="*/ 23 h 115"/>
              <a:gd name="T74" fmla="*/ 700 w 900"/>
              <a:gd name="T75" fmla="*/ 32 h 115"/>
              <a:gd name="T76" fmla="*/ 735 w 900"/>
              <a:gd name="T77" fmla="*/ 42 h 115"/>
              <a:gd name="T78" fmla="*/ 768 w 900"/>
              <a:gd name="T79" fmla="*/ 52 h 115"/>
              <a:gd name="T80" fmla="*/ 798 w 900"/>
              <a:gd name="T81" fmla="*/ 64 h 115"/>
              <a:gd name="T82" fmla="*/ 824 w 900"/>
              <a:gd name="T83" fmla="*/ 75 h 115"/>
              <a:gd name="T84" fmla="*/ 866 w 900"/>
              <a:gd name="T85" fmla="*/ 95 h 115"/>
              <a:gd name="T86" fmla="*/ 900 w 900"/>
              <a:gd name="T8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00" h="115">
                <a:moveTo>
                  <a:pt x="900" y="115"/>
                </a:moveTo>
                <a:cubicBezTo>
                  <a:pt x="900" y="115"/>
                  <a:pt x="897" y="114"/>
                  <a:pt x="890" y="111"/>
                </a:cubicBezTo>
                <a:cubicBezTo>
                  <a:pt x="884" y="108"/>
                  <a:pt x="875" y="105"/>
                  <a:pt x="863" y="101"/>
                </a:cubicBezTo>
                <a:cubicBezTo>
                  <a:pt x="857" y="98"/>
                  <a:pt x="850" y="96"/>
                  <a:pt x="843" y="94"/>
                </a:cubicBezTo>
                <a:cubicBezTo>
                  <a:pt x="836" y="91"/>
                  <a:pt x="828" y="89"/>
                  <a:pt x="820" y="86"/>
                </a:cubicBezTo>
                <a:cubicBezTo>
                  <a:pt x="815" y="85"/>
                  <a:pt x="811" y="84"/>
                  <a:pt x="807" y="82"/>
                </a:cubicBezTo>
                <a:cubicBezTo>
                  <a:pt x="802" y="81"/>
                  <a:pt x="797" y="80"/>
                  <a:pt x="793" y="78"/>
                </a:cubicBezTo>
                <a:cubicBezTo>
                  <a:pt x="788" y="77"/>
                  <a:pt x="783" y="76"/>
                  <a:pt x="778" y="74"/>
                </a:cubicBezTo>
                <a:cubicBezTo>
                  <a:pt x="773" y="73"/>
                  <a:pt x="768" y="72"/>
                  <a:pt x="763" y="71"/>
                </a:cubicBezTo>
                <a:cubicBezTo>
                  <a:pt x="757" y="69"/>
                  <a:pt x="752" y="68"/>
                  <a:pt x="747" y="67"/>
                </a:cubicBezTo>
                <a:cubicBezTo>
                  <a:pt x="741" y="65"/>
                  <a:pt x="736" y="64"/>
                  <a:pt x="730" y="63"/>
                </a:cubicBezTo>
                <a:cubicBezTo>
                  <a:pt x="724" y="62"/>
                  <a:pt x="718" y="60"/>
                  <a:pt x="713" y="59"/>
                </a:cubicBezTo>
                <a:cubicBezTo>
                  <a:pt x="707" y="58"/>
                  <a:pt x="701" y="57"/>
                  <a:pt x="695" y="56"/>
                </a:cubicBezTo>
                <a:cubicBezTo>
                  <a:pt x="688" y="54"/>
                  <a:pt x="682" y="53"/>
                  <a:pt x="676" y="52"/>
                </a:cubicBezTo>
                <a:cubicBezTo>
                  <a:pt x="670" y="51"/>
                  <a:pt x="664" y="50"/>
                  <a:pt x="657" y="49"/>
                </a:cubicBezTo>
                <a:cubicBezTo>
                  <a:pt x="651" y="48"/>
                  <a:pt x="644" y="47"/>
                  <a:pt x="638" y="46"/>
                </a:cubicBezTo>
                <a:cubicBezTo>
                  <a:pt x="631" y="45"/>
                  <a:pt x="625" y="44"/>
                  <a:pt x="618" y="44"/>
                </a:cubicBezTo>
                <a:cubicBezTo>
                  <a:pt x="605" y="42"/>
                  <a:pt x="591" y="40"/>
                  <a:pt x="577" y="39"/>
                </a:cubicBezTo>
                <a:cubicBezTo>
                  <a:pt x="570" y="38"/>
                  <a:pt x="563" y="38"/>
                  <a:pt x="556" y="37"/>
                </a:cubicBezTo>
                <a:cubicBezTo>
                  <a:pt x="550" y="36"/>
                  <a:pt x="542" y="36"/>
                  <a:pt x="535" y="36"/>
                </a:cubicBezTo>
                <a:cubicBezTo>
                  <a:pt x="528" y="35"/>
                  <a:pt x="521" y="35"/>
                  <a:pt x="514" y="34"/>
                </a:cubicBezTo>
                <a:cubicBezTo>
                  <a:pt x="507" y="34"/>
                  <a:pt x="500" y="34"/>
                  <a:pt x="493" y="34"/>
                </a:cubicBezTo>
                <a:cubicBezTo>
                  <a:pt x="479" y="33"/>
                  <a:pt x="464" y="33"/>
                  <a:pt x="450" y="33"/>
                </a:cubicBezTo>
                <a:cubicBezTo>
                  <a:pt x="436" y="33"/>
                  <a:pt x="421" y="33"/>
                  <a:pt x="407" y="34"/>
                </a:cubicBezTo>
                <a:cubicBezTo>
                  <a:pt x="400" y="34"/>
                  <a:pt x="393" y="34"/>
                  <a:pt x="386" y="35"/>
                </a:cubicBezTo>
                <a:cubicBezTo>
                  <a:pt x="378" y="35"/>
                  <a:pt x="371" y="35"/>
                  <a:pt x="364" y="36"/>
                </a:cubicBezTo>
                <a:cubicBezTo>
                  <a:pt x="357" y="36"/>
                  <a:pt x="351" y="36"/>
                  <a:pt x="344" y="37"/>
                </a:cubicBezTo>
                <a:cubicBezTo>
                  <a:pt x="337" y="38"/>
                  <a:pt x="330" y="38"/>
                  <a:pt x="323" y="39"/>
                </a:cubicBezTo>
                <a:cubicBezTo>
                  <a:pt x="309" y="40"/>
                  <a:pt x="295" y="42"/>
                  <a:pt x="282" y="44"/>
                </a:cubicBezTo>
                <a:cubicBezTo>
                  <a:pt x="275" y="44"/>
                  <a:pt x="269" y="45"/>
                  <a:pt x="262" y="46"/>
                </a:cubicBezTo>
                <a:cubicBezTo>
                  <a:pt x="256" y="47"/>
                  <a:pt x="249" y="48"/>
                  <a:pt x="243" y="49"/>
                </a:cubicBezTo>
                <a:cubicBezTo>
                  <a:pt x="236" y="50"/>
                  <a:pt x="230" y="51"/>
                  <a:pt x="224" y="52"/>
                </a:cubicBezTo>
                <a:cubicBezTo>
                  <a:pt x="218" y="53"/>
                  <a:pt x="212" y="55"/>
                  <a:pt x="205" y="56"/>
                </a:cubicBezTo>
                <a:cubicBezTo>
                  <a:pt x="199" y="57"/>
                  <a:pt x="193" y="58"/>
                  <a:pt x="187" y="59"/>
                </a:cubicBezTo>
                <a:cubicBezTo>
                  <a:pt x="182" y="60"/>
                  <a:pt x="176" y="62"/>
                  <a:pt x="170" y="63"/>
                </a:cubicBezTo>
                <a:cubicBezTo>
                  <a:pt x="165" y="64"/>
                  <a:pt x="159" y="65"/>
                  <a:pt x="153" y="67"/>
                </a:cubicBezTo>
                <a:cubicBezTo>
                  <a:pt x="148" y="68"/>
                  <a:pt x="143" y="69"/>
                  <a:pt x="137" y="71"/>
                </a:cubicBezTo>
                <a:cubicBezTo>
                  <a:pt x="132" y="72"/>
                  <a:pt x="127" y="73"/>
                  <a:pt x="122" y="74"/>
                </a:cubicBezTo>
                <a:cubicBezTo>
                  <a:pt x="117" y="76"/>
                  <a:pt x="112" y="77"/>
                  <a:pt x="107" y="78"/>
                </a:cubicBezTo>
                <a:cubicBezTo>
                  <a:pt x="103" y="80"/>
                  <a:pt x="98" y="81"/>
                  <a:pt x="93" y="82"/>
                </a:cubicBezTo>
                <a:cubicBezTo>
                  <a:pt x="89" y="84"/>
                  <a:pt x="85" y="85"/>
                  <a:pt x="80" y="86"/>
                </a:cubicBezTo>
                <a:cubicBezTo>
                  <a:pt x="72" y="89"/>
                  <a:pt x="64" y="91"/>
                  <a:pt x="57" y="94"/>
                </a:cubicBezTo>
                <a:cubicBezTo>
                  <a:pt x="50" y="96"/>
                  <a:pt x="43" y="98"/>
                  <a:pt x="37" y="101"/>
                </a:cubicBezTo>
                <a:cubicBezTo>
                  <a:pt x="25" y="105"/>
                  <a:pt x="16" y="108"/>
                  <a:pt x="10" y="111"/>
                </a:cubicBezTo>
                <a:cubicBezTo>
                  <a:pt x="3" y="114"/>
                  <a:pt x="0" y="115"/>
                  <a:pt x="0" y="115"/>
                </a:cubicBezTo>
                <a:cubicBezTo>
                  <a:pt x="0" y="115"/>
                  <a:pt x="3" y="113"/>
                  <a:pt x="9" y="109"/>
                </a:cubicBezTo>
                <a:cubicBezTo>
                  <a:pt x="15" y="106"/>
                  <a:pt x="23" y="101"/>
                  <a:pt x="34" y="95"/>
                </a:cubicBezTo>
                <a:cubicBezTo>
                  <a:pt x="46" y="89"/>
                  <a:pt x="60" y="82"/>
                  <a:pt x="76" y="74"/>
                </a:cubicBezTo>
                <a:cubicBezTo>
                  <a:pt x="80" y="73"/>
                  <a:pt x="84" y="71"/>
                  <a:pt x="89" y="69"/>
                </a:cubicBezTo>
                <a:cubicBezTo>
                  <a:pt x="93" y="67"/>
                  <a:pt x="98" y="65"/>
                  <a:pt x="102" y="63"/>
                </a:cubicBezTo>
                <a:cubicBezTo>
                  <a:pt x="107" y="62"/>
                  <a:pt x="112" y="60"/>
                  <a:pt x="117" y="58"/>
                </a:cubicBezTo>
                <a:cubicBezTo>
                  <a:pt x="122" y="56"/>
                  <a:pt x="127" y="54"/>
                  <a:pt x="132" y="52"/>
                </a:cubicBezTo>
                <a:cubicBezTo>
                  <a:pt x="137" y="51"/>
                  <a:pt x="142" y="49"/>
                  <a:pt x="148" y="47"/>
                </a:cubicBezTo>
                <a:cubicBezTo>
                  <a:pt x="153" y="45"/>
                  <a:pt x="159" y="43"/>
                  <a:pt x="165" y="42"/>
                </a:cubicBezTo>
                <a:cubicBezTo>
                  <a:pt x="170" y="40"/>
                  <a:pt x="176" y="38"/>
                  <a:pt x="182" y="36"/>
                </a:cubicBezTo>
                <a:cubicBezTo>
                  <a:pt x="188" y="35"/>
                  <a:pt x="194" y="33"/>
                  <a:pt x="200" y="32"/>
                </a:cubicBezTo>
                <a:cubicBezTo>
                  <a:pt x="206" y="30"/>
                  <a:pt x="212" y="28"/>
                  <a:pt x="219" y="27"/>
                </a:cubicBezTo>
                <a:cubicBezTo>
                  <a:pt x="225" y="25"/>
                  <a:pt x="231" y="24"/>
                  <a:pt x="238" y="23"/>
                </a:cubicBezTo>
                <a:cubicBezTo>
                  <a:pt x="244" y="21"/>
                  <a:pt x="251" y="20"/>
                  <a:pt x="258" y="18"/>
                </a:cubicBezTo>
                <a:cubicBezTo>
                  <a:pt x="264" y="17"/>
                  <a:pt x="271" y="16"/>
                  <a:pt x="278" y="15"/>
                </a:cubicBezTo>
                <a:cubicBezTo>
                  <a:pt x="285" y="14"/>
                  <a:pt x="291" y="13"/>
                  <a:pt x="298" y="11"/>
                </a:cubicBezTo>
                <a:cubicBezTo>
                  <a:pt x="305" y="10"/>
                  <a:pt x="312" y="10"/>
                  <a:pt x="319" y="9"/>
                </a:cubicBezTo>
                <a:cubicBezTo>
                  <a:pt x="333" y="7"/>
                  <a:pt x="348" y="5"/>
                  <a:pt x="362" y="4"/>
                </a:cubicBezTo>
                <a:cubicBezTo>
                  <a:pt x="370" y="3"/>
                  <a:pt x="377" y="3"/>
                  <a:pt x="384" y="2"/>
                </a:cubicBezTo>
                <a:cubicBezTo>
                  <a:pt x="392" y="2"/>
                  <a:pt x="399" y="1"/>
                  <a:pt x="406" y="1"/>
                </a:cubicBezTo>
                <a:cubicBezTo>
                  <a:pt x="421" y="1"/>
                  <a:pt x="435" y="0"/>
                  <a:pt x="450" y="0"/>
                </a:cubicBezTo>
                <a:cubicBezTo>
                  <a:pt x="465" y="0"/>
                  <a:pt x="479" y="1"/>
                  <a:pt x="494" y="1"/>
                </a:cubicBezTo>
                <a:cubicBezTo>
                  <a:pt x="501" y="1"/>
                  <a:pt x="509" y="2"/>
                  <a:pt x="516" y="2"/>
                </a:cubicBezTo>
                <a:cubicBezTo>
                  <a:pt x="523" y="3"/>
                  <a:pt x="531" y="4"/>
                  <a:pt x="538" y="4"/>
                </a:cubicBezTo>
                <a:cubicBezTo>
                  <a:pt x="552" y="5"/>
                  <a:pt x="567" y="7"/>
                  <a:pt x="581" y="9"/>
                </a:cubicBezTo>
                <a:cubicBezTo>
                  <a:pt x="588" y="10"/>
                  <a:pt x="595" y="10"/>
                  <a:pt x="602" y="11"/>
                </a:cubicBezTo>
                <a:cubicBezTo>
                  <a:pt x="609" y="13"/>
                  <a:pt x="615" y="14"/>
                  <a:pt x="622" y="15"/>
                </a:cubicBezTo>
                <a:cubicBezTo>
                  <a:pt x="629" y="16"/>
                  <a:pt x="636" y="17"/>
                  <a:pt x="642" y="18"/>
                </a:cubicBezTo>
                <a:cubicBezTo>
                  <a:pt x="649" y="20"/>
                  <a:pt x="656" y="21"/>
                  <a:pt x="662" y="23"/>
                </a:cubicBezTo>
                <a:cubicBezTo>
                  <a:pt x="669" y="24"/>
                  <a:pt x="675" y="26"/>
                  <a:pt x="681" y="27"/>
                </a:cubicBezTo>
                <a:cubicBezTo>
                  <a:pt x="688" y="29"/>
                  <a:pt x="694" y="30"/>
                  <a:pt x="700" y="32"/>
                </a:cubicBezTo>
                <a:cubicBezTo>
                  <a:pt x="706" y="33"/>
                  <a:pt x="712" y="35"/>
                  <a:pt x="718" y="36"/>
                </a:cubicBezTo>
                <a:cubicBezTo>
                  <a:pt x="724" y="38"/>
                  <a:pt x="730" y="40"/>
                  <a:pt x="735" y="42"/>
                </a:cubicBezTo>
                <a:cubicBezTo>
                  <a:pt x="741" y="43"/>
                  <a:pt x="747" y="45"/>
                  <a:pt x="752" y="47"/>
                </a:cubicBezTo>
                <a:cubicBezTo>
                  <a:pt x="758" y="49"/>
                  <a:pt x="763" y="51"/>
                  <a:pt x="768" y="52"/>
                </a:cubicBezTo>
                <a:cubicBezTo>
                  <a:pt x="773" y="54"/>
                  <a:pt x="778" y="56"/>
                  <a:pt x="783" y="58"/>
                </a:cubicBezTo>
                <a:cubicBezTo>
                  <a:pt x="788" y="60"/>
                  <a:pt x="793" y="62"/>
                  <a:pt x="798" y="64"/>
                </a:cubicBezTo>
                <a:cubicBezTo>
                  <a:pt x="802" y="65"/>
                  <a:pt x="807" y="67"/>
                  <a:pt x="811" y="69"/>
                </a:cubicBezTo>
                <a:cubicBezTo>
                  <a:pt x="816" y="71"/>
                  <a:pt x="820" y="73"/>
                  <a:pt x="824" y="75"/>
                </a:cubicBezTo>
                <a:cubicBezTo>
                  <a:pt x="832" y="78"/>
                  <a:pt x="840" y="82"/>
                  <a:pt x="847" y="85"/>
                </a:cubicBezTo>
                <a:cubicBezTo>
                  <a:pt x="854" y="88"/>
                  <a:pt x="860" y="92"/>
                  <a:pt x="866" y="95"/>
                </a:cubicBezTo>
                <a:cubicBezTo>
                  <a:pt x="877" y="101"/>
                  <a:pt x="885" y="106"/>
                  <a:pt x="891" y="109"/>
                </a:cubicBezTo>
                <a:cubicBezTo>
                  <a:pt x="897" y="113"/>
                  <a:pt x="900" y="115"/>
                  <a:pt x="900" y="115"/>
                </a:cubicBezTo>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endParaRPr lang="en-US" sz="1050" noProof="0"/>
          </a:p>
        </p:txBody>
      </p:sp>
    </p:spTree>
    <p:extLst>
      <p:ext uri="{BB962C8B-B14F-4D97-AF65-F5344CB8AC3E}">
        <p14:creationId xmlns:p14="http://schemas.microsoft.com/office/powerpoint/2010/main" val="513100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50" fill="hold"/>
                                        <p:tgtEl>
                                          <p:spTgt spid="9"/>
                                        </p:tgtEl>
                                        <p:attrNameLst>
                                          <p:attrName>ppt_x</p:attrName>
                                        </p:attrNameLst>
                                      </p:cBhvr>
                                      <p:tavLst>
                                        <p:tav tm="0">
                                          <p:val>
                                            <p:strVal val="#ppt_x"/>
                                          </p:val>
                                        </p:tav>
                                        <p:tav tm="100000">
                                          <p:val>
                                            <p:strVal val="#ppt_x"/>
                                          </p:val>
                                        </p:tav>
                                      </p:tavLst>
                                    </p:anim>
                                    <p:anim calcmode="lin" valueType="num">
                                      <p:cBhvr additive="base">
                                        <p:cTn id="8" dur="750" fill="hold"/>
                                        <p:tgtEl>
                                          <p:spTgt spid="9"/>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50" fill="hold"/>
                                        <p:tgtEl>
                                          <p:spTgt spid="8"/>
                                        </p:tgtEl>
                                        <p:attrNameLst>
                                          <p:attrName>ppt_x</p:attrName>
                                        </p:attrNameLst>
                                      </p:cBhvr>
                                      <p:tavLst>
                                        <p:tav tm="0">
                                          <p:val>
                                            <p:strVal val="#ppt_x"/>
                                          </p:val>
                                        </p:tav>
                                        <p:tav tm="100000">
                                          <p:val>
                                            <p:strVal val="#ppt_x"/>
                                          </p:val>
                                        </p:tav>
                                      </p:tavLst>
                                    </p:anim>
                                    <p:anim calcmode="lin" valueType="num">
                                      <p:cBhvr additive="base">
                                        <p:cTn id="12" dur="750" fill="hold"/>
                                        <p:tgtEl>
                                          <p:spTgt spid="8"/>
                                        </p:tgtEl>
                                        <p:attrNameLst>
                                          <p:attrName>ppt_y</p:attrName>
                                        </p:attrNameLst>
                                      </p:cBhvr>
                                      <p:tavLst>
                                        <p:tav tm="0">
                                          <p:val>
                                            <p:strVal val="1+#ppt_h/2"/>
                                          </p:val>
                                        </p:tav>
                                        <p:tav tm="100000">
                                          <p:val>
                                            <p:strVal val="#ppt_y"/>
                                          </p:val>
                                        </p:tav>
                                      </p:tavLst>
                                    </p:anim>
                                  </p:childTnLst>
                                </p:cTn>
                              </p:par>
                              <p:par>
                                <p:cTn id="13" presetID="10" presetClass="entr" presetSubtype="0" fill="hold" nodeType="withEffect">
                                  <p:stCondLst>
                                    <p:cond delay="50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250"/>
                                        <p:tgtEl>
                                          <p:spTgt spid="35"/>
                                        </p:tgtEl>
                                      </p:cBhvr>
                                    </p:animEffect>
                                  </p:childTnLst>
                                </p:cTn>
                              </p:par>
                              <p:par>
                                <p:cTn id="16" presetID="2" presetClass="entr" presetSubtype="1" decel="10000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500" fill="hold"/>
                                        <p:tgtEl>
                                          <p:spTgt spid="7"/>
                                        </p:tgtEl>
                                        <p:attrNameLst>
                                          <p:attrName>ppt_x</p:attrName>
                                        </p:attrNameLst>
                                      </p:cBhvr>
                                      <p:tavLst>
                                        <p:tav tm="0">
                                          <p:val>
                                            <p:strVal val="#ppt_x"/>
                                          </p:val>
                                        </p:tav>
                                        <p:tav tm="100000">
                                          <p:val>
                                            <p:strVal val="#ppt_x"/>
                                          </p:val>
                                        </p:tav>
                                      </p:tavLst>
                                    </p:anim>
                                    <p:anim calcmode="lin" valueType="num">
                                      <p:cBhvr additive="base">
                                        <p:cTn id="19" dur="500" fill="hold"/>
                                        <p:tgtEl>
                                          <p:spTgt spid="7"/>
                                        </p:tgtEl>
                                        <p:attrNameLst>
                                          <p:attrName>ppt_y</p:attrName>
                                        </p:attrNameLst>
                                      </p:cBhvr>
                                      <p:tavLst>
                                        <p:tav tm="0">
                                          <p:val>
                                            <p:strVal val="0-#ppt_h/2"/>
                                          </p:val>
                                        </p:tav>
                                        <p:tav tm="100000">
                                          <p:val>
                                            <p:strVal val="#ppt_y"/>
                                          </p:val>
                                        </p:tav>
                                      </p:tavLst>
                                    </p:anim>
                                  </p:childTnLst>
                                </p:cTn>
                              </p:par>
                              <p:par>
                                <p:cTn id="20" presetID="2" presetClass="entr" presetSubtype="4" decel="100000"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anim calcmode="lin" valueType="num">
                                      <p:cBhvr additive="base">
                                        <p:cTn id="22" dur="500" fill="hold"/>
                                        <p:tgtEl>
                                          <p:spTgt spid="4"/>
                                        </p:tgtEl>
                                        <p:attrNameLst>
                                          <p:attrName>ppt_x</p:attrName>
                                        </p:attrNameLst>
                                      </p:cBhvr>
                                      <p:tavLst>
                                        <p:tav tm="0">
                                          <p:val>
                                            <p:strVal val="#ppt_x"/>
                                          </p:val>
                                        </p:tav>
                                        <p:tav tm="100000">
                                          <p:val>
                                            <p:strVal val="#ppt_x"/>
                                          </p:val>
                                        </p:tav>
                                      </p:tavLst>
                                    </p:anim>
                                    <p:anim calcmode="lin" valueType="num">
                                      <p:cBhvr additive="base">
                                        <p:cTn id="23" dur="500" fill="hold"/>
                                        <p:tgtEl>
                                          <p:spTgt spid="4"/>
                                        </p:tgtEl>
                                        <p:attrNameLst>
                                          <p:attrName>ppt_y</p:attrName>
                                        </p:attrNameLst>
                                      </p:cBhvr>
                                      <p:tavLst>
                                        <p:tav tm="0">
                                          <p:val>
                                            <p:strVal val="1+#ppt_h/2"/>
                                          </p:val>
                                        </p:tav>
                                        <p:tav tm="100000">
                                          <p:val>
                                            <p:strVal val="#ppt_y"/>
                                          </p:val>
                                        </p:tav>
                                      </p:tavLst>
                                    </p:anim>
                                  </p:childTnLst>
                                </p:cTn>
                              </p:par>
                              <p:par>
                                <p:cTn id="24" presetID="2" presetClass="entr" presetSubtype="1" decel="100000" fill="hold" grpId="0" nodeType="withEffect">
                                  <p:stCondLst>
                                    <p:cond delay="100"/>
                                  </p:stCondLst>
                                  <p:childTnLst>
                                    <p:set>
                                      <p:cBhvr>
                                        <p:cTn id="25" dur="1" fill="hold">
                                          <p:stCondLst>
                                            <p:cond delay="0"/>
                                          </p:stCondLst>
                                        </p:cTn>
                                        <p:tgtEl>
                                          <p:spTgt spid="11"/>
                                        </p:tgtEl>
                                        <p:attrNameLst>
                                          <p:attrName>style.visibility</p:attrName>
                                        </p:attrNameLst>
                                      </p:cBhvr>
                                      <p:to>
                                        <p:strVal val="visible"/>
                                      </p:to>
                                    </p:set>
                                    <p:anim calcmode="lin" valueType="num">
                                      <p:cBhvr additive="base">
                                        <p:cTn id="26" dur="1000" fill="hold"/>
                                        <p:tgtEl>
                                          <p:spTgt spid="11"/>
                                        </p:tgtEl>
                                        <p:attrNameLst>
                                          <p:attrName>ppt_x</p:attrName>
                                        </p:attrNameLst>
                                      </p:cBhvr>
                                      <p:tavLst>
                                        <p:tav tm="0">
                                          <p:val>
                                            <p:strVal val="#ppt_x"/>
                                          </p:val>
                                        </p:tav>
                                        <p:tav tm="100000">
                                          <p:val>
                                            <p:strVal val="#ppt_x"/>
                                          </p:val>
                                        </p:tav>
                                      </p:tavLst>
                                    </p:anim>
                                    <p:anim calcmode="lin" valueType="num">
                                      <p:cBhvr additive="base">
                                        <p:cTn id="27" dur="1000" fill="hold"/>
                                        <p:tgtEl>
                                          <p:spTgt spid="11"/>
                                        </p:tgtEl>
                                        <p:attrNameLst>
                                          <p:attrName>ppt_y</p:attrName>
                                        </p:attrNameLst>
                                      </p:cBhvr>
                                      <p:tavLst>
                                        <p:tav tm="0">
                                          <p:val>
                                            <p:strVal val="0-#ppt_h/2"/>
                                          </p:val>
                                        </p:tav>
                                        <p:tav tm="100000">
                                          <p:val>
                                            <p:strVal val="#ppt_y"/>
                                          </p:val>
                                        </p:tav>
                                      </p:tavLst>
                                    </p:anim>
                                  </p:childTnLst>
                                </p:cTn>
                              </p:par>
                              <p:par>
                                <p:cTn id="28" presetID="2" presetClass="entr" presetSubtype="4" decel="100000" fill="hold" grpId="0" nodeType="withEffect">
                                  <p:stCondLst>
                                    <p:cond delay="100"/>
                                  </p:stCondLst>
                                  <p:childTnLst>
                                    <p:set>
                                      <p:cBhvr>
                                        <p:cTn id="29" dur="1" fill="hold">
                                          <p:stCondLst>
                                            <p:cond delay="0"/>
                                          </p:stCondLst>
                                        </p:cTn>
                                        <p:tgtEl>
                                          <p:spTgt spid="10"/>
                                        </p:tgtEl>
                                        <p:attrNameLst>
                                          <p:attrName>style.visibility</p:attrName>
                                        </p:attrNameLst>
                                      </p:cBhvr>
                                      <p:to>
                                        <p:strVal val="visible"/>
                                      </p:to>
                                    </p:set>
                                    <p:anim calcmode="lin" valueType="num">
                                      <p:cBhvr additive="base">
                                        <p:cTn id="30" dur="1000" fill="hold"/>
                                        <p:tgtEl>
                                          <p:spTgt spid="10"/>
                                        </p:tgtEl>
                                        <p:attrNameLst>
                                          <p:attrName>ppt_x</p:attrName>
                                        </p:attrNameLst>
                                      </p:cBhvr>
                                      <p:tavLst>
                                        <p:tav tm="0">
                                          <p:val>
                                            <p:strVal val="#ppt_x"/>
                                          </p:val>
                                        </p:tav>
                                        <p:tav tm="100000">
                                          <p:val>
                                            <p:strVal val="#ppt_x"/>
                                          </p:val>
                                        </p:tav>
                                      </p:tavLst>
                                    </p:anim>
                                    <p:anim calcmode="lin" valueType="num">
                                      <p:cBhvr additive="base">
                                        <p:cTn id="31" dur="1000" fill="hold"/>
                                        <p:tgtEl>
                                          <p:spTgt spid="10"/>
                                        </p:tgtEl>
                                        <p:attrNameLst>
                                          <p:attrName>ppt_y</p:attrName>
                                        </p:attrNameLst>
                                      </p:cBhvr>
                                      <p:tavLst>
                                        <p:tav tm="0">
                                          <p:val>
                                            <p:strVal val="1+#ppt_h/2"/>
                                          </p:val>
                                        </p:tav>
                                        <p:tav tm="100000">
                                          <p:val>
                                            <p:strVal val="#ppt_y"/>
                                          </p:val>
                                        </p:tav>
                                      </p:tavLst>
                                    </p:anim>
                                  </p:childTnLst>
                                </p:cTn>
                              </p:par>
                              <p:par>
                                <p:cTn id="32" presetID="22" presetClass="entr" presetSubtype="8" fill="hold" grpId="0" nodeType="withEffect">
                                  <p:stCondLst>
                                    <p:cond delay="1000"/>
                                  </p:stCondLst>
                                  <p:childTnLst>
                                    <p:set>
                                      <p:cBhvr>
                                        <p:cTn id="33" dur="1" fill="hold">
                                          <p:stCondLst>
                                            <p:cond delay="0"/>
                                          </p:stCondLst>
                                        </p:cTn>
                                        <p:tgtEl>
                                          <p:spTgt spid="44"/>
                                        </p:tgtEl>
                                        <p:attrNameLst>
                                          <p:attrName>style.visibility</p:attrName>
                                        </p:attrNameLst>
                                      </p:cBhvr>
                                      <p:to>
                                        <p:strVal val="visible"/>
                                      </p:to>
                                    </p:set>
                                    <p:animEffect transition="in" filter="wipe(left)">
                                      <p:cBhvr>
                                        <p:cTn id="34" dur="500"/>
                                        <p:tgtEl>
                                          <p:spTgt spid="44"/>
                                        </p:tgtEl>
                                      </p:cBhvr>
                                    </p:animEffect>
                                  </p:childTnLst>
                                </p:cTn>
                              </p:par>
                              <p:par>
                                <p:cTn id="35" presetID="16" presetClass="entr" presetSubtype="37" fill="hold" nodeType="withEffect">
                                  <p:stCondLst>
                                    <p:cond delay="1250"/>
                                  </p:stCondLst>
                                  <p:childTnLst>
                                    <p:set>
                                      <p:cBhvr>
                                        <p:cTn id="36" dur="1" fill="hold">
                                          <p:stCondLst>
                                            <p:cond delay="0"/>
                                          </p:stCondLst>
                                        </p:cTn>
                                        <p:tgtEl>
                                          <p:spTgt spid="12"/>
                                        </p:tgtEl>
                                        <p:attrNameLst>
                                          <p:attrName>style.visibility</p:attrName>
                                        </p:attrNameLst>
                                      </p:cBhvr>
                                      <p:to>
                                        <p:strVal val="visible"/>
                                      </p:to>
                                    </p:set>
                                    <p:animEffect transition="in" filter="barn(outVertical)">
                                      <p:cBhvr>
                                        <p:cTn id="3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8" grpId="0" animBg="1"/>
      <p:bldP spid="9" grpId="0" animBg="1"/>
      <p:bldP spid="10" grpId="0" animBg="1"/>
      <p:bldP spid="11" grpId="0" animBg="1"/>
      <p:bldP spid="44" grpId="0" animBg="1"/>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p:spTree>
      <p:nvGrpSpPr>
        <p:cNvPr id="1" name=""/>
        <p:cNvGrpSpPr/>
        <p:nvPr/>
      </p:nvGrpSpPr>
      <p:grpSpPr>
        <a:xfrm>
          <a:off x="0" y="0"/>
          <a:ext cx="0" cy="0"/>
          <a:chOff x="0" y="0"/>
          <a:chExt cx="0" cy="0"/>
        </a:xfrm>
      </p:grpSpPr>
      <p:sp>
        <p:nvSpPr>
          <p:cNvPr id="59" name="Tijdelijke aanduiding voor afbeelding 58">
            <a:extLst>
              <a:ext uri="{FF2B5EF4-FFF2-40B4-BE49-F238E27FC236}">
                <a16:creationId xmlns:a16="http://schemas.microsoft.com/office/drawing/2014/main" id="{B11E907E-30C1-4089-9D3D-CD0B9FC675E5}"/>
              </a:ext>
            </a:extLst>
          </p:cNvPr>
          <p:cNvSpPr>
            <a:spLocks noGrp="1"/>
          </p:cNvSpPr>
          <p:nvPr>
            <p:ph type="pic" sz="quarter" idx="14" hasCustomPrompt="1"/>
          </p:nvPr>
        </p:nvSpPr>
        <p:spPr>
          <a:xfrm>
            <a:off x="-4032" y="0"/>
            <a:ext cx="9152063" cy="5143500"/>
          </a:xfrm>
          <a:custGeom>
            <a:avLst/>
            <a:gdLst>
              <a:gd name="connsiteX0" fmla="*/ 0 w 12202750"/>
              <a:gd name="connsiteY0" fmla="*/ 6392677 h 6858000"/>
              <a:gd name="connsiteX1" fmla="*/ 5375 w 12202750"/>
              <a:gd name="connsiteY1" fmla="*/ 6854032 h 6858000"/>
              <a:gd name="connsiteX2" fmla="*/ 12199756 w 12202750"/>
              <a:gd name="connsiteY2" fmla="*/ 6858000 h 6858000"/>
              <a:gd name="connsiteX3" fmla="*/ 0 w 12202750"/>
              <a:gd name="connsiteY3" fmla="*/ 6858000 h 6858000"/>
              <a:gd name="connsiteX4" fmla="*/ 0 w 12202750"/>
              <a:gd name="connsiteY4" fmla="*/ 0 h 6858000"/>
              <a:gd name="connsiteX5" fmla="*/ 12202750 w 12202750"/>
              <a:gd name="connsiteY5" fmla="*/ 0 h 6858000"/>
              <a:gd name="connsiteX6" fmla="*/ 12202750 w 12202750"/>
              <a:gd name="connsiteY6" fmla="*/ 6858000 h 6858000"/>
              <a:gd name="connsiteX7" fmla="*/ 12199756 w 12202750"/>
              <a:gd name="connsiteY7" fmla="*/ 6858000 h 6858000"/>
              <a:gd name="connsiteX8" fmla="*/ 12197376 w 12202750"/>
              <a:gd name="connsiteY8" fmla="*/ 6022181 h 6858000"/>
              <a:gd name="connsiteX9" fmla="*/ 4901227 w 12202750"/>
              <a:gd name="connsiteY9" fmla="*/ 6003131 h 6858000"/>
              <a:gd name="connsiteX10" fmla="*/ 4640877 w 12202750"/>
              <a:gd name="connsiteY10" fmla="*/ 5984081 h 6858000"/>
              <a:gd name="connsiteX11" fmla="*/ 4307502 w 12202750"/>
              <a:gd name="connsiteY11" fmla="*/ 5920581 h 6858000"/>
              <a:gd name="connsiteX12" fmla="*/ 4069378 w 12202750"/>
              <a:gd name="connsiteY12" fmla="*/ 5936455 h 6858000"/>
              <a:gd name="connsiteX13" fmla="*/ 2967653 w 12202750"/>
              <a:gd name="connsiteY13" fmla="*/ 6146005 h 6858000"/>
              <a:gd name="connsiteX14" fmla="*/ 1608753 w 12202750"/>
              <a:gd name="connsiteY14" fmla="*/ 6038055 h 6858000"/>
              <a:gd name="connsiteX15" fmla="*/ 1354753 w 12202750"/>
              <a:gd name="connsiteY15" fmla="*/ 6038055 h 6858000"/>
              <a:gd name="connsiteX16" fmla="*/ 783253 w 12202750"/>
              <a:gd name="connsiteY16" fmla="*/ 6034880 h 6858000"/>
              <a:gd name="connsiteX17" fmla="*/ 262553 w 12202750"/>
              <a:gd name="connsiteY17" fmla="*/ 6034880 h 6858000"/>
              <a:gd name="connsiteX18" fmla="*/ 0 w 12202750"/>
              <a:gd name="connsiteY18" fmla="*/ 60287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02750" h="6858000">
                <a:moveTo>
                  <a:pt x="0" y="6392677"/>
                </a:moveTo>
                <a:lnTo>
                  <a:pt x="5375" y="6854032"/>
                </a:lnTo>
                <a:lnTo>
                  <a:pt x="12199756" y="6858000"/>
                </a:lnTo>
                <a:lnTo>
                  <a:pt x="0" y="6858000"/>
                </a:lnTo>
                <a:close/>
                <a:moveTo>
                  <a:pt x="0" y="0"/>
                </a:moveTo>
                <a:lnTo>
                  <a:pt x="12202750" y="0"/>
                </a:lnTo>
                <a:lnTo>
                  <a:pt x="12202750" y="6858000"/>
                </a:lnTo>
                <a:lnTo>
                  <a:pt x="12199756" y="6858000"/>
                </a:lnTo>
                <a:cubicBezTo>
                  <a:pt x="12198963" y="6579394"/>
                  <a:pt x="12198169" y="6300787"/>
                  <a:pt x="12197376" y="6022181"/>
                </a:cubicBezTo>
                <a:cubicBezTo>
                  <a:pt x="12198699" y="6021520"/>
                  <a:pt x="4943560" y="6006835"/>
                  <a:pt x="4901227" y="6003131"/>
                </a:cubicBezTo>
                <a:cubicBezTo>
                  <a:pt x="4900566" y="6003792"/>
                  <a:pt x="4696970" y="5994135"/>
                  <a:pt x="4640877" y="5984081"/>
                </a:cubicBezTo>
                <a:cubicBezTo>
                  <a:pt x="4639554" y="5983420"/>
                  <a:pt x="4348248" y="5918465"/>
                  <a:pt x="4307502" y="5920581"/>
                </a:cubicBezTo>
                <a:cubicBezTo>
                  <a:pt x="4308164" y="5919919"/>
                  <a:pt x="4252470" y="5902059"/>
                  <a:pt x="4069378" y="5936455"/>
                </a:cubicBezTo>
                <a:cubicBezTo>
                  <a:pt x="4071362" y="5937778"/>
                  <a:pt x="3026390" y="6143888"/>
                  <a:pt x="2967653" y="6146005"/>
                </a:cubicBezTo>
                <a:cubicBezTo>
                  <a:pt x="2171786" y="6205272"/>
                  <a:pt x="2061720" y="6074038"/>
                  <a:pt x="1608753" y="6038055"/>
                </a:cubicBezTo>
                <a:lnTo>
                  <a:pt x="1354753" y="6038055"/>
                </a:lnTo>
                <a:lnTo>
                  <a:pt x="783253" y="6034880"/>
                </a:lnTo>
                <a:lnTo>
                  <a:pt x="262553" y="6034880"/>
                </a:lnTo>
                <a:lnTo>
                  <a:pt x="0" y="6028703"/>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125" i="1">
                <a:solidFill>
                  <a:schemeClr val="tx1">
                    <a:lumMod val="50000"/>
                    <a:lumOff val="50000"/>
                  </a:schemeClr>
                </a:solidFill>
              </a:defRPr>
            </a:lvl1pPr>
          </a:lstStyle>
          <a:p>
            <a:r>
              <a:rPr lang="en-US"/>
              <a:t>Click the icon below </a:t>
            </a:r>
            <a:br>
              <a:rPr lang="en-US"/>
            </a:br>
            <a:r>
              <a:rPr lang="en-US"/>
              <a:t>to add an image.</a:t>
            </a:r>
          </a:p>
        </p:txBody>
      </p:sp>
      <p:sp>
        <p:nvSpPr>
          <p:cNvPr id="5" name="Tekstvak 4"/>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Title</a:t>
            </a:r>
          </a:p>
        </p:txBody>
      </p:sp>
      <p:sp>
        <p:nvSpPr>
          <p:cNvPr id="70" name="Tijdelijke aanduiding voor tekst 69">
            <a:extLst>
              <a:ext uri="{FF2B5EF4-FFF2-40B4-BE49-F238E27FC236}">
                <a16:creationId xmlns:a16="http://schemas.microsoft.com/office/drawing/2014/main" id="{826A342F-9B6E-4C5B-992F-36BF4B89B991}"/>
              </a:ext>
            </a:extLst>
          </p:cNvPr>
          <p:cNvSpPr>
            <a:spLocks noGrp="1"/>
          </p:cNvSpPr>
          <p:nvPr>
            <p:ph type="body" sz="quarter" idx="16" hasCustomPrompt="1"/>
          </p:nvPr>
        </p:nvSpPr>
        <p:spPr>
          <a:xfrm>
            <a:off x="514350" y="864394"/>
            <a:ext cx="3159919" cy="2593181"/>
          </a:xfrm>
          <a:solidFill>
            <a:schemeClr val="bg1"/>
          </a:solidFill>
        </p:spPr>
        <p:txBody>
          <a:bodyPr/>
          <a:lstStyle>
            <a:lvl1pPr marL="0" indent="0">
              <a:buNone/>
              <a:defRPr sz="100">
                <a:solidFill>
                  <a:schemeClr val="bg1"/>
                </a:solidFill>
              </a:defRPr>
            </a:lvl1pPr>
          </a:lstStyle>
          <a:p>
            <a:pPr lvl="0"/>
            <a:r>
              <a:rPr lang="en-US"/>
              <a:t>    </a:t>
            </a:r>
          </a:p>
        </p:txBody>
      </p:sp>
      <p:sp>
        <p:nvSpPr>
          <p:cNvPr id="71" name="Titel 38">
            <a:extLst>
              <a:ext uri="{FF2B5EF4-FFF2-40B4-BE49-F238E27FC236}">
                <a16:creationId xmlns:a16="http://schemas.microsoft.com/office/drawing/2014/main" id="{D119EBE8-BF64-433A-BBE4-A0C1E99CC074}"/>
              </a:ext>
            </a:extLst>
          </p:cNvPr>
          <p:cNvSpPr>
            <a:spLocks noGrp="1"/>
          </p:cNvSpPr>
          <p:nvPr>
            <p:ph type="title" hasCustomPrompt="1"/>
          </p:nvPr>
        </p:nvSpPr>
        <p:spPr>
          <a:xfrm>
            <a:off x="732515" y="1018615"/>
            <a:ext cx="2723590" cy="1597028"/>
          </a:xfrm>
        </p:spPr>
        <p:txBody>
          <a:bodyPr anchor="b"/>
          <a:lstStyle>
            <a:lvl1pPr algn="l">
              <a:defRPr sz="3300" b="1">
                <a:solidFill>
                  <a:schemeClr val="tx2"/>
                </a:solidFill>
              </a:defRPr>
            </a:lvl1pPr>
          </a:lstStyle>
          <a:p>
            <a:r>
              <a:rPr lang="en-US" noProof="0"/>
              <a:t>Insert presentation title here</a:t>
            </a:r>
            <a:endParaRPr lang="en-US"/>
          </a:p>
        </p:txBody>
      </p:sp>
      <p:sp>
        <p:nvSpPr>
          <p:cNvPr id="73" name="Tijdelijke aanduiding voor datum 3">
            <a:extLst>
              <a:ext uri="{FF2B5EF4-FFF2-40B4-BE49-F238E27FC236}">
                <a16:creationId xmlns:a16="http://schemas.microsoft.com/office/drawing/2014/main" id="{77D4D340-7F9F-434E-A43A-235E7CDE3D9C}"/>
              </a:ext>
            </a:extLst>
          </p:cNvPr>
          <p:cNvSpPr>
            <a:spLocks noGrp="1"/>
          </p:cNvSpPr>
          <p:nvPr>
            <p:ph type="dt" sz="half" idx="2"/>
          </p:nvPr>
        </p:nvSpPr>
        <p:spPr>
          <a:xfrm>
            <a:off x="732515" y="2986203"/>
            <a:ext cx="2057400" cy="273844"/>
          </a:xfrm>
          <a:prstGeom prst="rect">
            <a:avLst/>
          </a:prstGeom>
        </p:spPr>
        <p:txBody>
          <a:bodyPr vert="horz" lIns="0" tIns="45720" rIns="91440" bIns="45720" rtlCol="0" anchor="ctr"/>
          <a:lstStyle>
            <a:lvl1pPr algn="l">
              <a:defRPr sz="900">
                <a:solidFill>
                  <a:schemeClr val="tx2"/>
                </a:solidFill>
              </a:defRPr>
            </a:lvl1pPr>
          </a:lstStyle>
          <a:p>
            <a:endParaRPr lang="en-US"/>
          </a:p>
        </p:txBody>
      </p:sp>
      <p:sp>
        <p:nvSpPr>
          <p:cNvPr id="74" name="Tijdelijke aanduiding voor verticale tekst 2">
            <a:extLst>
              <a:ext uri="{FF2B5EF4-FFF2-40B4-BE49-F238E27FC236}">
                <a16:creationId xmlns:a16="http://schemas.microsoft.com/office/drawing/2014/main" id="{ACC389B2-E498-4EEB-A10B-E054BB090852}"/>
              </a:ext>
            </a:extLst>
          </p:cNvPr>
          <p:cNvSpPr>
            <a:spLocks noGrp="1"/>
          </p:cNvSpPr>
          <p:nvPr>
            <p:ph type="body" orient="vert" idx="1" hasCustomPrompt="1"/>
          </p:nvPr>
        </p:nvSpPr>
        <p:spPr>
          <a:xfrm>
            <a:off x="732515" y="2668054"/>
            <a:ext cx="2723590" cy="275262"/>
          </a:xfrm>
        </p:spPr>
        <p:txBody>
          <a:bodyPr vert="horz" lIns="0" tIns="0" rIns="0" bIns="0" anchor="t"/>
          <a:lstStyle>
            <a:lvl1pPr marL="0" indent="0">
              <a:buFontTx/>
              <a:buNone/>
              <a:defRPr/>
            </a:lvl1pPr>
            <a:lvl2pPr>
              <a:defRPr/>
            </a:lvl2pPr>
            <a:lvl3pPr>
              <a:defRPr/>
            </a:lvl3pPr>
            <a:lvl4pPr>
              <a:defRPr/>
            </a:lvl4pPr>
            <a:lvl5pPr>
              <a:defRPr/>
            </a:lvl5pPr>
            <a:lvl6pPr>
              <a:defRPr/>
            </a:lvl6pPr>
            <a:lvl7pPr>
              <a:defRPr/>
            </a:lvl7pPr>
            <a:lvl8pPr>
              <a:defRPr/>
            </a:lvl8pPr>
            <a:lvl9pPr>
              <a:defRPr/>
            </a:lvl9pPr>
          </a:lstStyle>
          <a:p>
            <a:pPr lvl="0"/>
            <a:r>
              <a:rPr lang="en-US" noProof="0"/>
              <a:t>Insert name presenter | Function </a:t>
            </a:r>
          </a:p>
        </p:txBody>
      </p:sp>
      <p:grpSp>
        <p:nvGrpSpPr>
          <p:cNvPr id="33" name="Graphic 41">
            <a:extLst>
              <a:ext uri="{FF2B5EF4-FFF2-40B4-BE49-F238E27FC236}">
                <a16:creationId xmlns:a16="http://schemas.microsoft.com/office/drawing/2014/main" id="{FE0A67DD-2664-47AE-8487-AC2679983E8C}"/>
              </a:ext>
            </a:extLst>
          </p:cNvPr>
          <p:cNvGrpSpPr/>
          <p:nvPr userDrawn="1"/>
        </p:nvGrpSpPr>
        <p:grpSpPr>
          <a:xfrm>
            <a:off x="7631620" y="4629635"/>
            <a:ext cx="1005230" cy="343655"/>
            <a:chOff x="6610866" y="4731155"/>
            <a:chExt cx="2143791" cy="729043"/>
          </a:xfrm>
          <a:solidFill>
            <a:schemeClr val="bg1"/>
          </a:solidFill>
        </p:grpSpPr>
        <p:grpSp>
          <p:nvGrpSpPr>
            <p:cNvPr id="34" name="Graphic 41">
              <a:extLst>
                <a:ext uri="{FF2B5EF4-FFF2-40B4-BE49-F238E27FC236}">
                  <a16:creationId xmlns:a16="http://schemas.microsoft.com/office/drawing/2014/main" id="{E83752D2-9EAA-459B-B835-32D6880C3481}"/>
                </a:ext>
              </a:extLst>
            </p:cNvPr>
            <p:cNvGrpSpPr/>
            <p:nvPr/>
          </p:nvGrpSpPr>
          <p:grpSpPr>
            <a:xfrm>
              <a:off x="6748216" y="5056434"/>
              <a:ext cx="1868805" cy="403764"/>
              <a:chOff x="6748216" y="5056434"/>
              <a:chExt cx="1868805" cy="403764"/>
            </a:xfrm>
            <a:grpFill/>
          </p:grpSpPr>
          <p:sp>
            <p:nvSpPr>
              <p:cNvPr id="36" name="Vrije vorm: vorm 35">
                <a:extLst>
                  <a:ext uri="{FF2B5EF4-FFF2-40B4-BE49-F238E27FC236}">
                    <a16:creationId xmlns:a16="http://schemas.microsoft.com/office/drawing/2014/main" id="{4CE05311-2D47-4BB0-8B68-BBB37546AA85}"/>
                  </a:ext>
                </a:extLst>
              </p:cNvPr>
              <p:cNvSpPr/>
              <p:nvPr/>
            </p:nvSpPr>
            <p:spPr>
              <a:xfrm>
                <a:off x="6748216" y="5057267"/>
                <a:ext cx="304990" cy="394169"/>
              </a:xfrm>
              <a:custGeom>
                <a:avLst/>
                <a:gdLst>
                  <a:gd name="connsiteX0" fmla="*/ 89344 w 304990"/>
                  <a:gd name="connsiteY0" fmla="*/ 56889 h 394169"/>
                  <a:gd name="connsiteX1" fmla="*/ 169164 w 304990"/>
                  <a:gd name="connsiteY1" fmla="*/ 118230 h 394169"/>
                  <a:gd name="connsiteX2" fmla="*/ 89344 w 304990"/>
                  <a:gd name="connsiteY2" fmla="*/ 182809 h 394169"/>
                  <a:gd name="connsiteX3" fmla="*/ 89344 w 304990"/>
                  <a:gd name="connsiteY3" fmla="*/ 56889 h 394169"/>
                  <a:gd name="connsiteX4" fmla="*/ 10668 w 304990"/>
                  <a:gd name="connsiteY4" fmla="*/ 292156 h 394169"/>
                  <a:gd name="connsiteX5" fmla="*/ 95 w 304990"/>
                  <a:gd name="connsiteY5" fmla="*/ 394169 h 394169"/>
                  <a:gd name="connsiteX6" fmla="*/ 100298 w 304990"/>
                  <a:gd name="connsiteY6" fmla="*/ 394169 h 394169"/>
                  <a:gd name="connsiteX7" fmla="*/ 89249 w 304990"/>
                  <a:gd name="connsiteY7" fmla="*/ 309016 h 394169"/>
                  <a:gd name="connsiteX8" fmla="*/ 89249 w 304990"/>
                  <a:gd name="connsiteY8" fmla="*/ 237959 h 394169"/>
                  <a:gd name="connsiteX9" fmla="*/ 233458 w 304990"/>
                  <a:gd name="connsiteY9" fmla="*/ 394169 h 394169"/>
                  <a:gd name="connsiteX10" fmla="*/ 304991 w 304990"/>
                  <a:gd name="connsiteY10" fmla="*/ 394169 h 394169"/>
                  <a:gd name="connsiteX11" fmla="*/ 168878 w 304990"/>
                  <a:gd name="connsiteY11" fmla="*/ 217576 h 394169"/>
                  <a:gd name="connsiteX12" fmla="*/ 255080 w 304990"/>
                  <a:gd name="connsiteY12" fmla="*/ 112515 h 394169"/>
                  <a:gd name="connsiteX13" fmla="*/ 100013 w 304990"/>
                  <a:gd name="connsiteY13" fmla="*/ 25 h 394169"/>
                  <a:gd name="connsiteX14" fmla="*/ 0 w 304990"/>
                  <a:gd name="connsiteY14" fmla="*/ 1072 h 394169"/>
                  <a:gd name="connsiteX15" fmla="*/ 10573 w 304990"/>
                  <a:gd name="connsiteY15" fmla="*/ 82511 h 394169"/>
                  <a:gd name="connsiteX16" fmla="*/ 10573 w 304990"/>
                  <a:gd name="connsiteY16" fmla="*/ 292156 h 39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4990" h="394169">
                    <a:moveTo>
                      <a:pt x="89344" y="56889"/>
                    </a:moveTo>
                    <a:cubicBezTo>
                      <a:pt x="142113" y="60699"/>
                      <a:pt x="169164" y="88798"/>
                      <a:pt x="169164" y="118230"/>
                    </a:cubicBezTo>
                    <a:cubicBezTo>
                      <a:pt x="169164" y="178714"/>
                      <a:pt x="107728" y="181095"/>
                      <a:pt x="89344" y="182809"/>
                    </a:cubicBezTo>
                    <a:lnTo>
                      <a:pt x="89344" y="56889"/>
                    </a:lnTo>
                    <a:close/>
                    <a:moveTo>
                      <a:pt x="10668" y="292156"/>
                    </a:moveTo>
                    <a:cubicBezTo>
                      <a:pt x="10668" y="326351"/>
                      <a:pt x="8572" y="355212"/>
                      <a:pt x="95" y="394169"/>
                    </a:cubicBezTo>
                    <a:lnTo>
                      <a:pt x="100298" y="394169"/>
                    </a:lnTo>
                    <a:cubicBezTo>
                      <a:pt x="89726" y="352164"/>
                      <a:pt x="89249" y="339496"/>
                      <a:pt x="89249" y="309016"/>
                    </a:cubicBezTo>
                    <a:lnTo>
                      <a:pt x="89249" y="237959"/>
                    </a:lnTo>
                    <a:cubicBezTo>
                      <a:pt x="170688" y="346258"/>
                      <a:pt x="180404" y="348449"/>
                      <a:pt x="233458" y="394169"/>
                    </a:cubicBezTo>
                    <a:lnTo>
                      <a:pt x="304991" y="394169"/>
                    </a:lnTo>
                    <a:cubicBezTo>
                      <a:pt x="258223" y="337972"/>
                      <a:pt x="204026" y="279583"/>
                      <a:pt x="168878" y="217576"/>
                    </a:cubicBezTo>
                    <a:cubicBezTo>
                      <a:pt x="186785" y="208146"/>
                      <a:pt x="255080" y="197573"/>
                      <a:pt x="255080" y="112515"/>
                    </a:cubicBezTo>
                    <a:cubicBezTo>
                      <a:pt x="255080" y="59461"/>
                      <a:pt x="222790" y="-1404"/>
                      <a:pt x="100013" y="25"/>
                    </a:cubicBezTo>
                    <a:lnTo>
                      <a:pt x="0" y="1072"/>
                    </a:lnTo>
                    <a:cubicBezTo>
                      <a:pt x="4191" y="14693"/>
                      <a:pt x="10573" y="36315"/>
                      <a:pt x="10573" y="82511"/>
                    </a:cubicBezTo>
                    <a:lnTo>
                      <a:pt x="10573" y="292156"/>
                    </a:lnTo>
                    <a:close/>
                  </a:path>
                </a:pathLst>
              </a:custGeom>
              <a:grpFill/>
              <a:ln w="9525" cap="flat">
                <a:noFill/>
                <a:prstDash val="solid"/>
                <a:miter/>
              </a:ln>
            </p:spPr>
            <p:txBody>
              <a:bodyPr rtlCol="0" anchor="ctr"/>
              <a:lstStyle/>
              <a:p>
                <a:endParaRPr lang="en-US" sz="1050"/>
              </a:p>
            </p:txBody>
          </p:sp>
          <p:sp>
            <p:nvSpPr>
              <p:cNvPr id="37" name="Vrije vorm: vorm 36">
                <a:extLst>
                  <a:ext uri="{FF2B5EF4-FFF2-40B4-BE49-F238E27FC236}">
                    <a16:creationId xmlns:a16="http://schemas.microsoft.com/office/drawing/2014/main" id="{7CE28C1B-2C34-4D89-BA40-5208AC799D8F}"/>
                  </a:ext>
                </a:extLst>
              </p:cNvPr>
              <p:cNvSpPr/>
              <p:nvPr/>
            </p:nvSpPr>
            <p:spPr>
              <a:xfrm>
                <a:off x="7048444" y="5170734"/>
                <a:ext cx="218422" cy="289464"/>
              </a:xfrm>
              <a:custGeom>
                <a:avLst/>
                <a:gdLst>
                  <a:gd name="connsiteX0" fmla="*/ 64484 w 218422"/>
                  <a:gd name="connsiteY0" fmla="*/ 114395 h 289464"/>
                  <a:gd name="connsiteX1" fmla="*/ 113538 w 218422"/>
                  <a:gd name="connsiteY1" fmla="*/ 47625 h 289464"/>
                  <a:gd name="connsiteX2" fmla="*/ 156591 w 218422"/>
                  <a:gd name="connsiteY2" fmla="*/ 114395 h 289464"/>
                  <a:gd name="connsiteX3" fmla="*/ 64484 w 218422"/>
                  <a:gd name="connsiteY3" fmla="*/ 114395 h 289464"/>
                  <a:gd name="connsiteX4" fmla="*/ 214027 w 218422"/>
                  <a:gd name="connsiteY4" fmla="*/ 211074 h 289464"/>
                  <a:gd name="connsiteX5" fmla="*/ 150781 w 218422"/>
                  <a:gd name="connsiteY5" fmla="*/ 229743 h 289464"/>
                  <a:gd name="connsiteX6" fmla="*/ 71914 w 218422"/>
                  <a:gd name="connsiteY6" fmla="*/ 158305 h 289464"/>
                  <a:gd name="connsiteX7" fmla="*/ 216980 w 218422"/>
                  <a:gd name="connsiteY7" fmla="*/ 158020 h 289464"/>
                  <a:gd name="connsiteX8" fmla="*/ 216694 w 218422"/>
                  <a:gd name="connsiteY8" fmla="*/ 85725 h 289464"/>
                  <a:gd name="connsiteX9" fmla="*/ 116205 w 218422"/>
                  <a:gd name="connsiteY9" fmla="*/ 0 h 289464"/>
                  <a:gd name="connsiteX10" fmla="*/ 0 w 218422"/>
                  <a:gd name="connsiteY10" fmla="*/ 147733 h 289464"/>
                  <a:gd name="connsiteX11" fmla="*/ 133064 w 218422"/>
                  <a:gd name="connsiteY11" fmla="*/ 289465 h 289464"/>
                  <a:gd name="connsiteX12" fmla="*/ 191167 w 218422"/>
                  <a:gd name="connsiteY12" fmla="*/ 274511 h 289464"/>
                  <a:gd name="connsiteX13" fmla="*/ 214027 w 218422"/>
                  <a:gd name="connsiteY13" fmla="*/ 211074 h 28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8422" h="289464">
                    <a:moveTo>
                      <a:pt x="64484" y="114395"/>
                    </a:moveTo>
                    <a:cubicBezTo>
                      <a:pt x="64484" y="85630"/>
                      <a:pt x="85820" y="47625"/>
                      <a:pt x="113538" y="47625"/>
                    </a:cubicBezTo>
                    <a:cubicBezTo>
                      <a:pt x="136589" y="47625"/>
                      <a:pt x="156591" y="72866"/>
                      <a:pt x="156591" y="114395"/>
                    </a:cubicBezTo>
                    <a:lnTo>
                      <a:pt x="64484" y="114395"/>
                    </a:lnTo>
                    <a:close/>
                    <a:moveTo>
                      <a:pt x="214027" y="211074"/>
                    </a:moveTo>
                    <a:cubicBezTo>
                      <a:pt x="183071" y="225266"/>
                      <a:pt x="172784" y="229743"/>
                      <a:pt x="150781" y="229743"/>
                    </a:cubicBezTo>
                    <a:cubicBezTo>
                      <a:pt x="89821" y="229743"/>
                      <a:pt x="73438" y="177260"/>
                      <a:pt x="71914" y="158305"/>
                    </a:cubicBezTo>
                    <a:lnTo>
                      <a:pt x="216980" y="158020"/>
                    </a:lnTo>
                    <a:cubicBezTo>
                      <a:pt x="216980" y="128111"/>
                      <a:pt x="220409" y="107823"/>
                      <a:pt x="216694" y="85725"/>
                    </a:cubicBezTo>
                    <a:cubicBezTo>
                      <a:pt x="208788" y="33147"/>
                      <a:pt x="161449" y="0"/>
                      <a:pt x="116205" y="0"/>
                    </a:cubicBezTo>
                    <a:cubicBezTo>
                      <a:pt x="51530" y="0"/>
                      <a:pt x="0" y="56293"/>
                      <a:pt x="0" y="147733"/>
                    </a:cubicBezTo>
                    <a:cubicBezTo>
                      <a:pt x="0" y="209741"/>
                      <a:pt x="45339" y="289465"/>
                      <a:pt x="133064" y="289465"/>
                    </a:cubicBezTo>
                    <a:cubicBezTo>
                      <a:pt x="158782" y="289465"/>
                      <a:pt x="174308" y="280321"/>
                      <a:pt x="191167" y="274511"/>
                    </a:cubicBezTo>
                    <a:lnTo>
                      <a:pt x="214027" y="211074"/>
                    </a:lnTo>
                    <a:close/>
                  </a:path>
                </a:pathLst>
              </a:custGeom>
              <a:grpFill/>
              <a:ln w="9525" cap="flat">
                <a:noFill/>
                <a:prstDash val="solid"/>
                <a:miter/>
              </a:ln>
            </p:spPr>
            <p:txBody>
              <a:bodyPr rtlCol="0" anchor="ctr"/>
              <a:lstStyle/>
              <a:p>
                <a:endParaRPr lang="en-US" sz="1050"/>
              </a:p>
            </p:txBody>
          </p:sp>
          <p:sp>
            <p:nvSpPr>
              <p:cNvPr id="38" name="Vrije vorm: vorm 37">
                <a:extLst>
                  <a:ext uri="{FF2B5EF4-FFF2-40B4-BE49-F238E27FC236}">
                    <a16:creationId xmlns:a16="http://schemas.microsoft.com/office/drawing/2014/main" id="{5DB1CD67-4AE1-4887-A3E7-023C1C3B33E2}"/>
                  </a:ext>
                </a:extLst>
              </p:cNvPr>
              <p:cNvSpPr/>
              <p:nvPr/>
            </p:nvSpPr>
            <p:spPr>
              <a:xfrm>
                <a:off x="7288665" y="5056434"/>
                <a:ext cx="188023" cy="395001"/>
              </a:xfrm>
              <a:custGeom>
                <a:avLst/>
                <a:gdLst>
                  <a:gd name="connsiteX0" fmla="*/ 158782 w 188023"/>
                  <a:gd name="connsiteY0" fmla="*/ 169831 h 395001"/>
                  <a:gd name="connsiteX1" fmla="*/ 101822 w 188023"/>
                  <a:gd name="connsiteY1" fmla="*/ 169831 h 395001"/>
                  <a:gd name="connsiteX2" fmla="*/ 101822 w 188023"/>
                  <a:gd name="connsiteY2" fmla="*/ 328232 h 395001"/>
                  <a:gd name="connsiteX3" fmla="*/ 116491 w 188023"/>
                  <a:gd name="connsiteY3" fmla="*/ 393954 h 395001"/>
                  <a:gd name="connsiteX4" fmla="*/ 23717 w 188023"/>
                  <a:gd name="connsiteY4" fmla="*/ 395002 h 395001"/>
                  <a:gd name="connsiteX5" fmla="*/ 38957 w 188023"/>
                  <a:gd name="connsiteY5" fmla="*/ 324041 h 395001"/>
                  <a:gd name="connsiteX6" fmla="*/ 38957 w 188023"/>
                  <a:gd name="connsiteY6" fmla="*/ 169831 h 395001"/>
                  <a:gd name="connsiteX7" fmla="*/ 0 w 188023"/>
                  <a:gd name="connsiteY7" fmla="*/ 168783 h 395001"/>
                  <a:gd name="connsiteX8" fmla="*/ 24479 w 188023"/>
                  <a:gd name="connsiteY8" fmla="*/ 121253 h 395001"/>
                  <a:gd name="connsiteX9" fmla="*/ 38957 w 188023"/>
                  <a:gd name="connsiteY9" fmla="*/ 121158 h 395001"/>
                  <a:gd name="connsiteX10" fmla="*/ 38957 w 188023"/>
                  <a:gd name="connsiteY10" fmla="*/ 104870 h 395001"/>
                  <a:gd name="connsiteX11" fmla="*/ 129349 w 188023"/>
                  <a:gd name="connsiteY11" fmla="*/ 0 h 395001"/>
                  <a:gd name="connsiteX12" fmla="*/ 188023 w 188023"/>
                  <a:gd name="connsiteY12" fmla="*/ 9716 h 395001"/>
                  <a:gd name="connsiteX13" fmla="*/ 177546 w 188023"/>
                  <a:gd name="connsiteY13" fmla="*/ 62770 h 395001"/>
                  <a:gd name="connsiteX14" fmla="*/ 137636 w 188023"/>
                  <a:gd name="connsiteY14" fmla="*/ 47625 h 395001"/>
                  <a:gd name="connsiteX15" fmla="*/ 101917 w 188023"/>
                  <a:gd name="connsiteY15" fmla="*/ 90106 h 395001"/>
                  <a:gd name="connsiteX16" fmla="*/ 101917 w 188023"/>
                  <a:gd name="connsiteY16" fmla="*/ 118967 h 395001"/>
                  <a:gd name="connsiteX17" fmla="*/ 158877 w 188023"/>
                  <a:gd name="connsiteY17" fmla="*/ 118967 h 395001"/>
                  <a:gd name="connsiteX18" fmla="*/ 158877 w 188023"/>
                  <a:gd name="connsiteY18" fmla="*/ 169831 h 39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8023" h="395001">
                    <a:moveTo>
                      <a:pt x="158782" y="169831"/>
                    </a:moveTo>
                    <a:lnTo>
                      <a:pt x="101822" y="169831"/>
                    </a:lnTo>
                    <a:lnTo>
                      <a:pt x="101822" y="328232"/>
                    </a:lnTo>
                    <a:cubicBezTo>
                      <a:pt x="101822" y="366046"/>
                      <a:pt x="108680" y="379190"/>
                      <a:pt x="116491" y="393954"/>
                    </a:cubicBezTo>
                    <a:lnTo>
                      <a:pt x="23717" y="395002"/>
                    </a:lnTo>
                    <a:cubicBezTo>
                      <a:pt x="36290" y="371856"/>
                      <a:pt x="38957" y="352996"/>
                      <a:pt x="38957" y="324041"/>
                    </a:cubicBezTo>
                    <a:lnTo>
                      <a:pt x="38957" y="169831"/>
                    </a:lnTo>
                    <a:lnTo>
                      <a:pt x="0" y="168783"/>
                    </a:lnTo>
                    <a:cubicBezTo>
                      <a:pt x="10192" y="155734"/>
                      <a:pt x="24479" y="121253"/>
                      <a:pt x="24479" y="121253"/>
                    </a:cubicBezTo>
                    <a:lnTo>
                      <a:pt x="38957" y="121158"/>
                    </a:lnTo>
                    <a:lnTo>
                      <a:pt x="38957" y="104870"/>
                    </a:lnTo>
                    <a:cubicBezTo>
                      <a:pt x="38957" y="65246"/>
                      <a:pt x="52006" y="0"/>
                      <a:pt x="129349" y="0"/>
                    </a:cubicBezTo>
                    <a:cubicBezTo>
                      <a:pt x="149352" y="0"/>
                      <a:pt x="173831" y="6572"/>
                      <a:pt x="188023" y="9716"/>
                    </a:cubicBezTo>
                    <a:cubicBezTo>
                      <a:pt x="182785" y="36004"/>
                      <a:pt x="181165" y="37529"/>
                      <a:pt x="177546" y="62770"/>
                    </a:cubicBezTo>
                    <a:cubicBezTo>
                      <a:pt x="171259" y="49625"/>
                      <a:pt x="156019" y="47625"/>
                      <a:pt x="137636" y="47625"/>
                    </a:cubicBezTo>
                    <a:cubicBezTo>
                      <a:pt x="116395" y="47625"/>
                      <a:pt x="101917" y="73819"/>
                      <a:pt x="101917" y="90106"/>
                    </a:cubicBezTo>
                    <a:lnTo>
                      <a:pt x="101917" y="118967"/>
                    </a:lnTo>
                    <a:lnTo>
                      <a:pt x="158877" y="118967"/>
                    </a:lnTo>
                    <a:lnTo>
                      <a:pt x="158877" y="169831"/>
                    </a:lnTo>
                    <a:close/>
                  </a:path>
                </a:pathLst>
              </a:custGeom>
              <a:grpFill/>
              <a:ln w="9525" cap="flat">
                <a:noFill/>
                <a:prstDash val="solid"/>
                <a:miter/>
              </a:ln>
            </p:spPr>
            <p:txBody>
              <a:bodyPr rtlCol="0" anchor="ctr"/>
              <a:lstStyle/>
              <a:p>
                <a:endParaRPr lang="en-US" sz="1050"/>
              </a:p>
            </p:txBody>
          </p:sp>
          <p:sp>
            <p:nvSpPr>
              <p:cNvPr id="39" name="Vrije vorm: vorm 38">
                <a:extLst>
                  <a:ext uri="{FF2B5EF4-FFF2-40B4-BE49-F238E27FC236}">
                    <a16:creationId xmlns:a16="http://schemas.microsoft.com/office/drawing/2014/main" id="{55A2E762-35F3-4273-B67E-61920BCF4B7B}"/>
                  </a:ext>
                </a:extLst>
              </p:cNvPr>
              <p:cNvSpPr/>
              <p:nvPr/>
            </p:nvSpPr>
            <p:spPr>
              <a:xfrm>
                <a:off x="7491261" y="5168829"/>
                <a:ext cx="175355" cy="282511"/>
              </a:xfrm>
              <a:custGeom>
                <a:avLst/>
                <a:gdLst>
                  <a:gd name="connsiteX0" fmla="*/ 86868 w 175355"/>
                  <a:gd name="connsiteY0" fmla="*/ 7144 h 282511"/>
                  <a:gd name="connsiteX1" fmla="*/ 84201 w 175355"/>
                  <a:gd name="connsiteY1" fmla="*/ 44958 h 282511"/>
                  <a:gd name="connsiteX2" fmla="*/ 84201 w 175355"/>
                  <a:gd name="connsiteY2" fmla="*/ 58293 h 282511"/>
                  <a:gd name="connsiteX3" fmla="*/ 147161 w 175355"/>
                  <a:gd name="connsiteY3" fmla="*/ 0 h 282511"/>
                  <a:gd name="connsiteX4" fmla="*/ 175355 w 175355"/>
                  <a:gd name="connsiteY4" fmla="*/ 9716 h 282511"/>
                  <a:gd name="connsiteX5" fmla="*/ 166402 w 175355"/>
                  <a:gd name="connsiteY5" fmla="*/ 73057 h 282511"/>
                  <a:gd name="connsiteX6" fmla="*/ 138875 w 175355"/>
                  <a:gd name="connsiteY6" fmla="*/ 58865 h 282511"/>
                  <a:gd name="connsiteX7" fmla="*/ 84201 w 175355"/>
                  <a:gd name="connsiteY7" fmla="*/ 97536 h 282511"/>
                  <a:gd name="connsiteX8" fmla="*/ 84201 w 175355"/>
                  <a:gd name="connsiteY8" fmla="*/ 217837 h 282511"/>
                  <a:gd name="connsiteX9" fmla="*/ 97917 w 175355"/>
                  <a:gd name="connsiteY9" fmla="*/ 282512 h 282511"/>
                  <a:gd name="connsiteX10" fmla="*/ 0 w 175355"/>
                  <a:gd name="connsiteY10" fmla="*/ 282512 h 282511"/>
                  <a:gd name="connsiteX11" fmla="*/ 13621 w 175355"/>
                  <a:gd name="connsiteY11" fmla="*/ 229934 h 282511"/>
                  <a:gd name="connsiteX12" fmla="*/ 13621 w 175355"/>
                  <a:gd name="connsiteY12" fmla="*/ 55055 h 282511"/>
                  <a:gd name="connsiteX13" fmla="*/ 4667 w 175355"/>
                  <a:gd name="connsiteY13" fmla="*/ 7239 h 282511"/>
                  <a:gd name="connsiteX14" fmla="*/ 86868 w 175355"/>
                  <a:gd name="connsiteY14" fmla="*/ 7239 h 28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5355" h="282511">
                    <a:moveTo>
                      <a:pt x="86868" y="7144"/>
                    </a:moveTo>
                    <a:cubicBezTo>
                      <a:pt x="84201" y="21336"/>
                      <a:pt x="84201" y="27146"/>
                      <a:pt x="84201" y="44958"/>
                    </a:cubicBezTo>
                    <a:lnTo>
                      <a:pt x="84201" y="58293"/>
                    </a:lnTo>
                    <a:cubicBezTo>
                      <a:pt x="111442" y="18288"/>
                      <a:pt x="126016" y="0"/>
                      <a:pt x="147161" y="0"/>
                    </a:cubicBezTo>
                    <a:cubicBezTo>
                      <a:pt x="158686" y="0"/>
                      <a:pt x="166878" y="5525"/>
                      <a:pt x="175355" y="9716"/>
                    </a:cubicBezTo>
                    <a:lnTo>
                      <a:pt x="166402" y="73057"/>
                    </a:lnTo>
                    <a:cubicBezTo>
                      <a:pt x="156496" y="63341"/>
                      <a:pt x="149733" y="58865"/>
                      <a:pt x="138875" y="58865"/>
                    </a:cubicBezTo>
                    <a:cubicBezTo>
                      <a:pt x="109919" y="58865"/>
                      <a:pt x="94774" y="87630"/>
                      <a:pt x="84201" y="97536"/>
                    </a:cubicBezTo>
                    <a:lnTo>
                      <a:pt x="84201" y="217837"/>
                    </a:lnTo>
                    <a:cubicBezTo>
                      <a:pt x="84201" y="257842"/>
                      <a:pt x="88392" y="266700"/>
                      <a:pt x="97917" y="282512"/>
                    </a:cubicBezTo>
                    <a:lnTo>
                      <a:pt x="0" y="282512"/>
                    </a:lnTo>
                    <a:cubicBezTo>
                      <a:pt x="11049" y="265176"/>
                      <a:pt x="13621" y="256222"/>
                      <a:pt x="13621" y="229934"/>
                    </a:cubicBezTo>
                    <a:lnTo>
                      <a:pt x="13621" y="55055"/>
                    </a:lnTo>
                    <a:cubicBezTo>
                      <a:pt x="13621" y="45053"/>
                      <a:pt x="13621" y="33528"/>
                      <a:pt x="4667" y="7239"/>
                    </a:cubicBezTo>
                    <a:lnTo>
                      <a:pt x="86868" y="7239"/>
                    </a:lnTo>
                    <a:close/>
                  </a:path>
                </a:pathLst>
              </a:custGeom>
              <a:grpFill/>
              <a:ln w="9525" cap="flat">
                <a:noFill/>
                <a:prstDash val="solid"/>
                <a:miter/>
              </a:ln>
            </p:spPr>
            <p:txBody>
              <a:bodyPr rtlCol="0" anchor="ctr"/>
              <a:lstStyle/>
              <a:p>
                <a:endParaRPr lang="en-US" sz="1050"/>
              </a:p>
            </p:txBody>
          </p:sp>
          <p:sp>
            <p:nvSpPr>
              <p:cNvPr id="40" name="Vrije vorm: vorm 39">
                <a:extLst>
                  <a:ext uri="{FF2B5EF4-FFF2-40B4-BE49-F238E27FC236}">
                    <a16:creationId xmlns:a16="http://schemas.microsoft.com/office/drawing/2014/main" id="{F667527F-8FF9-4995-955A-023CEA9848AF}"/>
                  </a:ext>
                </a:extLst>
              </p:cNvPr>
              <p:cNvSpPr/>
              <p:nvPr/>
            </p:nvSpPr>
            <p:spPr>
              <a:xfrm>
                <a:off x="7686143" y="5170829"/>
                <a:ext cx="216904" cy="286607"/>
              </a:xfrm>
              <a:custGeom>
                <a:avLst/>
                <a:gdLst>
                  <a:gd name="connsiteX0" fmla="*/ 67342 w 216904"/>
                  <a:gd name="connsiteY0" fmla="*/ 114300 h 286607"/>
                  <a:gd name="connsiteX1" fmla="*/ 110585 w 216904"/>
                  <a:gd name="connsiteY1" fmla="*/ 47530 h 286607"/>
                  <a:gd name="connsiteX2" fmla="*/ 150781 w 216904"/>
                  <a:gd name="connsiteY2" fmla="*/ 114300 h 286607"/>
                  <a:gd name="connsiteX3" fmla="*/ 67342 w 216904"/>
                  <a:gd name="connsiteY3" fmla="*/ 114300 h 286607"/>
                  <a:gd name="connsiteX4" fmla="*/ 211169 w 216904"/>
                  <a:gd name="connsiteY4" fmla="*/ 210979 h 286607"/>
                  <a:gd name="connsiteX5" fmla="*/ 153638 w 216904"/>
                  <a:gd name="connsiteY5" fmla="*/ 229648 h 286607"/>
                  <a:gd name="connsiteX6" fmla="*/ 71819 w 216904"/>
                  <a:gd name="connsiteY6" fmla="*/ 158210 h 286607"/>
                  <a:gd name="connsiteX7" fmla="*/ 216884 w 216904"/>
                  <a:gd name="connsiteY7" fmla="*/ 155067 h 286607"/>
                  <a:gd name="connsiteX8" fmla="*/ 213741 w 216904"/>
                  <a:gd name="connsiteY8" fmla="*/ 82772 h 286607"/>
                  <a:gd name="connsiteX9" fmla="*/ 116205 w 216904"/>
                  <a:gd name="connsiteY9" fmla="*/ 0 h 286607"/>
                  <a:gd name="connsiteX10" fmla="*/ 0 w 216904"/>
                  <a:gd name="connsiteY10" fmla="*/ 144875 h 286607"/>
                  <a:gd name="connsiteX11" fmla="*/ 124396 w 216904"/>
                  <a:gd name="connsiteY11" fmla="*/ 286607 h 286607"/>
                  <a:gd name="connsiteX12" fmla="*/ 185357 w 216904"/>
                  <a:gd name="connsiteY12" fmla="*/ 274511 h 286607"/>
                  <a:gd name="connsiteX13" fmla="*/ 211169 w 216904"/>
                  <a:gd name="connsiteY13" fmla="*/ 210979 h 28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904" h="286607">
                    <a:moveTo>
                      <a:pt x="67342" y="114300"/>
                    </a:moveTo>
                    <a:cubicBezTo>
                      <a:pt x="71533" y="67532"/>
                      <a:pt x="91250" y="47530"/>
                      <a:pt x="110585" y="47530"/>
                    </a:cubicBezTo>
                    <a:cubicBezTo>
                      <a:pt x="131921" y="47530"/>
                      <a:pt x="152305" y="64294"/>
                      <a:pt x="150781" y="114300"/>
                    </a:cubicBezTo>
                    <a:lnTo>
                      <a:pt x="67342" y="114300"/>
                    </a:lnTo>
                    <a:close/>
                    <a:moveTo>
                      <a:pt x="211169" y="210979"/>
                    </a:moveTo>
                    <a:cubicBezTo>
                      <a:pt x="180213" y="225171"/>
                      <a:pt x="175736" y="229648"/>
                      <a:pt x="153638" y="229648"/>
                    </a:cubicBezTo>
                    <a:cubicBezTo>
                      <a:pt x="92678" y="229648"/>
                      <a:pt x="73438" y="177165"/>
                      <a:pt x="71819" y="158210"/>
                    </a:cubicBezTo>
                    <a:lnTo>
                      <a:pt x="216884" y="155067"/>
                    </a:lnTo>
                    <a:cubicBezTo>
                      <a:pt x="216884" y="125158"/>
                      <a:pt x="217361" y="104775"/>
                      <a:pt x="213741" y="82772"/>
                    </a:cubicBezTo>
                    <a:cubicBezTo>
                      <a:pt x="205835" y="30194"/>
                      <a:pt x="161354" y="0"/>
                      <a:pt x="116205" y="0"/>
                    </a:cubicBezTo>
                    <a:cubicBezTo>
                      <a:pt x="51530" y="0"/>
                      <a:pt x="0" y="53340"/>
                      <a:pt x="0" y="144875"/>
                    </a:cubicBezTo>
                    <a:cubicBezTo>
                      <a:pt x="0" y="206883"/>
                      <a:pt x="36576" y="286607"/>
                      <a:pt x="124396" y="286607"/>
                    </a:cubicBezTo>
                    <a:cubicBezTo>
                      <a:pt x="150114" y="286607"/>
                      <a:pt x="168497" y="280321"/>
                      <a:pt x="185357" y="274511"/>
                    </a:cubicBezTo>
                    <a:lnTo>
                      <a:pt x="211169" y="210979"/>
                    </a:lnTo>
                    <a:close/>
                  </a:path>
                </a:pathLst>
              </a:custGeom>
              <a:grpFill/>
              <a:ln w="9525" cap="flat">
                <a:noFill/>
                <a:prstDash val="solid"/>
                <a:miter/>
              </a:ln>
            </p:spPr>
            <p:txBody>
              <a:bodyPr rtlCol="0" anchor="ctr"/>
              <a:lstStyle/>
              <a:p>
                <a:endParaRPr lang="en-US" sz="1050"/>
              </a:p>
            </p:txBody>
          </p:sp>
          <p:sp>
            <p:nvSpPr>
              <p:cNvPr id="41" name="Vrije vorm: vorm 40">
                <a:extLst>
                  <a:ext uri="{FF2B5EF4-FFF2-40B4-BE49-F238E27FC236}">
                    <a16:creationId xmlns:a16="http://schemas.microsoft.com/office/drawing/2014/main" id="{3FF59918-45EE-42F0-B0C9-23501AF067A2}"/>
                  </a:ext>
                </a:extLst>
              </p:cNvPr>
              <p:cNvSpPr/>
              <p:nvPr/>
            </p:nvSpPr>
            <p:spPr>
              <a:xfrm>
                <a:off x="7932269" y="5170639"/>
                <a:ext cx="156114" cy="286988"/>
              </a:xfrm>
              <a:custGeom>
                <a:avLst/>
                <a:gdLst>
                  <a:gd name="connsiteX0" fmla="*/ 152876 w 156114"/>
                  <a:gd name="connsiteY0" fmla="*/ 61055 h 286988"/>
                  <a:gd name="connsiteX1" fmla="*/ 110585 w 156114"/>
                  <a:gd name="connsiteY1" fmla="*/ 48482 h 286988"/>
                  <a:gd name="connsiteX2" fmla="*/ 76486 w 156114"/>
                  <a:gd name="connsiteY2" fmla="*/ 73628 h 286988"/>
                  <a:gd name="connsiteX3" fmla="*/ 114586 w 156114"/>
                  <a:gd name="connsiteY3" fmla="*/ 119824 h 286988"/>
                  <a:gd name="connsiteX4" fmla="*/ 156115 w 156114"/>
                  <a:gd name="connsiteY4" fmla="*/ 201835 h 286988"/>
                  <a:gd name="connsiteX5" fmla="*/ 66199 w 156114"/>
                  <a:gd name="connsiteY5" fmla="*/ 286988 h 286988"/>
                  <a:gd name="connsiteX6" fmla="*/ 0 w 156114"/>
                  <a:gd name="connsiteY6" fmla="*/ 274130 h 286988"/>
                  <a:gd name="connsiteX7" fmla="*/ 762 w 156114"/>
                  <a:gd name="connsiteY7" fmla="*/ 208978 h 286988"/>
                  <a:gd name="connsiteX8" fmla="*/ 64103 w 156114"/>
                  <a:gd name="connsiteY8" fmla="*/ 239649 h 286988"/>
                  <a:gd name="connsiteX9" fmla="*/ 92964 w 156114"/>
                  <a:gd name="connsiteY9" fmla="*/ 213931 h 286988"/>
                  <a:gd name="connsiteX10" fmla="*/ 60960 w 156114"/>
                  <a:gd name="connsiteY10" fmla="*/ 168212 h 286988"/>
                  <a:gd name="connsiteX11" fmla="*/ 8382 w 156114"/>
                  <a:gd name="connsiteY11" fmla="*/ 83058 h 286988"/>
                  <a:gd name="connsiteX12" fmla="*/ 100394 w 156114"/>
                  <a:gd name="connsiteY12" fmla="*/ 0 h 286988"/>
                  <a:gd name="connsiteX13" fmla="*/ 152971 w 156114"/>
                  <a:gd name="connsiteY13" fmla="*/ 11525 h 286988"/>
                  <a:gd name="connsiteX14" fmla="*/ 152971 w 156114"/>
                  <a:gd name="connsiteY14" fmla="*/ 61055 h 28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114" h="286988">
                    <a:moveTo>
                      <a:pt x="152876" y="61055"/>
                    </a:moveTo>
                    <a:cubicBezTo>
                      <a:pt x="141351" y="51149"/>
                      <a:pt x="123063" y="48482"/>
                      <a:pt x="110585" y="48482"/>
                    </a:cubicBezTo>
                    <a:cubicBezTo>
                      <a:pt x="94298" y="48482"/>
                      <a:pt x="76486" y="60103"/>
                      <a:pt x="76486" y="73628"/>
                    </a:cubicBezTo>
                    <a:cubicBezTo>
                      <a:pt x="76486" y="94678"/>
                      <a:pt x="94869" y="105061"/>
                      <a:pt x="114586" y="119824"/>
                    </a:cubicBezTo>
                    <a:cubicBezTo>
                      <a:pt x="141827" y="140398"/>
                      <a:pt x="156115" y="163449"/>
                      <a:pt x="156115" y="201835"/>
                    </a:cubicBezTo>
                    <a:cubicBezTo>
                      <a:pt x="156115" y="248603"/>
                      <a:pt x="125063" y="286988"/>
                      <a:pt x="66199" y="286988"/>
                    </a:cubicBezTo>
                    <a:cubicBezTo>
                      <a:pt x="59341" y="286988"/>
                      <a:pt x="33623" y="284131"/>
                      <a:pt x="0" y="274130"/>
                    </a:cubicBezTo>
                    <a:lnTo>
                      <a:pt x="762" y="208978"/>
                    </a:lnTo>
                    <a:cubicBezTo>
                      <a:pt x="26575" y="231839"/>
                      <a:pt x="48292" y="239839"/>
                      <a:pt x="64103" y="239649"/>
                    </a:cubicBezTo>
                    <a:cubicBezTo>
                      <a:pt x="79915" y="239458"/>
                      <a:pt x="92583" y="228791"/>
                      <a:pt x="92964" y="213931"/>
                    </a:cubicBezTo>
                    <a:cubicBezTo>
                      <a:pt x="93345" y="201644"/>
                      <a:pt x="86487" y="190500"/>
                      <a:pt x="60960" y="168212"/>
                    </a:cubicBezTo>
                    <a:cubicBezTo>
                      <a:pt x="44958" y="154210"/>
                      <a:pt x="8382" y="127159"/>
                      <a:pt x="8382" y="83058"/>
                    </a:cubicBezTo>
                    <a:cubicBezTo>
                      <a:pt x="8382" y="52578"/>
                      <a:pt x="34671" y="0"/>
                      <a:pt x="100394" y="0"/>
                    </a:cubicBezTo>
                    <a:cubicBezTo>
                      <a:pt x="121920" y="0"/>
                      <a:pt x="133541" y="4191"/>
                      <a:pt x="152971" y="11525"/>
                    </a:cubicBezTo>
                    <a:lnTo>
                      <a:pt x="152971" y="61055"/>
                    </a:lnTo>
                    <a:close/>
                  </a:path>
                </a:pathLst>
              </a:custGeom>
              <a:grpFill/>
              <a:ln w="9525" cap="flat">
                <a:noFill/>
                <a:prstDash val="solid"/>
                <a:miter/>
              </a:ln>
            </p:spPr>
            <p:txBody>
              <a:bodyPr rtlCol="0" anchor="ctr"/>
              <a:lstStyle/>
              <a:p>
                <a:endParaRPr lang="en-US" sz="1050"/>
              </a:p>
            </p:txBody>
          </p:sp>
          <p:sp>
            <p:nvSpPr>
              <p:cNvPr id="42" name="Vrije vorm: vorm 41">
                <a:extLst>
                  <a:ext uri="{FF2B5EF4-FFF2-40B4-BE49-F238E27FC236}">
                    <a16:creationId xmlns:a16="http://schemas.microsoft.com/office/drawing/2014/main" id="{15411494-2B5D-4F0D-9C10-5A9ECF2F7C4A}"/>
                  </a:ext>
                </a:extLst>
              </p:cNvPr>
              <p:cNvSpPr/>
              <p:nvPr/>
            </p:nvSpPr>
            <p:spPr>
              <a:xfrm>
                <a:off x="8116958" y="5172163"/>
                <a:ext cx="214883" cy="283940"/>
              </a:xfrm>
              <a:custGeom>
                <a:avLst/>
                <a:gdLst>
                  <a:gd name="connsiteX0" fmla="*/ 200882 w 214883"/>
                  <a:gd name="connsiteY0" fmla="*/ 72676 h 283940"/>
                  <a:gd name="connsiteX1" fmla="*/ 146495 w 214883"/>
                  <a:gd name="connsiteY1" fmla="*/ 46863 h 283940"/>
                  <a:gd name="connsiteX2" fmla="*/ 73819 w 214883"/>
                  <a:gd name="connsiteY2" fmla="*/ 139446 h 283940"/>
                  <a:gd name="connsiteX3" fmla="*/ 156782 w 214883"/>
                  <a:gd name="connsiteY3" fmla="*/ 228790 h 283940"/>
                  <a:gd name="connsiteX4" fmla="*/ 214884 w 214883"/>
                  <a:gd name="connsiteY4" fmla="*/ 211550 h 283940"/>
                  <a:gd name="connsiteX5" fmla="*/ 188024 w 214883"/>
                  <a:gd name="connsiteY5" fmla="*/ 280416 h 283940"/>
                  <a:gd name="connsiteX6" fmla="*/ 127730 w 214883"/>
                  <a:gd name="connsiteY6" fmla="*/ 283940 h 283940"/>
                  <a:gd name="connsiteX7" fmla="*/ 0 w 214883"/>
                  <a:gd name="connsiteY7" fmla="*/ 154686 h 283940"/>
                  <a:gd name="connsiteX8" fmla="*/ 151352 w 214883"/>
                  <a:gd name="connsiteY8" fmla="*/ 0 h 283940"/>
                  <a:gd name="connsiteX9" fmla="*/ 206312 w 214883"/>
                  <a:gd name="connsiteY9" fmla="*/ 8572 h 283940"/>
                  <a:gd name="connsiteX10" fmla="*/ 200882 w 214883"/>
                  <a:gd name="connsiteY10" fmla="*/ 72676 h 28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883" h="283940">
                    <a:moveTo>
                      <a:pt x="200882" y="72676"/>
                    </a:moveTo>
                    <a:cubicBezTo>
                      <a:pt x="195834" y="67437"/>
                      <a:pt x="178689" y="46863"/>
                      <a:pt x="146495" y="46863"/>
                    </a:cubicBezTo>
                    <a:cubicBezTo>
                      <a:pt x="90678" y="46863"/>
                      <a:pt x="73819" y="104775"/>
                      <a:pt x="73819" y="139446"/>
                    </a:cubicBezTo>
                    <a:cubicBezTo>
                      <a:pt x="73819" y="206216"/>
                      <a:pt x="134017" y="228790"/>
                      <a:pt x="156782" y="228790"/>
                    </a:cubicBezTo>
                    <a:cubicBezTo>
                      <a:pt x="180404" y="228790"/>
                      <a:pt x="201454" y="219075"/>
                      <a:pt x="214884" y="211550"/>
                    </a:cubicBezTo>
                    <a:lnTo>
                      <a:pt x="188024" y="280416"/>
                    </a:lnTo>
                    <a:cubicBezTo>
                      <a:pt x="173450" y="283083"/>
                      <a:pt x="147733" y="283940"/>
                      <a:pt x="127730" y="283940"/>
                    </a:cubicBezTo>
                    <a:cubicBezTo>
                      <a:pt x="60293" y="283940"/>
                      <a:pt x="0" y="219075"/>
                      <a:pt x="0" y="154686"/>
                    </a:cubicBezTo>
                    <a:cubicBezTo>
                      <a:pt x="0" y="96298"/>
                      <a:pt x="30671" y="0"/>
                      <a:pt x="151352" y="0"/>
                    </a:cubicBezTo>
                    <a:cubicBezTo>
                      <a:pt x="175546" y="0"/>
                      <a:pt x="192119" y="6001"/>
                      <a:pt x="206312" y="8572"/>
                    </a:cubicBezTo>
                    <a:lnTo>
                      <a:pt x="200882" y="72676"/>
                    </a:lnTo>
                    <a:close/>
                  </a:path>
                </a:pathLst>
              </a:custGeom>
              <a:grpFill/>
              <a:ln w="9525" cap="flat">
                <a:noFill/>
                <a:prstDash val="solid"/>
                <a:miter/>
              </a:ln>
            </p:spPr>
            <p:txBody>
              <a:bodyPr rtlCol="0" anchor="ctr"/>
              <a:lstStyle/>
              <a:p>
                <a:endParaRPr lang="en-US" sz="1050"/>
              </a:p>
            </p:txBody>
          </p:sp>
          <p:sp>
            <p:nvSpPr>
              <p:cNvPr id="43" name="Vrije vorm: vorm 42">
                <a:extLst>
                  <a:ext uri="{FF2B5EF4-FFF2-40B4-BE49-F238E27FC236}">
                    <a16:creationId xmlns:a16="http://schemas.microsoft.com/office/drawing/2014/main" id="{9D6D6C84-7B70-4664-A528-225B07F5EA7B}"/>
                  </a:ext>
                </a:extLst>
              </p:cNvPr>
              <p:cNvSpPr/>
              <p:nvPr/>
            </p:nvSpPr>
            <p:spPr>
              <a:xfrm>
                <a:off x="8354703" y="5169881"/>
                <a:ext cx="262318" cy="288698"/>
              </a:xfrm>
              <a:custGeom>
                <a:avLst/>
                <a:gdLst>
                  <a:gd name="connsiteX0" fmla="*/ 150590 w 262318"/>
                  <a:gd name="connsiteY0" fmla="*/ 240502 h 288698"/>
                  <a:gd name="connsiteX1" fmla="*/ 67913 w 262318"/>
                  <a:gd name="connsiteY1" fmla="*/ 141442 h 288698"/>
                  <a:gd name="connsiteX2" fmla="*/ 108490 w 262318"/>
                  <a:gd name="connsiteY2" fmla="*/ 46002 h 288698"/>
                  <a:gd name="connsiteX3" fmla="*/ 186785 w 262318"/>
                  <a:gd name="connsiteY3" fmla="*/ 145824 h 288698"/>
                  <a:gd name="connsiteX4" fmla="*/ 150590 w 262318"/>
                  <a:gd name="connsiteY4" fmla="*/ 240502 h 288698"/>
                  <a:gd name="connsiteX5" fmla="*/ 110871 w 262318"/>
                  <a:gd name="connsiteY5" fmla="*/ 91 h 288698"/>
                  <a:gd name="connsiteX6" fmla="*/ 0 w 262318"/>
                  <a:gd name="connsiteY6" fmla="*/ 154873 h 288698"/>
                  <a:gd name="connsiteX7" fmla="*/ 128302 w 262318"/>
                  <a:gd name="connsiteY7" fmla="*/ 288699 h 288698"/>
                  <a:gd name="connsiteX8" fmla="*/ 262318 w 262318"/>
                  <a:gd name="connsiteY8" fmla="*/ 134965 h 288698"/>
                  <a:gd name="connsiteX9" fmla="*/ 110871 w 262318"/>
                  <a:gd name="connsiteY9" fmla="*/ 91 h 28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318" h="288698">
                    <a:moveTo>
                      <a:pt x="150590" y="240502"/>
                    </a:moveTo>
                    <a:cubicBezTo>
                      <a:pt x="103822" y="244408"/>
                      <a:pt x="67913" y="181638"/>
                      <a:pt x="67913" y="141442"/>
                    </a:cubicBezTo>
                    <a:cubicBezTo>
                      <a:pt x="67913" y="101247"/>
                      <a:pt x="95917" y="46002"/>
                      <a:pt x="108490" y="46002"/>
                    </a:cubicBezTo>
                    <a:cubicBezTo>
                      <a:pt x="137160" y="46002"/>
                      <a:pt x="186785" y="79244"/>
                      <a:pt x="186785" y="145824"/>
                    </a:cubicBezTo>
                    <a:cubicBezTo>
                      <a:pt x="186785" y="207546"/>
                      <a:pt x="158020" y="234597"/>
                      <a:pt x="150590" y="240502"/>
                    </a:cubicBezTo>
                    <a:close/>
                    <a:moveTo>
                      <a:pt x="110871" y="91"/>
                    </a:moveTo>
                    <a:cubicBezTo>
                      <a:pt x="65627" y="13712"/>
                      <a:pt x="0" y="40287"/>
                      <a:pt x="0" y="154873"/>
                    </a:cubicBezTo>
                    <a:cubicBezTo>
                      <a:pt x="0" y="250504"/>
                      <a:pt x="74676" y="288699"/>
                      <a:pt x="128302" y="288699"/>
                    </a:cubicBezTo>
                    <a:cubicBezTo>
                      <a:pt x="161925" y="288699"/>
                      <a:pt x="262318" y="254790"/>
                      <a:pt x="262318" y="134965"/>
                    </a:cubicBezTo>
                    <a:cubicBezTo>
                      <a:pt x="262414" y="53431"/>
                      <a:pt x="186023" y="-2576"/>
                      <a:pt x="110871" y="91"/>
                    </a:cubicBezTo>
                    <a:close/>
                  </a:path>
                </a:pathLst>
              </a:custGeom>
              <a:grpFill/>
              <a:ln w="9525" cap="flat">
                <a:noFill/>
                <a:prstDash val="solid"/>
                <a:miter/>
              </a:ln>
            </p:spPr>
            <p:txBody>
              <a:bodyPr rtlCol="0" anchor="ctr"/>
              <a:lstStyle/>
              <a:p>
                <a:endParaRPr lang="en-US" sz="1050"/>
              </a:p>
            </p:txBody>
          </p:sp>
        </p:grpSp>
        <p:sp>
          <p:nvSpPr>
            <p:cNvPr id="35" name="Vrije vorm: vorm 34">
              <a:extLst>
                <a:ext uri="{FF2B5EF4-FFF2-40B4-BE49-F238E27FC236}">
                  <a16:creationId xmlns:a16="http://schemas.microsoft.com/office/drawing/2014/main" id="{5FB5EB6F-D48D-43B7-B60B-E363CA6BBCBF}"/>
                </a:ext>
              </a:extLst>
            </p:cNvPr>
            <p:cNvSpPr/>
            <p:nvPr/>
          </p:nvSpPr>
          <p:spPr>
            <a:xfrm>
              <a:off x="6610866" y="4731155"/>
              <a:ext cx="2143791" cy="273843"/>
            </a:xfrm>
            <a:custGeom>
              <a:avLst/>
              <a:gdLst>
                <a:gd name="connsiteX0" fmla="*/ 2143792 w 2143791"/>
                <a:gd name="connsiteY0" fmla="*/ 273844 h 273843"/>
                <a:gd name="connsiteX1" fmla="*/ 2120837 w 2143791"/>
                <a:gd name="connsiteY1" fmla="*/ 264224 h 273843"/>
                <a:gd name="connsiteX2" fmla="*/ 2055209 w 2143791"/>
                <a:gd name="connsiteY2" fmla="*/ 239268 h 273843"/>
                <a:gd name="connsiteX3" fmla="*/ 2007965 w 2143791"/>
                <a:gd name="connsiteY3" fmla="*/ 223076 h 273843"/>
                <a:gd name="connsiteX4" fmla="*/ 1951958 w 2143791"/>
                <a:gd name="connsiteY4" fmla="*/ 205169 h 273843"/>
                <a:gd name="connsiteX5" fmla="*/ 1920907 w 2143791"/>
                <a:gd name="connsiteY5" fmla="*/ 195739 h 273843"/>
                <a:gd name="connsiteX6" fmla="*/ 1887760 w 2143791"/>
                <a:gd name="connsiteY6" fmla="*/ 186595 h 273843"/>
                <a:gd name="connsiteX7" fmla="*/ 1852993 w 2143791"/>
                <a:gd name="connsiteY7" fmla="*/ 176975 h 273843"/>
                <a:gd name="connsiteX8" fmla="*/ 1816322 w 2143791"/>
                <a:gd name="connsiteY8" fmla="*/ 167831 h 273843"/>
                <a:gd name="connsiteX9" fmla="*/ 1778127 w 2143791"/>
                <a:gd name="connsiteY9" fmla="*/ 158306 h 273843"/>
                <a:gd name="connsiteX10" fmla="*/ 1738217 w 2143791"/>
                <a:gd name="connsiteY10" fmla="*/ 149638 h 273843"/>
                <a:gd name="connsiteX11" fmla="*/ 1696974 w 2143791"/>
                <a:gd name="connsiteY11" fmla="*/ 140494 h 273843"/>
                <a:gd name="connsiteX12" fmla="*/ 1654207 w 2143791"/>
                <a:gd name="connsiteY12" fmla="*/ 132493 h 273843"/>
                <a:gd name="connsiteX13" fmla="*/ 1610297 w 2143791"/>
                <a:gd name="connsiteY13" fmla="*/ 124111 h 273843"/>
                <a:gd name="connsiteX14" fmla="*/ 1565053 w 2143791"/>
                <a:gd name="connsiteY14" fmla="*/ 116967 h 273843"/>
                <a:gd name="connsiteX15" fmla="*/ 1518857 w 2143791"/>
                <a:gd name="connsiteY15" fmla="*/ 109633 h 273843"/>
                <a:gd name="connsiteX16" fmla="*/ 1471613 w 2143791"/>
                <a:gd name="connsiteY16" fmla="*/ 103632 h 273843"/>
                <a:gd name="connsiteX17" fmla="*/ 1374743 w 2143791"/>
                <a:gd name="connsiteY17" fmla="*/ 92869 h 273843"/>
                <a:gd name="connsiteX18" fmla="*/ 1325309 w 2143791"/>
                <a:gd name="connsiteY18" fmla="*/ 88392 h 273843"/>
                <a:gd name="connsiteX19" fmla="*/ 1275302 w 2143791"/>
                <a:gd name="connsiteY19" fmla="*/ 84868 h 273843"/>
                <a:gd name="connsiteX20" fmla="*/ 1224820 w 2143791"/>
                <a:gd name="connsiteY20" fmla="*/ 82106 h 273843"/>
                <a:gd name="connsiteX21" fmla="*/ 1174052 w 2143791"/>
                <a:gd name="connsiteY21" fmla="*/ 79915 h 273843"/>
                <a:gd name="connsiteX22" fmla="*/ 1071848 w 2143791"/>
                <a:gd name="connsiteY22" fmla="*/ 78010 h 273843"/>
                <a:gd name="connsiteX23" fmla="*/ 969074 w 2143791"/>
                <a:gd name="connsiteY23" fmla="*/ 79915 h 273843"/>
                <a:gd name="connsiteX24" fmla="*/ 918305 w 2143791"/>
                <a:gd name="connsiteY24" fmla="*/ 82106 h 273843"/>
                <a:gd name="connsiteX25" fmla="*/ 868204 w 2143791"/>
                <a:gd name="connsiteY25" fmla="*/ 84868 h 273843"/>
                <a:gd name="connsiteX26" fmla="*/ 818388 w 2143791"/>
                <a:gd name="connsiteY26" fmla="*/ 88392 h 273843"/>
                <a:gd name="connsiteX27" fmla="*/ 768953 w 2143791"/>
                <a:gd name="connsiteY27" fmla="*/ 92773 h 273843"/>
                <a:gd name="connsiteX28" fmla="*/ 672084 w 2143791"/>
                <a:gd name="connsiteY28" fmla="*/ 103632 h 273843"/>
                <a:gd name="connsiteX29" fmla="*/ 624840 w 2143791"/>
                <a:gd name="connsiteY29" fmla="*/ 109633 h 273843"/>
                <a:gd name="connsiteX30" fmla="*/ 578739 w 2143791"/>
                <a:gd name="connsiteY30" fmla="*/ 116967 h 273843"/>
                <a:gd name="connsiteX31" fmla="*/ 533495 w 2143791"/>
                <a:gd name="connsiteY31" fmla="*/ 124111 h 273843"/>
                <a:gd name="connsiteX32" fmla="*/ 489585 w 2143791"/>
                <a:gd name="connsiteY32" fmla="*/ 132493 h 273843"/>
                <a:gd name="connsiteX33" fmla="*/ 446818 w 2143791"/>
                <a:gd name="connsiteY33" fmla="*/ 140494 h 273843"/>
                <a:gd name="connsiteX34" fmla="*/ 405575 w 2143791"/>
                <a:gd name="connsiteY34" fmla="*/ 149638 h 273843"/>
                <a:gd name="connsiteX35" fmla="*/ 365665 w 2143791"/>
                <a:gd name="connsiteY35" fmla="*/ 158306 h 273843"/>
                <a:gd name="connsiteX36" fmla="*/ 327470 w 2143791"/>
                <a:gd name="connsiteY36" fmla="*/ 167831 h 273843"/>
                <a:gd name="connsiteX37" fmla="*/ 290798 w 2143791"/>
                <a:gd name="connsiteY37" fmla="*/ 176975 h 273843"/>
                <a:gd name="connsiteX38" fmla="*/ 256032 w 2143791"/>
                <a:gd name="connsiteY38" fmla="*/ 186595 h 273843"/>
                <a:gd name="connsiteX39" fmla="*/ 222885 w 2143791"/>
                <a:gd name="connsiteY39" fmla="*/ 195739 h 273843"/>
                <a:gd name="connsiteX40" fmla="*/ 191834 w 2143791"/>
                <a:gd name="connsiteY40" fmla="*/ 205169 h 273843"/>
                <a:gd name="connsiteX41" fmla="*/ 135827 w 2143791"/>
                <a:gd name="connsiteY41" fmla="*/ 223076 h 273843"/>
                <a:gd name="connsiteX42" fmla="*/ 88583 w 2143791"/>
                <a:gd name="connsiteY42" fmla="*/ 239268 h 273843"/>
                <a:gd name="connsiteX43" fmla="*/ 22955 w 2143791"/>
                <a:gd name="connsiteY43" fmla="*/ 264128 h 273843"/>
                <a:gd name="connsiteX44" fmla="*/ 0 w 2143791"/>
                <a:gd name="connsiteY44" fmla="*/ 273844 h 273843"/>
                <a:gd name="connsiteX45" fmla="*/ 20955 w 2143791"/>
                <a:gd name="connsiteY45" fmla="*/ 260223 h 273843"/>
                <a:gd name="connsiteX46" fmla="*/ 82391 w 2143791"/>
                <a:gd name="connsiteY46" fmla="*/ 225171 h 273843"/>
                <a:gd name="connsiteX47" fmla="*/ 181547 w 2143791"/>
                <a:gd name="connsiteY47" fmla="*/ 177356 h 273843"/>
                <a:gd name="connsiteX48" fmla="*/ 211741 w 2143791"/>
                <a:gd name="connsiteY48" fmla="*/ 164211 h 273843"/>
                <a:gd name="connsiteX49" fmla="*/ 244031 w 2143791"/>
                <a:gd name="connsiteY49" fmla="*/ 151162 h 273843"/>
                <a:gd name="connsiteX50" fmla="*/ 278225 w 2143791"/>
                <a:gd name="connsiteY50" fmla="*/ 137732 h 273843"/>
                <a:gd name="connsiteX51" fmla="*/ 314516 w 2143791"/>
                <a:gd name="connsiteY51" fmla="*/ 124873 h 273843"/>
                <a:gd name="connsiteX52" fmla="*/ 352425 w 2143791"/>
                <a:gd name="connsiteY52" fmla="*/ 111728 h 273843"/>
                <a:gd name="connsiteX53" fmla="*/ 392240 w 2143791"/>
                <a:gd name="connsiteY53" fmla="*/ 99441 h 273843"/>
                <a:gd name="connsiteX54" fmla="*/ 433578 w 2143791"/>
                <a:gd name="connsiteY54" fmla="*/ 86868 h 273843"/>
                <a:gd name="connsiteX55" fmla="*/ 476631 w 2143791"/>
                <a:gd name="connsiteY55" fmla="*/ 75248 h 273843"/>
                <a:gd name="connsiteX56" fmla="*/ 520922 w 2143791"/>
                <a:gd name="connsiteY56" fmla="*/ 63818 h 273843"/>
                <a:gd name="connsiteX57" fmla="*/ 566738 w 2143791"/>
                <a:gd name="connsiteY57" fmla="*/ 53816 h 273843"/>
                <a:gd name="connsiteX58" fmla="*/ 613601 w 2143791"/>
                <a:gd name="connsiteY58" fmla="*/ 43815 h 273843"/>
                <a:gd name="connsiteX59" fmla="*/ 661702 w 2143791"/>
                <a:gd name="connsiteY59" fmla="*/ 35338 h 273843"/>
                <a:gd name="connsiteX60" fmla="*/ 710756 w 2143791"/>
                <a:gd name="connsiteY60" fmla="*/ 27051 h 273843"/>
                <a:gd name="connsiteX61" fmla="*/ 760762 w 2143791"/>
                <a:gd name="connsiteY61" fmla="*/ 20384 h 273843"/>
                <a:gd name="connsiteX62" fmla="*/ 862965 w 2143791"/>
                <a:gd name="connsiteY62" fmla="*/ 9430 h 273843"/>
                <a:gd name="connsiteX63" fmla="*/ 915162 w 2143791"/>
                <a:gd name="connsiteY63" fmla="*/ 5525 h 273843"/>
                <a:gd name="connsiteX64" fmla="*/ 967359 w 2143791"/>
                <a:gd name="connsiteY64" fmla="*/ 2572 h 273843"/>
                <a:gd name="connsiteX65" fmla="*/ 1071848 w 2143791"/>
                <a:gd name="connsiteY65" fmla="*/ 0 h 273843"/>
                <a:gd name="connsiteX66" fmla="*/ 1176909 w 2143791"/>
                <a:gd name="connsiteY66" fmla="*/ 2667 h 273843"/>
                <a:gd name="connsiteX67" fmla="*/ 1229106 w 2143791"/>
                <a:gd name="connsiteY67" fmla="*/ 5620 h 273843"/>
                <a:gd name="connsiteX68" fmla="*/ 1280922 w 2143791"/>
                <a:gd name="connsiteY68" fmla="*/ 9525 h 273843"/>
                <a:gd name="connsiteX69" fmla="*/ 1382935 w 2143791"/>
                <a:gd name="connsiteY69" fmla="*/ 20479 h 273843"/>
                <a:gd name="connsiteX70" fmla="*/ 1432941 w 2143791"/>
                <a:gd name="connsiteY70" fmla="*/ 27051 h 273843"/>
                <a:gd name="connsiteX71" fmla="*/ 1481995 w 2143791"/>
                <a:gd name="connsiteY71" fmla="*/ 35338 h 273843"/>
                <a:gd name="connsiteX72" fmla="*/ 1530096 w 2143791"/>
                <a:gd name="connsiteY72" fmla="*/ 43720 h 273843"/>
                <a:gd name="connsiteX73" fmla="*/ 1576959 w 2143791"/>
                <a:gd name="connsiteY73" fmla="*/ 53721 h 273843"/>
                <a:gd name="connsiteX74" fmla="*/ 1622774 w 2143791"/>
                <a:gd name="connsiteY74" fmla="*/ 63722 h 273843"/>
                <a:gd name="connsiteX75" fmla="*/ 1667066 w 2143791"/>
                <a:gd name="connsiteY75" fmla="*/ 75152 h 273843"/>
                <a:gd name="connsiteX76" fmla="*/ 1710118 w 2143791"/>
                <a:gd name="connsiteY76" fmla="*/ 86487 h 273843"/>
                <a:gd name="connsiteX77" fmla="*/ 1751457 w 2143791"/>
                <a:gd name="connsiteY77" fmla="*/ 99060 h 273843"/>
                <a:gd name="connsiteX78" fmla="*/ 1791272 w 2143791"/>
                <a:gd name="connsiteY78" fmla="*/ 111347 h 273843"/>
                <a:gd name="connsiteX79" fmla="*/ 1829181 w 2143791"/>
                <a:gd name="connsiteY79" fmla="*/ 124492 h 273843"/>
                <a:gd name="connsiteX80" fmla="*/ 1865471 w 2143791"/>
                <a:gd name="connsiteY80" fmla="*/ 137351 h 273843"/>
                <a:gd name="connsiteX81" fmla="*/ 1899666 w 2143791"/>
                <a:gd name="connsiteY81" fmla="*/ 150781 h 273843"/>
                <a:gd name="connsiteX82" fmla="*/ 1931956 w 2143791"/>
                <a:gd name="connsiteY82" fmla="*/ 163830 h 273843"/>
                <a:gd name="connsiteX83" fmla="*/ 1962150 w 2143791"/>
                <a:gd name="connsiteY83" fmla="*/ 176975 h 273843"/>
                <a:gd name="connsiteX84" fmla="*/ 2016252 w 2143791"/>
                <a:gd name="connsiteY84" fmla="*/ 201930 h 273843"/>
                <a:gd name="connsiteX85" fmla="*/ 2061305 w 2143791"/>
                <a:gd name="connsiteY85" fmla="*/ 224790 h 273843"/>
                <a:gd name="connsiteX86" fmla="*/ 2122742 w 2143791"/>
                <a:gd name="connsiteY86" fmla="*/ 259842 h 273843"/>
                <a:gd name="connsiteX87" fmla="*/ 2143792 w 2143791"/>
                <a:gd name="connsiteY87" fmla="*/ 273844 h 27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143791" h="273843">
                  <a:moveTo>
                    <a:pt x="2143792" y="273844"/>
                  </a:moveTo>
                  <a:cubicBezTo>
                    <a:pt x="2143792" y="273844"/>
                    <a:pt x="2135791" y="270320"/>
                    <a:pt x="2120837" y="264224"/>
                  </a:cubicBezTo>
                  <a:cubicBezTo>
                    <a:pt x="2105787" y="258032"/>
                    <a:pt x="2083594" y="249650"/>
                    <a:pt x="2055209" y="239268"/>
                  </a:cubicBezTo>
                  <a:cubicBezTo>
                    <a:pt x="2040922" y="234315"/>
                    <a:pt x="2025301" y="228410"/>
                    <a:pt x="2007965" y="223076"/>
                  </a:cubicBezTo>
                  <a:cubicBezTo>
                    <a:pt x="1990630" y="217551"/>
                    <a:pt x="1972151" y="210979"/>
                    <a:pt x="1951958" y="205169"/>
                  </a:cubicBezTo>
                  <a:cubicBezTo>
                    <a:pt x="1941957" y="202120"/>
                    <a:pt x="1931575" y="198977"/>
                    <a:pt x="1920907" y="195739"/>
                  </a:cubicBezTo>
                  <a:cubicBezTo>
                    <a:pt x="1910239" y="192595"/>
                    <a:pt x="1899095" y="189738"/>
                    <a:pt x="1887760" y="186595"/>
                  </a:cubicBezTo>
                  <a:cubicBezTo>
                    <a:pt x="1876425" y="183452"/>
                    <a:pt x="1864900" y="180213"/>
                    <a:pt x="1852993" y="176975"/>
                  </a:cubicBezTo>
                  <a:cubicBezTo>
                    <a:pt x="1840992" y="174022"/>
                    <a:pt x="1828800" y="170974"/>
                    <a:pt x="1816322" y="167831"/>
                  </a:cubicBezTo>
                  <a:cubicBezTo>
                    <a:pt x="1803845" y="164687"/>
                    <a:pt x="1791176" y="161544"/>
                    <a:pt x="1778127" y="158306"/>
                  </a:cubicBezTo>
                  <a:cubicBezTo>
                    <a:pt x="1765078" y="155448"/>
                    <a:pt x="1751743" y="152591"/>
                    <a:pt x="1738217" y="149638"/>
                  </a:cubicBezTo>
                  <a:cubicBezTo>
                    <a:pt x="1724692" y="146685"/>
                    <a:pt x="1710976" y="143637"/>
                    <a:pt x="1696974" y="140494"/>
                  </a:cubicBezTo>
                  <a:cubicBezTo>
                    <a:pt x="1682972" y="137827"/>
                    <a:pt x="1668685" y="135160"/>
                    <a:pt x="1654207" y="132493"/>
                  </a:cubicBezTo>
                  <a:cubicBezTo>
                    <a:pt x="1639729" y="129731"/>
                    <a:pt x="1625156" y="126968"/>
                    <a:pt x="1610297" y="124111"/>
                  </a:cubicBezTo>
                  <a:cubicBezTo>
                    <a:pt x="1595438" y="121730"/>
                    <a:pt x="1580293" y="119348"/>
                    <a:pt x="1565053" y="116967"/>
                  </a:cubicBezTo>
                  <a:cubicBezTo>
                    <a:pt x="1549813" y="114586"/>
                    <a:pt x="1534478" y="112109"/>
                    <a:pt x="1518857" y="109633"/>
                  </a:cubicBezTo>
                  <a:cubicBezTo>
                    <a:pt x="1503331" y="107347"/>
                    <a:pt x="1487519" y="105632"/>
                    <a:pt x="1471613" y="103632"/>
                  </a:cubicBezTo>
                  <a:cubicBezTo>
                    <a:pt x="1439799" y="99727"/>
                    <a:pt x="1407605" y="95250"/>
                    <a:pt x="1374743" y="92869"/>
                  </a:cubicBezTo>
                  <a:cubicBezTo>
                    <a:pt x="1358360" y="91440"/>
                    <a:pt x="1341882" y="89916"/>
                    <a:pt x="1325309" y="88392"/>
                  </a:cubicBezTo>
                  <a:cubicBezTo>
                    <a:pt x="1308735" y="86582"/>
                    <a:pt x="1292066" y="85725"/>
                    <a:pt x="1275302" y="84868"/>
                  </a:cubicBezTo>
                  <a:cubicBezTo>
                    <a:pt x="1258538" y="83915"/>
                    <a:pt x="1241679" y="83058"/>
                    <a:pt x="1224820" y="82106"/>
                  </a:cubicBezTo>
                  <a:cubicBezTo>
                    <a:pt x="1207961" y="81248"/>
                    <a:pt x="1191006" y="79915"/>
                    <a:pt x="1174052" y="79915"/>
                  </a:cubicBezTo>
                  <a:cubicBezTo>
                    <a:pt x="1140047" y="79248"/>
                    <a:pt x="1105948" y="78677"/>
                    <a:pt x="1071848" y="78010"/>
                  </a:cubicBezTo>
                  <a:cubicBezTo>
                    <a:pt x="1037558" y="78677"/>
                    <a:pt x="1003268" y="79248"/>
                    <a:pt x="969074" y="79915"/>
                  </a:cubicBezTo>
                  <a:cubicBezTo>
                    <a:pt x="951643" y="79915"/>
                    <a:pt x="935069" y="81344"/>
                    <a:pt x="918305" y="82106"/>
                  </a:cubicBezTo>
                  <a:cubicBezTo>
                    <a:pt x="901541" y="83058"/>
                    <a:pt x="884873" y="83915"/>
                    <a:pt x="868204" y="84868"/>
                  </a:cubicBezTo>
                  <a:cubicBezTo>
                    <a:pt x="851535" y="85725"/>
                    <a:pt x="834962" y="86582"/>
                    <a:pt x="818388" y="88392"/>
                  </a:cubicBezTo>
                  <a:cubicBezTo>
                    <a:pt x="801815" y="89916"/>
                    <a:pt x="785336" y="91345"/>
                    <a:pt x="768953" y="92773"/>
                  </a:cubicBezTo>
                  <a:cubicBezTo>
                    <a:pt x="736092" y="95155"/>
                    <a:pt x="703898" y="99727"/>
                    <a:pt x="672084" y="103632"/>
                  </a:cubicBezTo>
                  <a:cubicBezTo>
                    <a:pt x="656177" y="105632"/>
                    <a:pt x="640366" y="107347"/>
                    <a:pt x="624840" y="109633"/>
                  </a:cubicBezTo>
                  <a:cubicBezTo>
                    <a:pt x="609314" y="112109"/>
                    <a:pt x="593884" y="114586"/>
                    <a:pt x="578739" y="116967"/>
                  </a:cubicBezTo>
                  <a:cubicBezTo>
                    <a:pt x="563499" y="119348"/>
                    <a:pt x="548450" y="121730"/>
                    <a:pt x="533495" y="124111"/>
                  </a:cubicBezTo>
                  <a:cubicBezTo>
                    <a:pt x="518732" y="126968"/>
                    <a:pt x="504063" y="129731"/>
                    <a:pt x="489585" y="132493"/>
                  </a:cubicBezTo>
                  <a:cubicBezTo>
                    <a:pt x="475107" y="135160"/>
                    <a:pt x="460820" y="137922"/>
                    <a:pt x="446818" y="140494"/>
                  </a:cubicBezTo>
                  <a:cubicBezTo>
                    <a:pt x="432911" y="143542"/>
                    <a:pt x="419100" y="146590"/>
                    <a:pt x="405575" y="149638"/>
                  </a:cubicBezTo>
                  <a:cubicBezTo>
                    <a:pt x="392049" y="152591"/>
                    <a:pt x="378714" y="155448"/>
                    <a:pt x="365665" y="158306"/>
                  </a:cubicBezTo>
                  <a:cubicBezTo>
                    <a:pt x="352711" y="161544"/>
                    <a:pt x="339947" y="164783"/>
                    <a:pt x="327470" y="167831"/>
                  </a:cubicBezTo>
                  <a:cubicBezTo>
                    <a:pt x="314992" y="170974"/>
                    <a:pt x="302705" y="173927"/>
                    <a:pt x="290798" y="176975"/>
                  </a:cubicBezTo>
                  <a:cubicBezTo>
                    <a:pt x="278892" y="180308"/>
                    <a:pt x="267367" y="183452"/>
                    <a:pt x="256032" y="186595"/>
                  </a:cubicBezTo>
                  <a:cubicBezTo>
                    <a:pt x="244697" y="189738"/>
                    <a:pt x="233553" y="192500"/>
                    <a:pt x="222885" y="195739"/>
                  </a:cubicBezTo>
                  <a:cubicBezTo>
                    <a:pt x="212217" y="198977"/>
                    <a:pt x="201930" y="202120"/>
                    <a:pt x="191834" y="205169"/>
                  </a:cubicBezTo>
                  <a:cubicBezTo>
                    <a:pt x="171641" y="210979"/>
                    <a:pt x="153162" y="217551"/>
                    <a:pt x="135827" y="223076"/>
                  </a:cubicBezTo>
                  <a:cubicBezTo>
                    <a:pt x="118396" y="228505"/>
                    <a:pt x="102775" y="234315"/>
                    <a:pt x="88583" y="239268"/>
                  </a:cubicBezTo>
                  <a:cubicBezTo>
                    <a:pt x="60198" y="249555"/>
                    <a:pt x="37910" y="257937"/>
                    <a:pt x="22955" y="264128"/>
                  </a:cubicBezTo>
                  <a:cubicBezTo>
                    <a:pt x="8001" y="270415"/>
                    <a:pt x="0" y="273844"/>
                    <a:pt x="0" y="273844"/>
                  </a:cubicBezTo>
                  <a:cubicBezTo>
                    <a:pt x="0" y="273844"/>
                    <a:pt x="7049" y="268796"/>
                    <a:pt x="20955" y="260223"/>
                  </a:cubicBezTo>
                  <a:cubicBezTo>
                    <a:pt x="34862" y="251746"/>
                    <a:pt x="55340" y="239173"/>
                    <a:pt x="82391" y="225171"/>
                  </a:cubicBezTo>
                  <a:cubicBezTo>
                    <a:pt x="109347" y="210979"/>
                    <a:pt x="142399" y="194024"/>
                    <a:pt x="181547" y="177356"/>
                  </a:cubicBezTo>
                  <a:cubicBezTo>
                    <a:pt x="191262" y="173069"/>
                    <a:pt x="201359" y="168688"/>
                    <a:pt x="211741" y="164211"/>
                  </a:cubicBezTo>
                  <a:cubicBezTo>
                    <a:pt x="222123" y="159734"/>
                    <a:pt x="232981" y="155639"/>
                    <a:pt x="244031" y="151162"/>
                  </a:cubicBezTo>
                  <a:cubicBezTo>
                    <a:pt x="255175" y="146780"/>
                    <a:pt x="266605" y="142304"/>
                    <a:pt x="278225" y="137732"/>
                  </a:cubicBezTo>
                  <a:cubicBezTo>
                    <a:pt x="290036" y="133541"/>
                    <a:pt x="302133" y="129254"/>
                    <a:pt x="314516" y="124873"/>
                  </a:cubicBezTo>
                  <a:cubicBezTo>
                    <a:pt x="326898" y="120587"/>
                    <a:pt x="339566" y="116205"/>
                    <a:pt x="352425" y="111728"/>
                  </a:cubicBezTo>
                  <a:cubicBezTo>
                    <a:pt x="365474" y="107728"/>
                    <a:pt x="378714" y="103537"/>
                    <a:pt x="392240" y="99441"/>
                  </a:cubicBezTo>
                  <a:cubicBezTo>
                    <a:pt x="405765" y="95345"/>
                    <a:pt x="419576" y="91154"/>
                    <a:pt x="433578" y="86868"/>
                  </a:cubicBezTo>
                  <a:cubicBezTo>
                    <a:pt x="447675" y="82963"/>
                    <a:pt x="462058" y="79153"/>
                    <a:pt x="476631" y="75248"/>
                  </a:cubicBezTo>
                  <a:cubicBezTo>
                    <a:pt x="491204" y="71438"/>
                    <a:pt x="505968" y="67628"/>
                    <a:pt x="520922" y="63818"/>
                  </a:cubicBezTo>
                  <a:cubicBezTo>
                    <a:pt x="535972" y="60484"/>
                    <a:pt x="551307" y="57150"/>
                    <a:pt x="566738" y="53816"/>
                  </a:cubicBezTo>
                  <a:cubicBezTo>
                    <a:pt x="582168" y="50483"/>
                    <a:pt x="597884" y="47149"/>
                    <a:pt x="613601" y="43815"/>
                  </a:cubicBezTo>
                  <a:cubicBezTo>
                    <a:pt x="629412" y="40672"/>
                    <a:pt x="645509" y="38195"/>
                    <a:pt x="661702" y="35338"/>
                  </a:cubicBezTo>
                  <a:cubicBezTo>
                    <a:pt x="677894" y="32576"/>
                    <a:pt x="694277" y="29813"/>
                    <a:pt x="710756" y="27051"/>
                  </a:cubicBezTo>
                  <a:cubicBezTo>
                    <a:pt x="727234" y="24098"/>
                    <a:pt x="743998" y="22669"/>
                    <a:pt x="760762" y="20384"/>
                  </a:cubicBezTo>
                  <a:cubicBezTo>
                    <a:pt x="794385" y="16478"/>
                    <a:pt x="828199" y="11335"/>
                    <a:pt x="862965" y="9430"/>
                  </a:cubicBezTo>
                  <a:cubicBezTo>
                    <a:pt x="880301" y="8096"/>
                    <a:pt x="897731" y="6858"/>
                    <a:pt x="915162" y="5525"/>
                  </a:cubicBezTo>
                  <a:cubicBezTo>
                    <a:pt x="932593" y="4286"/>
                    <a:pt x="950309" y="2667"/>
                    <a:pt x="967359" y="2572"/>
                  </a:cubicBezTo>
                  <a:cubicBezTo>
                    <a:pt x="1002125" y="1715"/>
                    <a:pt x="1036987" y="857"/>
                    <a:pt x="1071848" y="0"/>
                  </a:cubicBezTo>
                  <a:cubicBezTo>
                    <a:pt x="1106900" y="857"/>
                    <a:pt x="1141952" y="1715"/>
                    <a:pt x="1176909" y="2667"/>
                  </a:cubicBezTo>
                  <a:cubicBezTo>
                    <a:pt x="1194340" y="2762"/>
                    <a:pt x="1211771" y="4382"/>
                    <a:pt x="1229106" y="5620"/>
                  </a:cubicBezTo>
                  <a:cubicBezTo>
                    <a:pt x="1246442" y="6953"/>
                    <a:pt x="1263777" y="8192"/>
                    <a:pt x="1280922" y="9525"/>
                  </a:cubicBezTo>
                  <a:cubicBezTo>
                    <a:pt x="1315403" y="11335"/>
                    <a:pt x="1349312" y="16574"/>
                    <a:pt x="1382935" y="20479"/>
                  </a:cubicBezTo>
                  <a:cubicBezTo>
                    <a:pt x="1399699" y="22765"/>
                    <a:pt x="1416463" y="24194"/>
                    <a:pt x="1432941" y="27051"/>
                  </a:cubicBezTo>
                  <a:cubicBezTo>
                    <a:pt x="1449419" y="29813"/>
                    <a:pt x="1465707" y="32576"/>
                    <a:pt x="1481995" y="35338"/>
                  </a:cubicBezTo>
                  <a:cubicBezTo>
                    <a:pt x="1498187" y="38195"/>
                    <a:pt x="1514285" y="40672"/>
                    <a:pt x="1530096" y="43720"/>
                  </a:cubicBezTo>
                  <a:cubicBezTo>
                    <a:pt x="1545908" y="47149"/>
                    <a:pt x="1561529" y="50483"/>
                    <a:pt x="1576959" y="53721"/>
                  </a:cubicBezTo>
                  <a:cubicBezTo>
                    <a:pt x="1592389" y="57150"/>
                    <a:pt x="1607630" y="60484"/>
                    <a:pt x="1622774" y="63722"/>
                  </a:cubicBezTo>
                  <a:cubicBezTo>
                    <a:pt x="1637729" y="67628"/>
                    <a:pt x="1652492" y="71438"/>
                    <a:pt x="1667066" y="75152"/>
                  </a:cubicBezTo>
                  <a:cubicBezTo>
                    <a:pt x="1681639" y="78962"/>
                    <a:pt x="1695926" y="82772"/>
                    <a:pt x="1710118" y="86487"/>
                  </a:cubicBezTo>
                  <a:cubicBezTo>
                    <a:pt x="1724120" y="90773"/>
                    <a:pt x="1737932" y="94869"/>
                    <a:pt x="1751457" y="99060"/>
                  </a:cubicBezTo>
                  <a:cubicBezTo>
                    <a:pt x="1764983" y="103251"/>
                    <a:pt x="1778222" y="107347"/>
                    <a:pt x="1791272" y="111347"/>
                  </a:cubicBezTo>
                  <a:cubicBezTo>
                    <a:pt x="1804130" y="115824"/>
                    <a:pt x="1816799" y="120206"/>
                    <a:pt x="1829181" y="124492"/>
                  </a:cubicBezTo>
                  <a:cubicBezTo>
                    <a:pt x="1841564" y="128873"/>
                    <a:pt x="1853660" y="133160"/>
                    <a:pt x="1865471" y="137351"/>
                  </a:cubicBezTo>
                  <a:cubicBezTo>
                    <a:pt x="1877187" y="141923"/>
                    <a:pt x="1888522" y="146399"/>
                    <a:pt x="1899666" y="150781"/>
                  </a:cubicBezTo>
                  <a:cubicBezTo>
                    <a:pt x="1910715" y="155258"/>
                    <a:pt x="1921574" y="159353"/>
                    <a:pt x="1931956" y="163830"/>
                  </a:cubicBezTo>
                  <a:cubicBezTo>
                    <a:pt x="1942338" y="168307"/>
                    <a:pt x="1952435" y="172783"/>
                    <a:pt x="1962150" y="176975"/>
                  </a:cubicBezTo>
                  <a:cubicBezTo>
                    <a:pt x="1981676" y="185261"/>
                    <a:pt x="1999774" y="193739"/>
                    <a:pt x="2016252" y="201930"/>
                  </a:cubicBezTo>
                  <a:cubicBezTo>
                    <a:pt x="2032826" y="209741"/>
                    <a:pt x="2047780" y="217837"/>
                    <a:pt x="2061305" y="224790"/>
                  </a:cubicBezTo>
                  <a:cubicBezTo>
                    <a:pt x="2088356" y="238887"/>
                    <a:pt x="2108835" y="251460"/>
                    <a:pt x="2122742" y="259842"/>
                  </a:cubicBezTo>
                  <a:cubicBezTo>
                    <a:pt x="2136648" y="268891"/>
                    <a:pt x="2143792" y="273844"/>
                    <a:pt x="2143792" y="273844"/>
                  </a:cubicBezTo>
                  <a:close/>
                </a:path>
              </a:pathLst>
            </a:custGeom>
            <a:grpFill/>
            <a:ln w="9525" cap="flat">
              <a:noFill/>
              <a:prstDash val="solid"/>
              <a:miter/>
            </a:ln>
          </p:spPr>
          <p:txBody>
            <a:bodyPr rtlCol="0" anchor="ctr"/>
            <a:lstStyle/>
            <a:p>
              <a:endParaRPr lang="en-US" sz="1050"/>
            </a:p>
          </p:txBody>
        </p:sp>
      </p:grpSp>
    </p:spTree>
    <p:extLst>
      <p:ext uri="{BB962C8B-B14F-4D97-AF65-F5344CB8AC3E}">
        <p14:creationId xmlns:p14="http://schemas.microsoft.com/office/powerpoint/2010/main" val="197374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5" name="Tekstvak 4"/>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Agenda</a:t>
            </a:r>
          </a:p>
        </p:txBody>
      </p:sp>
      <p:sp>
        <p:nvSpPr>
          <p:cNvPr id="6" name="Titel 5"/>
          <p:cNvSpPr>
            <a:spLocks noGrp="1"/>
          </p:cNvSpPr>
          <p:nvPr>
            <p:ph type="title" hasCustomPrompt="1"/>
          </p:nvPr>
        </p:nvSpPr>
        <p:spPr>
          <a:xfrm>
            <a:off x="523875" y="435769"/>
            <a:ext cx="2502694" cy="516848"/>
          </a:xfrm>
        </p:spPr>
        <p:txBody>
          <a:bodyPr/>
          <a:lstStyle>
            <a:lvl1pPr>
              <a:defRPr sz="4500">
                <a:solidFill>
                  <a:schemeClr val="bg1"/>
                </a:solidFill>
              </a:defRPr>
            </a:lvl1pPr>
          </a:lstStyle>
          <a:p>
            <a:r>
              <a:rPr lang="en-US" noProof="0"/>
              <a:t>Agenda</a:t>
            </a:r>
            <a:endParaRPr lang="en-US"/>
          </a:p>
        </p:txBody>
      </p:sp>
      <p:grpSp>
        <p:nvGrpSpPr>
          <p:cNvPr id="10" name="Graphic 41">
            <a:extLst>
              <a:ext uri="{FF2B5EF4-FFF2-40B4-BE49-F238E27FC236}">
                <a16:creationId xmlns:a16="http://schemas.microsoft.com/office/drawing/2014/main" id="{2338E554-39E4-47D3-BDA0-3F0B3390A0FA}"/>
              </a:ext>
            </a:extLst>
          </p:cNvPr>
          <p:cNvGrpSpPr/>
          <p:nvPr userDrawn="1"/>
        </p:nvGrpSpPr>
        <p:grpSpPr>
          <a:xfrm>
            <a:off x="7631620" y="4629635"/>
            <a:ext cx="1005230" cy="343655"/>
            <a:chOff x="6610866" y="4731155"/>
            <a:chExt cx="2143791" cy="729043"/>
          </a:xfrm>
          <a:solidFill>
            <a:schemeClr val="bg1"/>
          </a:solidFill>
        </p:grpSpPr>
        <p:grpSp>
          <p:nvGrpSpPr>
            <p:cNvPr id="11" name="Graphic 41">
              <a:extLst>
                <a:ext uri="{FF2B5EF4-FFF2-40B4-BE49-F238E27FC236}">
                  <a16:creationId xmlns:a16="http://schemas.microsoft.com/office/drawing/2014/main" id="{014A2825-B691-4E09-955C-849CBF4A135C}"/>
                </a:ext>
              </a:extLst>
            </p:cNvPr>
            <p:cNvGrpSpPr/>
            <p:nvPr/>
          </p:nvGrpSpPr>
          <p:grpSpPr>
            <a:xfrm>
              <a:off x="6748216" y="5056434"/>
              <a:ext cx="1868805" cy="403764"/>
              <a:chOff x="6748216" y="5056434"/>
              <a:chExt cx="1868805" cy="403764"/>
            </a:xfrm>
            <a:grpFill/>
          </p:grpSpPr>
          <p:sp>
            <p:nvSpPr>
              <p:cNvPr id="13" name="Vrije vorm: vorm 12">
                <a:extLst>
                  <a:ext uri="{FF2B5EF4-FFF2-40B4-BE49-F238E27FC236}">
                    <a16:creationId xmlns:a16="http://schemas.microsoft.com/office/drawing/2014/main" id="{AEEEE46B-B8DB-4B31-9FBC-7DE61BAC1F31}"/>
                  </a:ext>
                </a:extLst>
              </p:cNvPr>
              <p:cNvSpPr/>
              <p:nvPr/>
            </p:nvSpPr>
            <p:spPr>
              <a:xfrm>
                <a:off x="6748216" y="5057267"/>
                <a:ext cx="304990" cy="394169"/>
              </a:xfrm>
              <a:custGeom>
                <a:avLst/>
                <a:gdLst>
                  <a:gd name="connsiteX0" fmla="*/ 89344 w 304990"/>
                  <a:gd name="connsiteY0" fmla="*/ 56889 h 394169"/>
                  <a:gd name="connsiteX1" fmla="*/ 169164 w 304990"/>
                  <a:gd name="connsiteY1" fmla="*/ 118230 h 394169"/>
                  <a:gd name="connsiteX2" fmla="*/ 89344 w 304990"/>
                  <a:gd name="connsiteY2" fmla="*/ 182809 h 394169"/>
                  <a:gd name="connsiteX3" fmla="*/ 89344 w 304990"/>
                  <a:gd name="connsiteY3" fmla="*/ 56889 h 394169"/>
                  <a:gd name="connsiteX4" fmla="*/ 10668 w 304990"/>
                  <a:gd name="connsiteY4" fmla="*/ 292156 h 394169"/>
                  <a:gd name="connsiteX5" fmla="*/ 95 w 304990"/>
                  <a:gd name="connsiteY5" fmla="*/ 394169 h 394169"/>
                  <a:gd name="connsiteX6" fmla="*/ 100298 w 304990"/>
                  <a:gd name="connsiteY6" fmla="*/ 394169 h 394169"/>
                  <a:gd name="connsiteX7" fmla="*/ 89249 w 304990"/>
                  <a:gd name="connsiteY7" fmla="*/ 309016 h 394169"/>
                  <a:gd name="connsiteX8" fmla="*/ 89249 w 304990"/>
                  <a:gd name="connsiteY8" fmla="*/ 237959 h 394169"/>
                  <a:gd name="connsiteX9" fmla="*/ 233458 w 304990"/>
                  <a:gd name="connsiteY9" fmla="*/ 394169 h 394169"/>
                  <a:gd name="connsiteX10" fmla="*/ 304991 w 304990"/>
                  <a:gd name="connsiteY10" fmla="*/ 394169 h 394169"/>
                  <a:gd name="connsiteX11" fmla="*/ 168878 w 304990"/>
                  <a:gd name="connsiteY11" fmla="*/ 217576 h 394169"/>
                  <a:gd name="connsiteX12" fmla="*/ 255080 w 304990"/>
                  <a:gd name="connsiteY12" fmla="*/ 112515 h 394169"/>
                  <a:gd name="connsiteX13" fmla="*/ 100013 w 304990"/>
                  <a:gd name="connsiteY13" fmla="*/ 25 h 394169"/>
                  <a:gd name="connsiteX14" fmla="*/ 0 w 304990"/>
                  <a:gd name="connsiteY14" fmla="*/ 1072 h 394169"/>
                  <a:gd name="connsiteX15" fmla="*/ 10573 w 304990"/>
                  <a:gd name="connsiteY15" fmla="*/ 82511 h 394169"/>
                  <a:gd name="connsiteX16" fmla="*/ 10573 w 304990"/>
                  <a:gd name="connsiteY16" fmla="*/ 292156 h 39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4990" h="394169">
                    <a:moveTo>
                      <a:pt x="89344" y="56889"/>
                    </a:moveTo>
                    <a:cubicBezTo>
                      <a:pt x="142113" y="60699"/>
                      <a:pt x="169164" y="88798"/>
                      <a:pt x="169164" y="118230"/>
                    </a:cubicBezTo>
                    <a:cubicBezTo>
                      <a:pt x="169164" y="178714"/>
                      <a:pt x="107728" y="181095"/>
                      <a:pt x="89344" y="182809"/>
                    </a:cubicBezTo>
                    <a:lnTo>
                      <a:pt x="89344" y="56889"/>
                    </a:lnTo>
                    <a:close/>
                    <a:moveTo>
                      <a:pt x="10668" y="292156"/>
                    </a:moveTo>
                    <a:cubicBezTo>
                      <a:pt x="10668" y="326351"/>
                      <a:pt x="8572" y="355212"/>
                      <a:pt x="95" y="394169"/>
                    </a:cubicBezTo>
                    <a:lnTo>
                      <a:pt x="100298" y="394169"/>
                    </a:lnTo>
                    <a:cubicBezTo>
                      <a:pt x="89726" y="352164"/>
                      <a:pt x="89249" y="339496"/>
                      <a:pt x="89249" y="309016"/>
                    </a:cubicBezTo>
                    <a:lnTo>
                      <a:pt x="89249" y="237959"/>
                    </a:lnTo>
                    <a:cubicBezTo>
                      <a:pt x="170688" y="346258"/>
                      <a:pt x="180404" y="348449"/>
                      <a:pt x="233458" y="394169"/>
                    </a:cubicBezTo>
                    <a:lnTo>
                      <a:pt x="304991" y="394169"/>
                    </a:lnTo>
                    <a:cubicBezTo>
                      <a:pt x="258223" y="337972"/>
                      <a:pt x="204026" y="279583"/>
                      <a:pt x="168878" y="217576"/>
                    </a:cubicBezTo>
                    <a:cubicBezTo>
                      <a:pt x="186785" y="208146"/>
                      <a:pt x="255080" y="197573"/>
                      <a:pt x="255080" y="112515"/>
                    </a:cubicBezTo>
                    <a:cubicBezTo>
                      <a:pt x="255080" y="59461"/>
                      <a:pt x="222790" y="-1404"/>
                      <a:pt x="100013" y="25"/>
                    </a:cubicBezTo>
                    <a:lnTo>
                      <a:pt x="0" y="1072"/>
                    </a:lnTo>
                    <a:cubicBezTo>
                      <a:pt x="4191" y="14693"/>
                      <a:pt x="10573" y="36315"/>
                      <a:pt x="10573" y="82511"/>
                    </a:cubicBezTo>
                    <a:lnTo>
                      <a:pt x="10573" y="292156"/>
                    </a:lnTo>
                    <a:close/>
                  </a:path>
                </a:pathLst>
              </a:custGeom>
              <a:grpFill/>
              <a:ln w="9525" cap="flat">
                <a:noFill/>
                <a:prstDash val="solid"/>
                <a:miter/>
              </a:ln>
            </p:spPr>
            <p:txBody>
              <a:bodyPr rtlCol="0" anchor="ctr"/>
              <a:lstStyle/>
              <a:p>
                <a:endParaRPr lang="en-US" sz="1050"/>
              </a:p>
            </p:txBody>
          </p:sp>
          <p:sp>
            <p:nvSpPr>
              <p:cNvPr id="14" name="Vrije vorm: vorm 13">
                <a:extLst>
                  <a:ext uri="{FF2B5EF4-FFF2-40B4-BE49-F238E27FC236}">
                    <a16:creationId xmlns:a16="http://schemas.microsoft.com/office/drawing/2014/main" id="{4D336C9A-8953-4F4D-955D-98C4144506FA}"/>
                  </a:ext>
                </a:extLst>
              </p:cNvPr>
              <p:cNvSpPr/>
              <p:nvPr/>
            </p:nvSpPr>
            <p:spPr>
              <a:xfrm>
                <a:off x="7048444" y="5170734"/>
                <a:ext cx="218422" cy="289464"/>
              </a:xfrm>
              <a:custGeom>
                <a:avLst/>
                <a:gdLst>
                  <a:gd name="connsiteX0" fmla="*/ 64484 w 218422"/>
                  <a:gd name="connsiteY0" fmla="*/ 114395 h 289464"/>
                  <a:gd name="connsiteX1" fmla="*/ 113538 w 218422"/>
                  <a:gd name="connsiteY1" fmla="*/ 47625 h 289464"/>
                  <a:gd name="connsiteX2" fmla="*/ 156591 w 218422"/>
                  <a:gd name="connsiteY2" fmla="*/ 114395 h 289464"/>
                  <a:gd name="connsiteX3" fmla="*/ 64484 w 218422"/>
                  <a:gd name="connsiteY3" fmla="*/ 114395 h 289464"/>
                  <a:gd name="connsiteX4" fmla="*/ 214027 w 218422"/>
                  <a:gd name="connsiteY4" fmla="*/ 211074 h 289464"/>
                  <a:gd name="connsiteX5" fmla="*/ 150781 w 218422"/>
                  <a:gd name="connsiteY5" fmla="*/ 229743 h 289464"/>
                  <a:gd name="connsiteX6" fmla="*/ 71914 w 218422"/>
                  <a:gd name="connsiteY6" fmla="*/ 158305 h 289464"/>
                  <a:gd name="connsiteX7" fmla="*/ 216980 w 218422"/>
                  <a:gd name="connsiteY7" fmla="*/ 158020 h 289464"/>
                  <a:gd name="connsiteX8" fmla="*/ 216694 w 218422"/>
                  <a:gd name="connsiteY8" fmla="*/ 85725 h 289464"/>
                  <a:gd name="connsiteX9" fmla="*/ 116205 w 218422"/>
                  <a:gd name="connsiteY9" fmla="*/ 0 h 289464"/>
                  <a:gd name="connsiteX10" fmla="*/ 0 w 218422"/>
                  <a:gd name="connsiteY10" fmla="*/ 147733 h 289464"/>
                  <a:gd name="connsiteX11" fmla="*/ 133064 w 218422"/>
                  <a:gd name="connsiteY11" fmla="*/ 289465 h 289464"/>
                  <a:gd name="connsiteX12" fmla="*/ 191167 w 218422"/>
                  <a:gd name="connsiteY12" fmla="*/ 274511 h 289464"/>
                  <a:gd name="connsiteX13" fmla="*/ 214027 w 218422"/>
                  <a:gd name="connsiteY13" fmla="*/ 211074 h 28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8422" h="289464">
                    <a:moveTo>
                      <a:pt x="64484" y="114395"/>
                    </a:moveTo>
                    <a:cubicBezTo>
                      <a:pt x="64484" y="85630"/>
                      <a:pt x="85820" y="47625"/>
                      <a:pt x="113538" y="47625"/>
                    </a:cubicBezTo>
                    <a:cubicBezTo>
                      <a:pt x="136589" y="47625"/>
                      <a:pt x="156591" y="72866"/>
                      <a:pt x="156591" y="114395"/>
                    </a:cubicBezTo>
                    <a:lnTo>
                      <a:pt x="64484" y="114395"/>
                    </a:lnTo>
                    <a:close/>
                    <a:moveTo>
                      <a:pt x="214027" y="211074"/>
                    </a:moveTo>
                    <a:cubicBezTo>
                      <a:pt x="183071" y="225266"/>
                      <a:pt x="172784" y="229743"/>
                      <a:pt x="150781" y="229743"/>
                    </a:cubicBezTo>
                    <a:cubicBezTo>
                      <a:pt x="89821" y="229743"/>
                      <a:pt x="73438" y="177260"/>
                      <a:pt x="71914" y="158305"/>
                    </a:cubicBezTo>
                    <a:lnTo>
                      <a:pt x="216980" y="158020"/>
                    </a:lnTo>
                    <a:cubicBezTo>
                      <a:pt x="216980" y="128111"/>
                      <a:pt x="220409" y="107823"/>
                      <a:pt x="216694" y="85725"/>
                    </a:cubicBezTo>
                    <a:cubicBezTo>
                      <a:pt x="208788" y="33147"/>
                      <a:pt x="161449" y="0"/>
                      <a:pt x="116205" y="0"/>
                    </a:cubicBezTo>
                    <a:cubicBezTo>
                      <a:pt x="51530" y="0"/>
                      <a:pt x="0" y="56293"/>
                      <a:pt x="0" y="147733"/>
                    </a:cubicBezTo>
                    <a:cubicBezTo>
                      <a:pt x="0" y="209741"/>
                      <a:pt x="45339" y="289465"/>
                      <a:pt x="133064" y="289465"/>
                    </a:cubicBezTo>
                    <a:cubicBezTo>
                      <a:pt x="158782" y="289465"/>
                      <a:pt x="174308" y="280321"/>
                      <a:pt x="191167" y="274511"/>
                    </a:cubicBezTo>
                    <a:lnTo>
                      <a:pt x="214027" y="211074"/>
                    </a:lnTo>
                    <a:close/>
                  </a:path>
                </a:pathLst>
              </a:custGeom>
              <a:grpFill/>
              <a:ln w="9525" cap="flat">
                <a:noFill/>
                <a:prstDash val="solid"/>
                <a:miter/>
              </a:ln>
            </p:spPr>
            <p:txBody>
              <a:bodyPr rtlCol="0" anchor="ctr"/>
              <a:lstStyle/>
              <a:p>
                <a:endParaRPr lang="en-US" sz="1050"/>
              </a:p>
            </p:txBody>
          </p:sp>
          <p:sp>
            <p:nvSpPr>
              <p:cNvPr id="15" name="Vrije vorm: vorm 14">
                <a:extLst>
                  <a:ext uri="{FF2B5EF4-FFF2-40B4-BE49-F238E27FC236}">
                    <a16:creationId xmlns:a16="http://schemas.microsoft.com/office/drawing/2014/main" id="{F141AB38-9CB5-4C2A-AB6A-B6BBC75E1A7D}"/>
                  </a:ext>
                </a:extLst>
              </p:cNvPr>
              <p:cNvSpPr/>
              <p:nvPr/>
            </p:nvSpPr>
            <p:spPr>
              <a:xfrm>
                <a:off x="7288665" y="5056434"/>
                <a:ext cx="188023" cy="395001"/>
              </a:xfrm>
              <a:custGeom>
                <a:avLst/>
                <a:gdLst>
                  <a:gd name="connsiteX0" fmla="*/ 158782 w 188023"/>
                  <a:gd name="connsiteY0" fmla="*/ 169831 h 395001"/>
                  <a:gd name="connsiteX1" fmla="*/ 101822 w 188023"/>
                  <a:gd name="connsiteY1" fmla="*/ 169831 h 395001"/>
                  <a:gd name="connsiteX2" fmla="*/ 101822 w 188023"/>
                  <a:gd name="connsiteY2" fmla="*/ 328232 h 395001"/>
                  <a:gd name="connsiteX3" fmla="*/ 116491 w 188023"/>
                  <a:gd name="connsiteY3" fmla="*/ 393954 h 395001"/>
                  <a:gd name="connsiteX4" fmla="*/ 23717 w 188023"/>
                  <a:gd name="connsiteY4" fmla="*/ 395002 h 395001"/>
                  <a:gd name="connsiteX5" fmla="*/ 38957 w 188023"/>
                  <a:gd name="connsiteY5" fmla="*/ 324041 h 395001"/>
                  <a:gd name="connsiteX6" fmla="*/ 38957 w 188023"/>
                  <a:gd name="connsiteY6" fmla="*/ 169831 h 395001"/>
                  <a:gd name="connsiteX7" fmla="*/ 0 w 188023"/>
                  <a:gd name="connsiteY7" fmla="*/ 168783 h 395001"/>
                  <a:gd name="connsiteX8" fmla="*/ 24479 w 188023"/>
                  <a:gd name="connsiteY8" fmla="*/ 121253 h 395001"/>
                  <a:gd name="connsiteX9" fmla="*/ 38957 w 188023"/>
                  <a:gd name="connsiteY9" fmla="*/ 121158 h 395001"/>
                  <a:gd name="connsiteX10" fmla="*/ 38957 w 188023"/>
                  <a:gd name="connsiteY10" fmla="*/ 104870 h 395001"/>
                  <a:gd name="connsiteX11" fmla="*/ 129349 w 188023"/>
                  <a:gd name="connsiteY11" fmla="*/ 0 h 395001"/>
                  <a:gd name="connsiteX12" fmla="*/ 188023 w 188023"/>
                  <a:gd name="connsiteY12" fmla="*/ 9716 h 395001"/>
                  <a:gd name="connsiteX13" fmla="*/ 177546 w 188023"/>
                  <a:gd name="connsiteY13" fmla="*/ 62770 h 395001"/>
                  <a:gd name="connsiteX14" fmla="*/ 137636 w 188023"/>
                  <a:gd name="connsiteY14" fmla="*/ 47625 h 395001"/>
                  <a:gd name="connsiteX15" fmla="*/ 101917 w 188023"/>
                  <a:gd name="connsiteY15" fmla="*/ 90106 h 395001"/>
                  <a:gd name="connsiteX16" fmla="*/ 101917 w 188023"/>
                  <a:gd name="connsiteY16" fmla="*/ 118967 h 395001"/>
                  <a:gd name="connsiteX17" fmla="*/ 158877 w 188023"/>
                  <a:gd name="connsiteY17" fmla="*/ 118967 h 395001"/>
                  <a:gd name="connsiteX18" fmla="*/ 158877 w 188023"/>
                  <a:gd name="connsiteY18" fmla="*/ 169831 h 39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8023" h="395001">
                    <a:moveTo>
                      <a:pt x="158782" y="169831"/>
                    </a:moveTo>
                    <a:lnTo>
                      <a:pt x="101822" y="169831"/>
                    </a:lnTo>
                    <a:lnTo>
                      <a:pt x="101822" y="328232"/>
                    </a:lnTo>
                    <a:cubicBezTo>
                      <a:pt x="101822" y="366046"/>
                      <a:pt x="108680" y="379190"/>
                      <a:pt x="116491" y="393954"/>
                    </a:cubicBezTo>
                    <a:lnTo>
                      <a:pt x="23717" y="395002"/>
                    </a:lnTo>
                    <a:cubicBezTo>
                      <a:pt x="36290" y="371856"/>
                      <a:pt x="38957" y="352996"/>
                      <a:pt x="38957" y="324041"/>
                    </a:cubicBezTo>
                    <a:lnTo>
                      <a:pt x="38957" y="169831"/>
                    </a:lnTo>
                    <a:lnTo>
                      <a:pt x="0" y="168783"/>
                    </a:lnTo>
                    <a:cubicBezTo>
                      <a:pt x="10192" y="155734"/>
                      <a:pt x="24479" y="121253"/>
                      <a:pt x="24479" y="121253"/>
                    </a:cubicBezTo>
                    <a:lnTo>
                      <a:pt x="38957" y="121158"/>
                    </a:lnTo>
                    <a:lnTo>
                      <a:pt x="38957" y="104870"/>
                    </a:lnTo>
                    <a:cubicBezTo>
                      <a:pt x="38957" y="65246"/>
                      <a:pt x="52006" y="0"/>
                      <a:pt x="129349" y="0"/>
                    </a:cubicBezTo>
                    <a:cubicBezTo>
                      <a:pt x="149352" y="0"/>
                      <a:pt x="173831" y="6572"/>
                      <a:pt x="188023" y="9716"/>
                    </a:cubicBezTo>
                    <a:cubicBezTo>
                      <a:pt x="182785" y="36004"/>
                      <a:pt x="181165" y="37529"/>
                      <a:pt x="177546" y="62770"/>
                    </a:cubicBezTo>
                    <a:cubicBezTo>
                      <a:pt x="171259" y="49625"/>
                      <a:pt x="156019" y="47625"/>
                      <a:pt x="137636" y="47625"/>
                    </a:cubicBezTo>
                    <a:cubicBezTo>
                      <a:pt x="116395" y="47625"/>
                      <a:pt x="101917" y="73819"/>
                      <a:pt x="101917" y="90106"/>
                    </a:cubicBezTo>
                    <a:lnTo>
                      <a:pt x="101917" y="118967"/>
                    </a:lnTo>
                    <a:lnTo>
                      <a:pt x="158877" y="118967"/>
                    </a:lnTo>
                    <a:lnTo>
                      <a:pt x="158877" y="169831"/>
                    </a:lnTo>
                    <a:close/>
                  </a:path>
                </a:pathLst>
              </a:custGeom>
              <a:grpFill/>
              <a:ln w="9525" cap="flat">
                <a:noFill/>
                <a:prstDash val="solid"/>
                <a:miter/>
              </a:ln>
            </p:spPr>
            <p:txBody>
              <a:bodyPr rtlCol="0" anchor="ctr"/>
              <a:lstStyle/>
              <a:p>
                <a:endParaRPr lang="en-US" sz="1050"/>
              </a:p>
            </p:txBody>
          </p:sp>
          <p:sp>
            <p:nvSpPr>
              <p:cNvPr id="16" name="Vrije vorm: vorm 15">
                <a:extLst>
                  <a:ext uri="{FF2B5EF4-FFF2-40B4-BE49-F238E27FC236}">
                    <a16:creationId xmlns:a16="http://schemas.microsoft.com/office/drawing/2014/main" id="{A69404E6-0E51-409F-9869-DA9E9BF53E5D}"/>
                  </a:ext>
                </a:extLst>
              </p:cNvPr>
              <p:cNvSpPr/>
              <p:nvPr/>
            </p:nvSpPr>
            <p:spPr>
              <a:xfrm>
                <a:off x="7491261" y="5168829"/>
                <a:ext cx="175355" cy="282511"/>
              </a:xfrm>
              <a:custGeom>
                <a:avLst/>
                <a:gdLst>
                  <a:gd name="connsiteX0" fmla="*/ 86868 w 175355"/>
                  <a:gd name="connsiteY0" fmla="*/ 7144 h 282511"/>
                  <a:gd name="connsiteX1" fmla="*/ 84201 w 175355"/>
                  <a:gd name="connsiteY1" fmla="*/ 44958 h 282511"/>
                  <a:gd name="connsiteX2" fmla="*/ 84201 w 175355"/>
                  <a:gd name="connsiteY2" fmla="*/ 58293 h 282511"/>
                  <a:gd name="connsiteX3" fmla="*/ 147161 w 175355"/>
                  <a:gd name="connsiteY3" fmla="*/ 0 h 282511"/>
                  <a:gd name="connsiteX4" fmla="*/ 175355 w 175355"/>
                  <a:gd name="connsiteY4" fmla="*/ 9716 h 282511"/>
                  <a:gd name="connsiteX5" fmla="*/ 166402 w 175355"/>
                  <a:gd name="connsiteY5" fmla="*/ 73057 h 282511"/>
                  <a:gd name="connsiteX6" fmla="*/ 138875 w 175355"/>
                  <a:gd name="connsiteY6" fmla="*/ 58865 h 282511"/>
                  <a:gd name="connsiteX7" fmla="*/ 84201 w 175355"/>
                  <a:gd name="connsiteY7" fmla="*/ 97536 h 282511"/>
                  <a:gd name="connsiteX8" fmla="*/ 84201 w 175355"/>
                  <a:gd name="connsiteY8" fmla="*/ 217837 h 282511"/>
                  <a:gd name="connsiteX9" fmla="*/ 97917 w 175355"/>
                  <a:gd name="connsiteY9" fmla="*/ 282512 h 282511"/>
                  <a:gd name="connsiteX10" fmla="*/ 0 w 175355"/>
                  <a:gd name="connsiteY10" fmla="*/ 282512 h 282511"/>
                  <a:gd name="connsiteX11" fmla="*/ 13621 w 175355"/>
                  <a:gd name="connsiteY11" fmla="*/ 229934 h 282511"/>
                  <a:gd name="connsiteX12" fmla="*/ 13621 w 175355"/>
                  <a:gd name="connsiteY12" fmla="*/ 55055 h 282511"/>
                  <a:gd name="connsiteX13" fmla="*/ 4667 w 175355"/>
                  <a:gd name="connsiteY13" fmla="*/ 7239 h 282511"/>
                  <a:gd name="connsiteX14" fmla="*/ 86868 w 175355"/>
                  <a:gd name="connsiteY14" fmla="*/ 7239 h 28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5355" h="282511">
                    <a:moveTo>
                      <a:pt x="86868" y="7144"/>
                    </a:moveTo>
                    <a:cubicBezTo>
                      <a:pt x="84201" y="21336"/>
                      <a:pt x="84201" y="27146"/>
                      <a:pt x="84201" y="44958"/>
                    </a:cubicBezTo>
                    <a:lnTo>
                      <a:pt x="84201" y="58293"/>
                    </a:lnTo>
                    <a:cubicBezTo>
                      <a:pt x="111442" y="18288"/>
                      <a:pt x="126016" y="0"/>
                      <a:pt x="147161" y="0"/>
                    </a:cubicBezTo>
                    <a:cubicBezTo>
                      <a:pt x="158686" y="0"/>
                      <a:pt x="166878" y="5525"/>
                      <a:pt x="175355" y="9716"/>
                    </a:cubicBezTo>
                    <a:lnTo>
                      <a:pt x="166402" y="73057"/>
                    </a:lnTo>
                    <a:cubicBezTo>
                      <a:pt x="156496" y="63341"/>
                      <a:pt x="149733" y="58865"/>
                      <a:pt x="138875" y="58865"/>
                    </a:cubicBezTo>
                    <a:cubicBezTo>
                      <a:pt x="109919" y="58865"/>
                      <a:pt x="94774" y="87630"/>
                      <a:pt x="84201" y="97536"/>
                    </a:cubicBezTo>
                    <a:lnTo>
                      <a:pt x="84201" y="217837"/>
                    </a:lnTo>
                    <a:cubicBezTo>
                      <a:pt x="84201" y="257842"/>
                      <a:pt x="88392" y="266700"/>
                      <a:pt x="97917" y="282512"/>
                    </a:cubicBezTo>
                    <a:lnTo>
                      <a:pt x="0" y="282512"/>
                    </a:lnTo>
                    <a:cubicBezTo>
                      <a:pt x="11049" y="265176"/>
                      <a:pt x="13621" y="256222"/>
                      <a:pt x="13621" y="229934"/>
                    </a:cubicBezTo>
                    <a:lnTo>
                      <a:pt x="13621" y="55055"/>
                    </a:lnTo>
                    <a:cubicBezTo>
                      <a:pt x="13621" y="45053"/>
                      <a:pt x="13621" y="33528"/>
                      <a:pt x="4667" y="7239"/>
                    </a:cubicBezTo>
                    <a:lnTo>
                      <a:pt x="86868" y="7239"/>
                    </a:lnTo>
                    <a:close/>
                  </a:path>
                </a:pathLst>
              </a:custGeom>
              <a:grpFill/>
              <a:ln w="9525" cap="flat">
                <a:noFill/>
                <a:prstDash val="solid"/>
                <a:miter/>
              </a:ln>
            </p:spPr>
            <p:txBody>
              <a:bodyPr rtlCol="0" anchor="ctr"/>
              <a:lstStyle/>
              <a:p>
                <a:endParaRPr lang="en-US" sz="1050"/>
              </a:p>
            </p:txBody>
          </p:sp>
          <p:sp>
            <p:nvSpPr>
              <p:cNvPr id="17" name="Vrije vorm: vorm 16">
                <a:extLst>
                  <a:ext uri="{FF2B5EF4-FFF2-40B4-BE49-F238E27FC236}">
                    <a16:creationId xmlns:a16="http://schemas.microsoft.com/office/drawing/2014/main" id="{6CD2BDA7-05FD-46D0-881D-7790E9EB5267}"/>
                  </a:ext>
                </a:extLst>
              </p:cNvPr>
              <p:cNvSpPr/>
              <p:nvPr/>
            </p:nvSpPr>
            <p:spPr>
              <a:xfrm>
                <a:off x="7686143" y="5170829"/>
                <a:ext cx="216904" cy="286607"/>
              </a:xfrm>
              <a:custGeom>
                <a:avLst/>
                <a:gdLst>
                  <a:gd name="connsiteX0" fmla="*/ 67342 w 216904"/>
                  <a:gd name="connsiteY0" fmla="*/ 114300 h 286607"/>
                  <a:gd name="connsiteX1" fmla="*/ 110585 w 216904"/>
                  <a:gd name="connsiteY1" fmla="*/ 47530 h 286607"/>
                  <a:gd name="connsiteX2" fmla="*/ 150781 w 216904"/>
                  <a:gd name="connsiteY2" fmla="*/ 114300 h 286607"/>
                  <a:gd name="connsiteX3" fmla="*/ 67342 w 216904"/>
                  <a:gd name="connsiteY3" fmla="*/ 114300 h 286607"/>
                  <a:gd name="connsiteX4" fmla="*/ 211169 w 216904"/>
                  <a:gd name="connsiteY4" fmla="*/ 210979 h 286607"/>
                  <a:gd name="connsiteX5" fmla="*/ 153638 w 216904"/>
                  <a:gd name="connsiteY5" fmla="*/ 229648 h 286607"/>
                  <a:gd name="connsiteX6" fmla="*/ 71819 w 216904"/>
                  <a:gd name="connsiteY6" fmla="*/ 158210 h 286607"/>
                  <a:gd name="connsiteX7" fmla="*/ 216884 w 216904"/>
                  <a:gd name="connsiteY7" fmla="*/ 155067 h 286607"/>
                  <a:gd name="connsiteX8" fmla="*/ 213741 w 216904"/>
                  <a:gd name="connsiteY8" fmla="*/ 82772 h 286607"/>
                  <a:gd name="connsiteX9" fmla="*/ 116205 w 216904"/>
                  <a:gd name="connsiteY9" fmla="*/ 0 h 286607"/>
                  <a:gd name="connsiteX10" fmla="*/ 0 w 216904"/>
                  <a:gd name="connsiteY10" fmla="*/ 144875 h 286607"/>
                  <a:gd name="connsiteX11" fmla="*/ 124396 w 216904"/>
                  <a:gd name="connsiteY11" fmla="*/ 286607 h 286607"/>
                  <a:gd name="connsiteX12" fmla="*/ 185357 w 216904"/>
                  <a:gd name="connsiteY12" fmla="*/ 274511 h 286607"/>
                  <a:gd name="connsiteX13" fmla="*/ 211169 w 216904"/>
                  <a:gd name="connsiteY13" fmla="*/ 210979 h 28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904" h="286607">
                    <a:moveTo>
                      <a:pt x="67342" y="114300"/>
                    </a:moveTo>
                    <a:cubicBezTo>
                      <a:pt x="71533" y="67532"/>
                      <a:pt x="91250" y="47530"/>
                      <a:pt x="110585" y="47530"/>
                    </a:cubicBezTo>
                    <a:cubicBezTo>
                      <a:pt x="131921" y="47530"/>
                      <a:pt x="152305" y="64294"/>
                      <a:pt x="150781" y="114300"/>
                    </a:cubicBezTo>
                    <a:lnTo>
                      <a:pt x="67342" y="114300"/>
                    </a:lnTo>
                    <a:close/>
                    <a:moveTo>
                      <a:pt x="211169" y="210979"/>
                    </a:moveTo>
                    <a:cubicBezTo>
                      <a:pt x="180213" y="225171"/>
                      <a:pt x="175736" y="229648"/>
                      <a:pt x="153638" y="229648"/>
                    </a:cubicBezTo>
                    <a:cubicBezTo>
                      <a:pt x="92678" y="229648"/>
                      <a:pt x="73438" y="177165"/>
                      <a:pt x="71819" y="158210"/>
                    </a:cubicBezTo>
                    <a:lnTo>
                      <a:pt x="216884" y="155067"/>
                    </a:lnTo>
                    <a:cubicBezTo>
                      <a:pt x="216884" y="125158"/>
                      <a:pt x="217361" y="104775"/>
                      <a:pt x="213741" y="82772"/>
                    </a:cubicBezTo>
                    <a:cubicBezTo>
                      <a:pt x="205835" y="30194"/>
                      <a:pt x="161354" y="0"/>
                      <a:pt x="116205" y="0"/>
                    </a:cubicBezTo>
                    <a:cubicBezTo>
                      <a:pt x="51530" y="0"/>
                      <a:pt x="0" y="53340"/>
                      <a:pt x="0" y="144875"/>
                    </a:cubicBezTo>
                    <a:cubicBezTo>
                      <a:pt x="0" y="206883"/>
                      <a:pt x="36576" y="286607"/>
                      <a:pt x="124396" y="286607"/>
                    </a:cubicBezTo>
                    <a:cubicBezTo>
                      <a:pt x="150114" y="286607"/>
                      <a:pt x="168497" y="280321"/>
                      <a:pt x="185357" y="274511"/>
                    </a:cubicBezTo>
                    <a:lnTo>
                      <a:pt x="211169" y="210979"/>
                    </a:lnTo>
                    <a:close/>
                  </a:path>
                </a:pathLst>
              </a:custGeom>
              <a:grpFill/>
              <a:ln w="9525" cap="flat">
                <a:noFill/>
                <a:prstDash val="solid"/>
                <a:miter/>
              </a:ln>
            </p:spPr>
            <p:txBody>
              <a:bodyPr rtlCol="0" anchor="ctr"/>
              <a:lstStyle/>
              <a:p>
                <a:endParaRPr lang="en-US" sz="1050"/>
              </a:p>
            </p:txBody>
          </p:sp>
          <p:sp>
            <p:nvSpPr>
              <p:cNvPr id="18" name="Vrije vorm: vorm 17">
                <a:extLst>
                  <a:ext uri="{FF2B5EF4-FFF2-40B4-BE49-F238E27FC236}">
                    <a16:creationId xmlns:a16="http://schemas.microsoft.com/office/drawing/2014/main" id="{D2603D00-32FD-417F-94C7-5F658BCB827F}"/>
                  </a:ext>
                </a:extLst>
              </p:cNvPr>
              <p:cNvSpPr/>
              <p:nvPr/>
            </p:nvSpPr>
            <p:spPr>
              <a:xfrm>
                <a:off x="7932269" y="5170639"/>
                <a:ext cx="156114" cy="286988"/>
              </a:xfrm>
              <a:custGeom>
                <a:avLst/>
                <a:gdLst>
                  <a:gd name="connsiteX0" fmla="*/ 152876 w 156114"/>
                  <a:gd name="connsiteY0" fmla="*/ 61055 h 286988"/>
                  <a:gd name="connsiteX1" fmla="*/ 110585 w 156114"/>
                  <a:gd name="connsiteY1" fmla="*/ 48482 h 286988"/>
                  <a:gd name="connsiteX2" fmla="*/ 76486 w 156114"/>
                  <a:gd name="connsiteY2" fmla="*/ 73628 h 286988"/>
                  <a:gd name="connsiteX3" fmla="*/ 114586 w 156114"/>
                  <a:gd name="connsiteY3" fmla="*/ 119824 h 286988"/>
                  <a:gd name="connsiteX4" fmla="*/ 156115 w 156114"/>
                  <a:gd name="connsiteY4" fmla="*/ 201835 h 286988"/>
                  <a:gd name="connsiteX5" fmla="*/ 66199 w 156114"/>
                  <a:gd name="connsiteY5" fmla="*/ 286988 h 286988"/>
                  <a:gd name="connsiteX6" fmla="*/ 0 w 156114"/>
                  <a:gd name="connsiteY6" fmla="*/ 274130 h 286988"/>
                  <a:gd name="connsiteX7" fmla="*/ 762 w 156114"/>
                  <a:gd name="connsiteY7" fmla="*/ 208978 h 286988"/>
                  <a:gd name="connsiteX8" fmla="*/ 64103 w 156114"/>
                  <a:gd name="connsiteY8" fmla="*/ 239649 h 286988"/>
                  <a:gd name="connsiteX9" fmla="*/ 92964 w 156114"/>
                  <a:gd name="connsiteY9" fmla="*/ 213931 h 286988"/>
                  <a:gd name="connsiteX10" fmla="*/ 60960 w 156114"/>
                  <a:gd name="connsiteY10" fmla="*/ 168212 h 286988"/>
                  <a:gd name="connsiteX11" fmla="*/ 8382 w 156114"/>
                  <a:gd name="connsiteY11" fmla="*/ 83058 h 286988"/>
                  <a:gd name="connsiteX12" fmla="*/ 100394 w 156114"/>
                  <a:gd name="connsiteY12" fmla="*/ 0 h 286988"/>
                  <a:gd name="connsiteX13" fmla="*/ 152971 w 156114"/>
                  <a:gd name="connsiteY13" fmla="*/ 11525 h 286988"/>
                  <a:gd name="connsiteX14" fmla="*/ 152971 w 156114"/>
                  <a:gd name="connsiteY14" fmla="*/ 61055 h 28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114" h="286988">
                    <a:moveTo>
                      <a:pt x="152876" y="61055"/>
                    </a:moveTo>
                    <a:cubicBezTo>
                      <a:pt x="141351" y="51149"/>
                      <a:pt x="123063" y="48482"/>
                      <a:pt x="110585" y="48482"/>
                    </a:cubicBezTo>
                    <a:cubicBezTo>
                      <a:pt x="94298" y="48482"/>
                      <a:pt x="76486" y="60103"/>
                      <a:pt x="76486" y="73628"/>
                    </a:cubicBezTo>
                    <a:cubicBezTo>
                      <a:pt x="76486" y="94678"/>
                      <a:pt x="94869" y="105061"/>
                      <a:pt x="114586" y="119824"/>
                    </a:cubicBezTo>
                    <a:cubicBezTo>
                      <a:pt x="141827" y="140398"/>
                      <a:pt x="156115" y="163449"/>
                      <a:pt x="156115" y="201835"/>
                    </a:cubicBezTo>
                    <a:cubicBezTo>
                      <a:pt x="156115" y="248603"/>
                      <a:pt x="125063" y="286988"/>
                      <a:pt x="66199" y="286988"/>
                    </a:cubicBezTo>
                    <a:cubicBezTo>
                      <a:pt x="59341" y="286988"/>
                      <a:pt x="33623" y="284131"/>
                      <a:pt x="0" y="274130"/>
                    </a:cubicBezTo>
                    <a:lnTo>
                      <a:pt x="762" y="208978"/>
                    </a:lnTo>
                    <a:cubicBezTo>
                      <a:pt x="26575" y="231839"/>
                      <a:pt x="48292" y="239839"/>
                      <a:pt x="64103" y="239649"/>
                    </a:cubicBezTo>
                    <a:cubicBezTo>
                      <a:pt x="79915" y="239458"/>
                      <a:pt x="92583" y="228791"/>
                      <a:pt x="92964" y="213931"/>
                    </a:cubicBezTo>
                    <a:cubicBezTo>
                      <a:pt x="93345" y="201644"/>
                      <a:pt x="86487" y="190500"/>
                      <a:pt x="60960" y="168212"/>
                    </a:cubicBezTo>
                    <a:cubicBezTo>
                      <a:pt x="44958" y="154210"/>
                      <a:pt x="8382" y="127159"/>
                      <a:pt x="8382" y="83058"/>
                    </a:cubicBezTo>
                    <a:cubicBezTo>
                      <a:pt x="8382" y="52578"/>
                      <a:pt x="34671" y="0"/>
                      <a:pt x="100394" y="0"/>
                    </a:cubicBezTo>
                    <a:cubicBezTo>
                      <a:pt x="121920" y="0"/>
                      <a:pt x="133541" y="4191"/>
                      <a:pt x="152971" y="11525"/>
                    </a:cubicBezTo>
                    <a:lnTo>
                      <a:pt x="152971" y="61055"/>
                    </a:lnTo>
                    <a:close/>
                  </a:path>
                </a:pathLst>
              </a:custGeom>
              <a:grpFill/>
              <a:ln w="9525" cap="flat">
                <a:noFill/>
                <a:prstDash val="solid"/>
                <a:miter/>
              </a:ln>
            </p:spPr>
            <p:txBody>
              <a:bodyPr rtlCol="0" anchor="ctr"/>
              <a:lstStyle/>
              <a:p>
                <a:endParaRPr lang="en-US" sz="1050"/>
              </a:p>
            </p:txBody>
          </p:sp>
          <p:sp>
            <p:nvSpPr>
              <p:cNvPr id="19" name="Vrije vorm: vorm 18">
                <a:extLst>
                  <a:ext uri="{FF2B5EF4-FFF2-40B4-BE49-F238E27FC236}">
                    <a16:creationId xmlns:a16="http://schemas.microsoft.com/office/drawing/2014/main" id="{67803E60-1E63-472D-A812-D83EECF73572}"/>
                  </a:ext>
                </a:extLst>
              </p:cNvPr>
              <p:cNvSpPr/>
              <p:nvPr/>
            </p:nvSpPr>
            <p:spPr>
              <a:xfrm>
                <a:off x="8116958" y="5172163"/>
                <a:ext cx="214883" cy="283940"/>
              </a:xfrm>
              <a:custGeom>
                <a:avLst/>
                <a:gdLst>
                  <a:gd name="connsiteX0" fmla="*/ 200882 w 214883"/>
                  <a:gd name="connsiteY0" fmla="*/ 72676 h 283940"/>
                  <a:gd name="connsiteX1" fmla="*/ 146495 w 214883"/>
                  <a:gd name="connsiteY1" fmla="*/ 46863 h 283940"/>
                  <a:gd name="connsiteX2" fmla="*/ 73819 w 214883"/>
                  <a:gd name="connsiteY2" fmla="*/ 139446 h 283940"/>
                  <a:gd name="connsiteX3" fmla="*/ 156782 w 214883"/>
                  <a:gd name="connsiteY3" fmla="*/ 228790 h 283940"/>
                  <a:gd name="connsiteX4" fmla="*/ 214884 w 214883"/>
                  <a:gd name="connsiteY4" fmla="*/ 211550 h 283940"/>
                  <a:gd name="connsiteX5" fmla="*/ 188024 w 214883"/>
                  <a:gd name="connsiteY5" fmla="*/ 280416 h 283940"/>
                  <a:gd name="connsiteX6" fmla="*/ 127730 w 214883"/>
                  <a:gd name="connsiteY6" fmla="*/ 283940 h 283940"/>
                  <a:gd name="connsiteX7" fmla="*/ 0 w 214883"/>
                  <a:gd name="connsiteY7" fmla="*/ 154686 h 283940"/>
                  <a:gd name="connsiteX8" fmla="*/ 151352 w 214883"/>
                  <a:gd name="connsiteY8" fmla="*/ 0 h 283940"/>
                  <a:gd name="connsiteX9" fmla="*/ 206312 w 214883"/>
                  <a:gd name="connsiteY9" fmla="*/ 8572 h 283940"/>
                  <a:gd name="connsiteX10" fmla="*/ 200882 w 214883"/>
                  <a:gd name="connsiteY10" fmla="*/ 72676 h 28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883" h="283940">
                    <a:moveTo>
                      <a:pt x="200882" y="72676"/>
                    </a:moveTo>
                    <a:cubicBezTo>
                      <a:pt x="195834" y="67437"/>
                      <a:pt x="178689" y="46863"/>
                      <a:pt x="146495" y="46863"/>
                    </a:cubicBezTo>
                    <a:cubicBezTo>
                      <a:pt x="90678" y="46863"/>
                      <a:pt x="73819" y="104775"/>
                      <a:pt x="73819" y="139446"/>
                    </a:cubicBezTo>
                    <a:cubicBezTo>
                      <a:pt x="73819" y="206216"/>
                      <a:pt x="134017" y="228790"/>
                      <a:pt x="156782" y="228790"/>
                    </a:cubicBezTo>
                    <a:cubicBezTo>
                      <a:pt x="180404" y="228790"/>
                      <a:pt x="201454" y="219075"/>
                      <a:pt x="214884" y="211550"/>
                    </a:cubicBezTo>
                    <a:lnTo>
                      <a:pt x="188024" y="280416"/>
                    </a:lnTo>
                    <a:cubicBezTo>
                      <a:pt x="173450" y="283083"/>
                      <a:pt x="147733" y="283940"/>
                      <a:pt x="127730" y="283940"/>
                    </a:cubicBezTo>
                    <a:cubicBezTo>
                      <a:pt x="60293" y="283940"/>
                      <a:pt x="0" y="219075"/>
                      <a:pt x="0" y="154686"/>
                    </a:cubicBezTo>
                    <a:cubicBezTo>
                      <a:pt x="0" y="96298"/>
                      <a:pt x="30671" y="0"/>
                      <a:pt x="151352" y="0"/>
                    </a:cubicBezTo>
                    <a:cubicBezTo>
                      <a:pt x="175546" y="0"/>
                      <a:pt x="192119" y="6001"/>
                      <a:pt x="206312" y="8572"/>
                    </a:cubicBezTo>
                    <a:lnTo>
                      <a:pt x="200882" y="72676"/>
                    </a:lnTo>
                    <a:close/>
                  </a:path>
                </a:pathLst>
              </a:custGeom>
              <a:grpFill/>
              <a:ln w="9525" cap="flat">
                <a:noFill/>
                <a:prstDash val="solid"/>
                <a:miter/>
              </a:ln>
            </p:spPr>
            <p:txBody>
              <a:bodyPr rtlCol="0" anchor="ctr"/>
              <a:lstStyle/>
              <a:p>
                <a:endParaRPr lang="en-US" sz="1050"/>
              </a:p>
            </p:txBody>
          </p:sp>
          <p:sp>
            <p:nvSpPr>
              <p:cNvPr id="20" name="Vrije vorm: vorm 19">
                <a:extLst>
                  <a:ext uri="{FF2B5EF4-FFF2-40B4-BE49-F238E27FC236}">
                    <a16:creationId xmlns:a16="http://schemas.microsoft.com/office/drawing/2014/main" id="{33241BA7-6CD9-41E6-8D4C-A81C18E739A7}"/>
                  </a:ext>
                </a:extLst>
              </p:cNvPr>
              <p:cNvSpPr/>
              <p:nvPr/>
            </p:nvSpPr>
            <p:spPr>
              <a:xfrm>
                <a:off x="8354703" y="5169881"/>
                <a:ext cx="262318" cy="288698"/>
              </a:xfrm>
              <a:custGeom>
                <a:avLst/>
                <a:gdLst>
                  <a:gd name="connsiteX0" fmla="*/ 150590 w 262318"/>
                  <a:gd name="connsiteY0" fmla="*/ 240502 h 288698"/>
                  <a:gd name="connsiteX1" fmla="*/ 67913 w 262318"/>
                  <a:gd name="connsiteY1" fmla="*/ 141442 h 288698"/>
                  <a:gd name="connsiteX2" fmla="*/ 108490 w 262318"/>
                  <a:gd name="connsiteY2" fmla="*/ 46002 h 288698"/>
                  <a:gd name="connsiteX3" fmla="*/ 186785 w 262318"/>
                  <a:gd name="connsiteY3" fmla="*/ 145824 h 288698"/>
                  <a:gd name="connsiteX4" fmla="*/ 150590 w 262318"/>
                  <a:gd name="connsiteY4" fmla="*/ 240502 h 288698"/>
                  <a:gd name="connsiteX5" fmla="*/ 110871 w 262318"/>
                  <a:gd name="connsiteY5" fmla="*/ 91 h 288698"/>
                  <a:gd name="connsiteX6" fmla="*/ 0 w 262318"/>
                  <a:gd name="connsiteY6" fmla="*/ 154873 h 288698"/>
                  <a:gd name="connsiteX7" fmla="*/ 128302 w 262318"/>
                  <a:gd name="connsiteY7" fmla="*/ 288699 h 288698"/>
                  <a:gd name="connsiteX8" fmla="*/ 262318 w 262318"/>
                  <a:gd name="connsiteY8" fmla="*/ 134965 h 288698"/>
                  <a:gd name="connsiteX9" fmla="*/ 110871 w 262318"/>
                  <a:gd name="connsiteY9" fmla="*/ 91 h 28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318" h="288698">
                    <a:moveTo>
                      <a:pt x="150590" y="240502"/>
                    </a:moveTo>
                    <a:cubicBezTo>
                      <a:pt x="103822" y="244408"/>
                      <a:pt x="67913" y="181638"/>
                      <a:pt x="67913" y="141442"/>
                    </a:cubicBezTo>
                    <a:cubicBezTo>
                      <a:pt x="67913" y="101247"/>
                      <a:pt x="95917" y="46002"/>
                      <a:pt x="108490" y="46002"/>
                    </a:cubicBezTo>
                    <a:cubicBezTo>
                      <a:pt x="137160" y="46002"/>
                      <a:pt x="186785" y="79244"/>
                      <a:pt x="186785" y="145824"/>
                    </a:cubicBezTo>
                    <a:cubicBezTo>
                      <a:pt x="186785" y="207546"/>
                      <a:pt x="158020" y="234597"/>
                      <a:pt x="150590" y="240502"/>
                    </a:cubicBezTo>
                    <a:close/>
                    <a:moveTo>
                      <a:pt x="110871" y="91"/>
                    </a:moveTo>
                    <a:cubicBezTo>
                      <a:pt x="65627" y="13712"/>
                      <a:pt x="0" y="40287"/>
                      <a:pt x="0" y="154873"/>
                    </a:cubicBezTo>
                    <a:cubicBezTo>
                      <a:pt x="0" y="250504"/>
                      <a:pt x="74676" y="288699"/>
                      <a:pt x="128302" y="288699"/>
                    </a:cubicBezTo>
                    <a:cubicBezTo>
                      <a:pt x="161925" y="288699"/>
                      <a:pt x="262318" y="254790"/>
                      <a:pt x="262318" y="134965"/>
                    </a:cubicBezTo>
                    <a:cubicBezTo>
                      <a:pt x="262414" y="53431"/>
                      <a:pt x="186023" y="-2576"/>
                      <a:pt x="110871" y="91"/>
                    </a:cubicBezTo>
                    <a:close/>
                  </a:path>
                </a:pathLst>
              </a:custGeom>
              <a:grpFill/>
              <a:ln w="9525" cap="flat">
                <a:noFill/>
                <a:prstDash val="solid"/>
                <a:miter/>
              </a:ln>
            </p:spPr>
            <p:txBody>
              <a:bodyPr rtlCol="0" anchor="ctr"/>
              <a:lstStyle/>
              <a:p>
                <a:endParaRPr lang="en-US" sz="1050"/>
              </a:p>
            </p:txBody>
          </p:sp>
        </p:grpSp>
        <p:sp>
          <p:nvSpPr>
            <p:cNvPr id="12" name="Vrije vorm: vorm 11">
              <a:extLst>
                <a:ext uri="{FF2B5EF4-FFF2-40B4-BE49-F238E27FC236}">
                  <a16:creationId xmlns:a16="http://schemas.microsoft.com/office/drawing/2014/main" id="{9B870C2A-3015-483D-A9A6-A61145FBEB28}"/>
                </a:ext>
              </a:extLst>
            </p:cNvPr>
            <p:cNvSpPr/>
            <p:nvPr/>
          </p:nvSpPr>
          <p:spPr>
            <a:xfrm>
              <a:off x="6610866" y="4731155"/>
              <a:ext cx="2143791" cy="273843"/>
            </a:xfrm>
            <a:custGeom>
              <a:avLst/>
              <a:gdLst>
                <a:gd name="connsiteX0" fmla="*/ 2143792 w 2143791"/>
                <a:gd name="connsiteY0" fmla="*/ 273844 h 273843"/>
                <a:gd name="connsiteX1" fmla="*/ 2120837 w 2143791"/>
                <a:gd name="connsiteY1" fmla="*/ 264224 h 273843"/>
                <a:gd name="connsiteX2" fmla="*/ 2055209 w 2143791"/>
                <a:gd name="connsiteY2" fmla="*/ 239268 h 273843"/>
                <a:gd name="connsiteX3" fmla="*/ 2007965 w 2143791"/>
                <a:gd name="connsiteY3" fmla="*/ 223076 h 273843"/>
                <a:gd name="connsiteX4" fmla="*/ 1951958 w 2143791"/>
                <a:gd name="connsiteY4" fmla="*/ 205169 h 273843"/>
                <a:gd name="connsiteX5" fmla="*/ 1920907 w 2143791"/>
                <a:gd name="connsiteY5" fmla="*/ 195739 h 273843"/>
                <a:gd name="connsiteX6" fmla="*/ 1887760 w 2143791"/>
                <a:gd name="connsiteY6" fmla="*/ 186595 h 273843"/>
                <a:gd name="connsiteX7" fmla="*/ 1852993 w 2143791"/>
                <a:gd name="connsiteY7" fmla="*/ 176975 h 273843"/>
                <a:gd name="connsiteX8" fmla="*/ 1816322 w 2143791"/>
                <a:gd name="connsiteY8" fmla="*/ 167831 h 273843"/>
                <a:gd name="connsiteX9" fmla="*/ 1778127 w 2143791"/>
                <a:gd name="connsiteY9" fmla="*/ 158306 h 273843"/>
                <a:gd name="connsiteX10" fmla="*/ 1738217 w 2143791"/>
                <a:gd name="connsiteY10" fmla="*/ 149638 h 273843"/>
                <a:gd name="connsiteX11" fmla="*/ 1696974 w 2143791"/>
                <a:gd name="connsiteY11" fmla="*/ 140494 h 273843"/>
                <a:gd name="connsiteX12" fmla="*/ 1654207 w 2143791"/>
                <a:gd name="connsiteY12" fmla="*/ 132493 h 273843"/>
                <a:gd name="connsiteX13" fmla="*/ 1610297 w 2143791"/>
                <a:gd name="connsiteY13" fmla="*/ 124111 h 273843"/>
                <a:gd name="connsiteX14" fmla="*/ 1565053 w 2143791"/>
                <a:gd name="connsiteY14" fmla="*/ 116967 h 273843"/>
                <a:gd name="connsiteX15" fmla="*/ 1518857 w 2143791"/>
                <a:gd name="connsiteY15" fmla="*/ 109633 h 273843"/>
                <a:gd name="connsiteX16" fmla="*/ 1471613 w 2143791"/>
                <a:gd name="connsiteY16" fmla="*/ 103632 h 273843"/>
                <a:gd name="connsiteX17" fmla="*/ 1374743 w 2143791"/>
                <a:gd name="connsiteY17" fmla="*/ 92869 h 273843"/>
                <a:gd name="connsiteX18" fmla="*/ 1325309 w 2143791"/>
                <a:gd name="connsiteY18" fmla="*/ 88392 h 273843"/>
                <a:gd name="connsiteX19" fmla="*/ 1275302 w 2143791"/>
                <a:gd name="connsiteY19" fmla="*/ 84868 h 273843"/>
                <a:gd name="connsiteX20" fmla="*/ 1224820 w 2143791"/>
                <a:gd name="connsiteY20" fmla="*/ 82106 h 273843"/>
                <a:gd name="connsiteX21" fmla="*/ 1174052 w 2143791"/>
                <a:gd name="connsiteY21" fmla="*/ 79915 h 273843"/>
                <a:gd name="connsiteX22" fmla="*/ 1071848 w 2143791"/>
                <a:gd name="connsiteY22" fmla="*/ 78010 h 273843"/>
                <a:gd name="connsiteX23" fmla="*/ 969074 w 2143791"/>
                <a:gd name="connsiteY23" fmla="*/ 79915 h 273843"/>
                <a:gd name="connsiteX24" fmla="*/ 918305 w 2143791"/>
                <a:gd name="connsiteY24" fmla="*/ 82106 h 273843"/>
                <a:gd name="connsiteX25" fmla="*/ 868204 w 2143791"/>
                <a:gd name="connsiteY25" fmla="*/ 84868 h 273843"/>
                <a:gd name="connsiteX26" fmla="*/ 818388 w 2143791"/>
                <a:gd name="connsiteY26" fmla="*/ 88392 h 273843"/>
                <a:gd name="connsiteX27" fmla="*/ 768953 w 2143791"/>
                <a:gd name="connsiteY27" fmla="*/ 92773 h 273843"/>
                <a:gd name="connsiteX28" fmla="*/ 672084 w 2143791"/>
                <a:gd name="connsiteY28" fmla="*/ 103632 h 273843"/>
                <a:gd name="connsiteX29" fmla="*/ 624840 w 2143791"/>
                <a:gd name="connsiteY29" fmla="*/ 109633 h 273843"/>
                <a:gd name="connsiteX30" fmla="*/ 578739 w 2143791"/>
                <a:gd name="connsiteY30" fmla="*/ 116967 h 273843"/>
                <a:gd name="connsiteX31" fmla="*/ 533495 w 2143791"/>
                <a:gd name="connsiteY31" fmla="*/ 124111 h 273843"/>
                <a:gd name="connsiteX32" fmla="*/ 489585 w 2143791"/>
                <a:gd name="connsiteY32" fmla="*/ 132493 h 273843"/>
                <a:gd name="connsiteX33" fmla="*/ 446818 w 2143791"/>
                <a:gd name="connsiteY33" fmla="*/ 140494 h 273843"/>
                <a:gd name="connsiteX34" fmla="*/ 405575 w 2143791"/>
                <a:gd name="connsiteY34" fmla="*/ 149638 h 273843"/>
                <a:gd name="connsiteX35" fmla="*/ 365665 w 2143791"/>
                <a:gd name="connsiteY35" fmla="*/ 158306 h 273843"/>
                <a:gd name="connsiteX36" fmla="*/ 327470 w 2143791"/>
                <a:gd name="connsiteY36" fmla="*/ 167831 h 273843"/>
                <a:gd name="connsiteX37" fmla="*/ 290798 w 2143791"/>
                <a:gd name="connsiteY37" fmla="*/ 176975 h 273843"/>
                <a:gd name="connsiteX38" fmla="*/ 256032 w 2143791"/>
                <a:gd name="connsiteY38" fmla="*/ 186595 h 273843"/>
                <a:gd name="connsiteX39" fmla="*/ 222885 w 2143791"/>
                <a:gd name="connsiteY39" fmla="*/ 195739 h 273843"/>
                <a:gd name="connsiteX40" fmla="*/ 191834 w 2143791"/>
                <a:gd name="connsiteY40" fmla="*/ 205169 h 273843"/>
                <a:gd name="connsiteX41" fmla="*/ 135827 w 2143791"/>
                <a:gd name="connsiteY41" fmla="*/ 223076 h 273843"/>
                <a:gd name="connsiteX42" fmla="*/ 88583 w 2143791"/>
                <a:gd name="connsiteY42" fmla="*/ 239268 h 273843"/>
                <a:gd name="connsiteX43" fmla="*/ 22955 w 2143791"/>
                <a:gd name="connsiteY43" fmla="*/ 264128 h 273843"/>
                <a:gd name="connsiteX44" fmla="*/ 0 w 2143791"/>
                <a:gd name="connsiteY44" fmla="*/ 273844 h 273843"/>
                <a:gd name="connsiteX45" fmla="*/ 20955 w 2143791"/>
                <a:gd name="connsiteY45" fmla="*/ 260223 h 273843"/>
                <a:gd name="connsiteX46" fmla="*/ 82391 w 2143791"/>
                <a:gd name="connsiteY46" fmla="*/ 225171 h 273843"/>
                <a:gd name="connsiteX47" fmla="*/ 181547 w 2143791"/>
                <a:gd name="connsiteY47" fmla="*/ 177356 h 273843"/>
                <a:gd name="connsiteX48" fmla="*/ 211741 w 2143791"/>
                <a:gd name="connsiteY48" fmla="*/ 164211 h 273843"/>
                <a:gd name="connsiteX49" fmla="*/ 244031 w 2143791"/>
                <a:gd name="connsiteY49" fmla="*/ 151162 h 273843"/>
                <a:gd name="connsiteX50" fmla="*/ 278225 w 2143791"/>
                <a:gd name="connsiteY50" fmla="*/ 137732 h 273843"/>
                <a:gd name="connsiteX51" fmla="*/ 314516 w 2143791"/>
                <a:gd name="connsiteY51" fmla="*/ 124873 h 273843"/>
                <a:gd name="connsiteX52" fmla="*/ 352425 w 2143791"/>
                <a:gd name="connsiteY52" fmla="*/ 111728 h 273843"/>
                <a:gd name="connsiteX53" fmla="*/ 392240 w 2143791"/>
                <a:gd name="connsiteY53" fmla="*/ 99441 h 273843"/>
                <a:gd name="connsiteX54" fmla="*/ 433578 w 2143791"/>
                <a:gd name="connsiteY54" fmla="*/ 86868 h 273843"/>
                <a:gd name="connsiteX55" fmla="*/ 476631 w 2143791"/>
                <a:gd name="connsiteY55" fmla="*/ 75248 h 273843"/>
                <a:gd name="connsiteX56" fmla="*/ 520922 w 2143791"/>
                <a:gd name="connsiteY56" fmla="*/ 63818 h 273843"/>
                <a:gd name="connsiteX57" fmla="*/ 566738 w 2143791"/>
                <a:gd name="connsiteY57" fmla="*/ 53816 h 273843"/>
                <a:gd name="connsiteX58" fmla="*/ 613601 w 2143791"/>
                <a:gd name="connsiteY58" fmla="*/ 43815 h 273843"/>
                <a:gd name="connsiteX59" fmla="*/ 661702 w 2143791"/>
                <a:gd name="connsiteY59" fmla="*/ 35338 h 273843"/>
                <a:gd name="connsiteX60" fmla="*/ 710756 w 2143791"/>
                <a:gd name="connsiteY60" fmla="*/ 27051 h 273843"/>
                <a:gd name="connsiteX61" fmla="*/ 760762 w 2143791"/>
                <a:gd name="connsiteY61" fmla="*/ 20384 h 273843"/>
                <a:gd name="connsiteX62" fmla="*/ 862965 w 2143791"/>
                <a:gd name="connsiteY62" fmla="*/ 9430 h 273843"/>
                <a:gd name="connsiteX63" fmla="*/ 915162 w 2143791"/>
                <a:gd name="connsiteY63" fmla="*/ 5525 h 273843"/>
                <a:gd name="connsiteX64" fmla="*/ 967359 w 2143791"/>
                <a:gd name="connsiteY64" fmla="*/ 2572 h 273843"/>
                <a:gd name="connsiteX65" fmla="*/ 1071848 w 2143791"/>
                <a:gd name="connsiteY65" fmla="*/ 0 h 273843"/>
                <a:gd name="connsiteX66" fmla="*/ 1176909 w 2143791"/>
                <a:gd name="connsiteY66" fmla="*/ 2667 h 273843"/>
                <a:gd name="connsiteX67" fmla="*/ 1229106 w 2143791"/>
                <a:gd name="connsiteY67" fmla="*/ 5620 h 273843"/>
                <a:gd name="connsiteX68" fmla="*/ 1280922 w 2143791"/>
                <a:gd name="connsiteY68" fmla="*/ 9525 h 273843"/>
                <a:gd name="connsiteX69" fmla="*/ 1382935 w 2143791"/>
                <a:gd name="connsiteY69" fmla="*/ 20479 h 273843"/>
                <a:gd name="connsiteX70" fmla="*/ 1432941 w 2143791"/>
                <a:gd name="connsiteY70" fmla="*/ 27051 h 273843"/>
                <a:gd name="connsiteX71" fmla="*/ 1481995 w 2143791"/>
                <a:gd name="connsiteY71" fmla="*/ 35338 h 273843"/>
                <a:gd name="connsiteX72" fmla="*/ 1530096 w 2143791"/>
                <a:gd name="connsiteY72" fmla="*/ 43720 h 273843"/>
                <a:gd name="connsiteX73" fmla="*/ 1576959 w 2143791"/>
                <a:gd name="connsiteY73" fmla="*/ 53721 h 273843"/>
                <a:gd name="connsiteX74" fmla="*/ 1622774 w 2143791"/>
                <a:gd name="connsiteY74" fmla="*/ 63722 h 273843"/>
                <a:gd name="connsiteX75" fmla="*/ 1667066 w 2143791"/>
                <a:gd name="connsiteY75" fmla="*/ 75152 h 273843"/>
                <a:gd name="connsiteX76" fmla="*/ 1710118 w 2143791"/>
                <a:gd name="connsiteY76" fmla="*/ 86487 h 273843"/>
                <a:gd name="connsiteX77" fmla="*/ 1751457 w 2143791"/>
                <a:gd name="connsiteY77" fmla="*/ 99060 h 273843"/>
                <a:gd name="connsiteX78" fmla="*/ 1791272 w 2143791"/>
                <a:gd name="connsiteY78" fmla="*/ 111347 h 273843"/>
                <a:gd name="connsiteX79" fmla="*/ 1829181 w 2143791"/>
                <a:gd name="connsiteY79" fmla="*/ 124492 h 273843"/>
                <a:gd name="connsiteX80" fmla="*/ 1865471 w 2143791"/>
                <a:gd name="connsiteY80" fmla="*/ 137351 h 273843"/>
                <a:gd name="connsiteX81" fmla="*/ 1899666 w 2143791"/>
                <a:gd name="connsiteY81" fmla="*/ 150781 h 273843"/>
                <a:gd name="connsiteX82" fmla="*/ 1931956 w 2143791"/>
                <a:gd name="connsiteY82" fmla="*/ 163830 h 273843"/>
                <a:gd name="connsiteX83" fmla="*/ 1962150 w 2143791"/>
                <a:gd name="connsiteY83" fmla="*/ 176975 h 273843"/>
                <a:gd name="connsiteX84" fmla="*/ 2016252 w 2143791"/>
                <a:gd name="connsiteY84" fmla="*/ 201930 h 273843"/>
                <a:gd name="connsiteX85" fmla="*/ 2061305 w 2143791"/>
                <a:gd name="connsiteY85" fmla="*/ 224790 h 273843"/>
                <a:gd name="connsiteX86" fmla="*/ 2122742 w 2143791"/>
                <a:gd name="connsiteY86" fmla="*/ 259842 h 273843"/>
                <a:gd name="connsiteX87" fmla="*/ 2143792 w 2143791"/>
                <a:gd name="connsiteY87" fmla="*/ 273844 h 27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143791" h="273843">
                  <a:moveTo>
                    <a:pt x="2143792" y="273844"/>
                  </a:moveTo>
                  <a:cubicBezTo>
                    <a:pt x="2143792" y="273844"/>
                    <a:pt x="2135791" y="270320"/>
                    <a:pt x="2120837" y="264224"/>
                  </a:cubicBezTo>
                  <a:cubicBezTo>
                    <a:pt x="2105787" y="258032"/>
                    <a:pt x="2083594" y="249650"/>
                    <a:pt x="2055209" y="239268"/>
                  </a:cubicBezTo>
                  <a:cubicBezTo>
                    <a:pt x="2040922" y="234315"/>
                    <a:pt x="2025301" y="228410"/>
                    <a:pt x="2007965" y="223076"/>
                  </a:cubicBezTo>
                  <a:cubicBezTo>
                    <a:pt x="1990630" y="217551"/>
                    <a:pt x="1972151" y="210979"/>
                    <a:pt x="1951958" y="205169"/>
                  </a:cubicBezTo>
                  <a:cubicBezTo>
                    <a:pt x="1941957" y="202120"/>
                    <a:pt x="1931575" y="198977"/>
                    <a:pt x="1920907" y="195739"/>
                  </a:cubicBezTo>
                  <a:cubicBezTo>
                    <a:pt x="1910239" y="192595"/>
                    <a:pt x="1899095" y="189738"/>
                    <a:pt x="1887760" y="186595"/>
                  </a:cubicBezTo>
                  <a:cubicBezTo>
                    <a:pt x="1876425" y="183452"/>
                    <a:pt x="1864900" y="180213"/>
                    <a:pt x="1852993" y="176975"/>
                  </a:cubicBezTo>
                  <a:cubicBezTo>
                    <a:pt x="1840992" y="174022"/>
                    <a:pt x="1828800" y="170974"/>
                    <a:pt x="1816322" y="167831"/>
                  </a:cubicBezTo>
                  <a:cubicBezTo>
                    <a:pt x="1803845" y="164687"/>
                    <a:pt x="1791176" y="161544"/>
                    <a:pt x="1778127" y="158306"/>
                  </a:cubicBezTo>
                  <a:cubicBezTo>
                    <a:pt x="1765078" y="155448"/>
                    <a:pt x="1751743" y="152591"/>
                    <a:pt x="1738217" y="149638"/>
                  </a:cubicBezTo>
                  <a:cubicBezTo>
                    <a:pt x="1724692" y="146685"/>
                    <a:pt x="1710976" y="143637"/>
                    <a:pt x="1696974" y="140494"/>
                  </a:cubicBezTo>
                  <a:cubicBezTo>
                    <a:pt x="1682972" y="137827"/>
                    <a:pt x="1668685" y="135160"/>
                    <a:pt x="1654207" y="132493"/>
                  </a:cubicBezTo>
                  <a:cubicBezTo>
                    <a:pt x="1639729" y="129731"/>
                    <a:pt x="1625156" y="126968"/>
                    <a:pt x="1610297" y="124111"/>
                  </a:cubicBezTo>
                  <a:cubicBezTo>
                    <a:pt x="1595438" y="121730"/>
                    <a:pt x="1580293" y="119348"/>
                    <a:pt x="1565053" y="116967"/>
                  </a:cubicBezTo>
                  <a:cubicBezTo>
                    <a:pt x="1549813" y="114586"/>
                    <a:pt x="1534478" y="112109"/>
                    <a:pt x="1518857" y="109633"/>
                  </a:cubicBezTo>
                  <a:cubicBezTo>
                    <a:pt x="1503331" y="107347"/>
                    <a:pt x="1487519" y="105632"/>
                    <a:pt x="1471613" y="103632"/>
                  </a:cubicBezTo>
                  <a:cubicBezTo>
                    <a:pt x="1439799" y="99727"/>
                    <a:pt x="1407605" y="95250"/>
                    <a:pt x="1374743" y="92869"/>
                  </a:cubicBezTo>
                  <a:cubicBezTo>
                    <a:pt x="1358360" y="91440"/>
                    <a:pt x="1341882" y="89916"/>
                    <a:pt x="1325309" y="88392"/>
                  </a:cubicBezTo>
                  <a:cubicBezTo>
                    <a:pt x="1308735" y="86582"/>
                    <a:pt x="1292066" y="85725"/>
                    <a:pt x="1275302" y="84868"/>
                  </a:cubicBezTo>
                  <a:cubicBezTo>
                    <a:pt x="1258538" y="83915"/>
                    <a:pt x="1241679" y="83058"/>
                    <a:pt x="1224820" y="82106"/>
                  </a:cubicBezTo>
                  <a:cubicBezTo>
                    <a:pt x="1207961" y="81248"/>
                    <a:pt x="1191006" y="79915"/>
                    <a:pt x="1174052" y="79915"/>
                  </a:cubicBezTo>
                  <a:cubicBezTo>
                    <a:pt x="1140047" y="79248"/>
                    <a:pt x="1105948" y="78677"/>
                    <a:pt x="1071848" y="78010"/>
                  </a:cubicBezTo>
                  <a:cubicBezTo>
                    <a:pt x="1037558" y="78677"/>
                    <a:pt x="1003268" y="79248"/>
                    <a:pt x="969074" y="79915"/>
                  </a:cubicBezTo>
                  <a:cubicBezTo>
                    <a:pt x="951643" y="79915"/>
                    <a:pt x="935069" y="81344"/>
                    <a:pt x="918305" y="82106"/>
                  </a:cubicBezTo>
                  <a:cubicBezTo>
                    <a:pt x="901541" y="83058"/>
                    <a:pt x="884873" y="83915"/>
                    <a:pt x="868204" y="84868"/>
                  </a:cubicBezTo>
                  <a:cubicBezTo>
                    <a:pt x="851535" y="85725"/>
                    <a:pt x="834962" y="86582"/>
                    <a:pt x="818388" y="88392"/>
                  </a:cubicBezTo>
                  <a:cubicBezTo>
                    <a:pt x="801815" y="89916"/>
                    <a:pt x="785336" y="91345"/>
                    <a:pt x="768953" y="92773"/>
                  </a:cubicBezTo>
                  <a:cubicBezTo>
                    <a:pt x="736092" y="95155"/>
                    <a:pt x="703898" y="99727"/>
                    <a:pt x="672084" y="103632"/>
                  </a:cubicBezTo>
                  <a:cubicBezTo>
                    <a:pt x="656177" y="105632"/>
                    <a:pt x="640366" y="107347"/>
                    <a:pt x="624840" y="109633"/>
                  </a:cubicBezTo>
                  <a:cubicBezTo>
                    <a:pt x="609314" y="112109"/>
                    <a:pt x="593884" y="114586"/>
                    <a:pt x="578739" y="116967"/>
                  </a:cubicBezTo>
                  <a:cubicBezTo>
                    <a:pt x="563499" y="119348"/>
                    <a:pt x="548450" y="121730"/>
                    <a:pt x="533495" y="124111"/>
                  </a:cubicBezTo>
                  <a:cubicBezTo>
                    <a:pt x="518732" y="126968"/>
                    <a:pt x="504063" y="129731"/>
                    <a:pt x="489585" y="132493"/>
                  </a:cubicBezTo>
                  <a:cubicBezTo>
                    <a:pt x="475107" y="135160"/>
                    <a:pt x="460820" y="137922"/>
                    <a:pt x="446818" y="140494"/>
                  </a:cubicBezTo>
                  <a:cubicBezTo>
                    <a:pt x="432911" y="143542"/>
                    <a:pt x="419100" y="146590"/>
                    <a:pt x="405575" y="149638"/>
                  </a:cubicBezTo>
                  <a:cubicBezTo>
                    <a:pt x="392049" y="152591"/>
                    <a:pt x="378714" y="155448"/>
                    <a:pt x="365665" y="158306"/>
                  </a:cubicBezTo>
                  <a:cubicBezTo>
                    <a:pt x="352711" y="161544"/>
                    <a:pt x="339947" y="164783"/>
                    <a:pt x="327470" y="167831"/>
                  </a:cubicBezTo>
                  <a:cubicBezTo>
                    <a:pt x="314992" y="170974"/>
                    <a:pt x="302705" y="173927"/>
                    <a:pt x="290798" y="176975"/>
                  </a:cubicBezTo>
                  <a:cubicBezTo>
                    <a:pt x="278892" y="180308"/>
                    <a:pt x="267367" y="183452"/>
                    <a:pt x="256032" y="186595"/>
                  </a:cubicBezTo>
                  <a:cubicBezTo>
                    <a:pt x="244697" y="189738"/>
                    <a:pt x="233553" y="192500"/>
                    <a:pt x="222885" y="195739"/>
                  </a:cubicBezTo>
                  <a:cubicBezTo>
                    <a:pt x="212217" y="198977"/>
                    <a:pt x="201930" y="202120"/>
                    <a:pt x="191834" y="205169"/>
                  </a:cubicBezTo>
                  <a:cubicBezTo>
                    <a:pt x="171641" y="210979"/>
                    <a:pt x="153162" y="217551"/>
                    <a:pt x="135827" y="223076"/>
                  </a:cubicBezTo>
                  <a:cubicBezTo>
                    <a:pt x="118396" y="228505"/>
                    <a:pt x="102775" y="234315"/>
                    <a:pt x="88583" y="239268"/>
                  </a:cubicBezTo>
                  <a:cubicBezTo>
                    <a:pt x="60198" y="249555"/>
                    <a:pt x="37910" y="257937"/>
                    <a:pt x="22955" y="264128"/>
                  </a:cubicBezTo>
                  <a:cubicBezTo>
                    <a:pt x="8001" y="270415"/>
                    <a:pt x="0" y="273844"/>
                    <a:pt x="0" y="273844"/>
                  </a:cubicBezTo>
                  <a:cubicBezTo>
                    <a:pt x="0" y="273844"/>
                    <a:pt x="7049" y="268796"/>
                    <a:pt x="20955" y="260223"/>
                  </a:cubicBezTo>
                  <a:cubicBezTo>
                    <a:pt x="34862" y="251746"/>
                    <a:pt x="55340" y="239173"/>
                    <a:pt x="82391" y="225171"/>
                  </a:cubicBezTo>
                  <a:cubicBezTo>
                    <a:pt x="109347" y="210979"/>
                    <a:pt x="142399" y="194024"/>
                    <a:pt x="181547" y="177356"/>
                  </a:cubicBezTo>
                  <a:cubicBezTo>
                    <a:pt x="191262" y="173069"/>
                    <a:pt x="201359" y="168688"/>
                    <a:pt x="211741" y="164211"/>
                  </a:cubicBezTo>
                  <a:cubicBezTo>
                    <a:pt x="222123" y="159734"/>
                    <a:pt x="232981" y="155639"/>
                    <a:pt x="244031" y="151162"/>
                  </a:cubicBezTo>
                  <a:cubicBezTo>
                    <a:pt x="255175" y="146780"/>
                    <a:pt x="266605" y="142304"/>
                    <a:pt x="278225" y="137732"/>
                  </a:cubicBezTo>
                  <a:cubicBezTo>
                    <a:pt x="290036" y="133541"/>
                    <a:pt x="302133" y="129254"/>
                    <a:pt x="314516" y="124873"/>
                  </a:cubicBezTo>
                  <a:cubicBezTo>
                    <a:pt x="326898" y="120587"/>
                    <a:pt x="339566" y="116205"/>
                    <a:pt x="352425" y="111728"/>
                  </a:cubicBezTo>
                  <a:cubicBezTo>
                    <a:pt x="365474" y="107728"/>
                    <a:pt x="378714" y="103537"/>
                    <a:pt x="392240" y="99441"/>
                  </a:cubicBezTo>
                  <a:cubicBezTo>
                    <a:pt x="405765" y="95345"/>
                    <a:pt x="419576" y="91154"/>
                    <a:pt x="433578" y="86868"/>
                  </a:cubicBezTo>
                  <a:cubicBezTo>
                    <a:pt x="447675" y="82963"/>
                    <a:pt x="462058" y="79153"/>
                    <a:pt x="476631" y="75248"/>
                  </a:cubicBezTo>
                  <a:cubicBezTo>
                    <a:pt x="491204" y="71438"/>
                    <a:pt x="505968" y="67628"/>
                    <a:pt x="520922" y="63818"/>
                  </a:cubicBezTo>
                  <a:cubicBezTo>
                    <a:pt x="535972" y="60484"/>
                    <a:pt x="551307" y="57150"/>
                    <a:pt x="566738" y="53816"/>
                  </a:cubicBezTo>
                  <a:cubicBezTo>
                    <a:pt x="582168" y="50483"/>
                    <a:pt x="597884" y="47149"/>
                    <a:pt x="613601" y="43815"/>
                  </a:cubicBezTo>
                  <a:cubicBezTo>
                    <a:pt x="629412" y="40672"/>
                    <a:pt x="645509" y="38195"/>
                    <a:pt x="661702" y="35338"/>
                  </a:cubicBezTo>
                  <a:cubicBezTo>
                    <a:pt x="677894" y="32576"/>
                    <a:pt x="694277" y="29813"/>
                    <a:pt x="710756" y="27051"/>
                  </a:cubicBezTo>
                  <a:cubicBezTo>
                    <a:pt x="727234" y="24098"/>
                    <a:pt x="743998" y="22669"/>
                    <a:pt x="760762" y="20384"/>
                  </a:cubicBezTo>
                  <a:cubicBezTo>
                    <a:pt x="794385" y="16478"/>
                    <a:pt x="828199" y="11335"/>
                    <a:pt x="862965" y="9430"/>
                  </a:cubicBezTo>
                  <a:cubicBezTo>
                    <a:pt x="880301" y="8096"/>
                    <a:pt x="897731" y="6858"/>
                    <a:pt x="915162" y="5525"/>
                  </a:cubicBezTo>
                  <a:cubicBezTo>
                    <a:pt x="932593" y="4286"/>
                    <a:pt x="950309" y="2667"/>
                    <a:pt x="967359" y="2572"/>
                  </a:cubicBezTo>
                  <a:cubicBezTo>
                    <a:pt x="1002125" y="1715"/>
                    <a:pt x="1036987" y="857"/>
                    <a:pt x="1071848" y="0"/>
                  </a:cubicBezTo>
                  <a:cubicBezTo>
                    <a:pt x="1106900" y="857"/>
                    <a:pt x="1141952" y="1715"/>
                    <a:pt x="1176909" y="2667"/>
                  </a:cubicBezTo>
                  <a:cubicBezTo>
                    <a:pt x="1194340" y="2762"/>
                    <a:pt x="1211771" y="4382"/>
                    <a:pt x="1229106" y="5620"/>
                  </a:cubicBezTo>
                  <a:cubicBezTo>
                    <a:pt x="1246442" y="6953"/>
                    <a:pt x="1263777" y="8192"/>
                    <a:pt x="1280922" y="9525"/>
                  </a:cubicBezTo>
                  <a:cubicBezTo>
                    <a:pt x="1315403" y="11335"/>
                    <a:pt x="1349312" y="16574"/>
                    <a:pt x="1382935" y="20479"/>
                  </a:cubicBezTo>
                  <a:cubicBezTo>
                    <a:pt x="1399699" y="22765"/>
                    <a:pt x="1416463" y="24194"/>
                    <a:pt x="1432941" y="27051"/>
                  </a:cubicBezTo>
                  <a:cubicBezTo>
                    <a:pt x="1449419" y="29813"/>
                    <a:pt x="1465707" y="32576"/>
                    <a:pt x="1481995" y="35338"/>
                  </a:cubicBezTo>
                  <a:cubicBezTo>
                    <a:pt x="1498187" y="38195"/>
                    <a:pt x="1514285" y="40672"/>
                    <a:pt x="1530096" y="43720"/>
                  </a:cubicBezTo>
                  <a:cubicBezTo>
                    <a:pt x="1545908" y="47149"/>
                    <a:pt x="1561529" y="50483"/>
                    <a:pt x="1576959" y="53721"/>
                  </a:cubicBezTo>
                  <a:cubicBezTo>
                    <a:pt x="1592389" y="57150"/>
                    <a:pt x="1607630" y="60484"/>
                    <a:pt x="1622774" y="63722"/>
                  </a:cubicBezTo>
                  <a:cubicBezTo>
                    <a:pt x="1637729" y="67628"/>
                    <a:pt x="1652492" y="71438"/>
                    <a:pt x="1667066" y="75152"/>
                  </a:cubicBezTo>
                  <a:cubicBezTo>
                    <a:pt x="1681639" y="78962"/>
                    <a:pt x="1695926" y="82772"/>
                    <a:pt x="1710118" y="86487"/>
                  </a:cubicBezTo>
                  <a:cubicBezTo>
                    <a:pt x="1724120" y="90773"/>
                    <a:pt x="1737932" y="94869"/>
                    <a:pt x="1751457" y="99060"/>
                  </a:cubicBezTo>
                  <a:cubicBezTo>
                    <a:pt x="1764983" y="103251"/>
                    <a:pt x="1778222" y="107347"/>
                    <a:pt x="1791272" y="111347"/>
                  </a:cubicBezTo>
                  <a:cubicBezTo>
                    <a:pt x="1804130" y="115824"/>
                    <a:pt x="1816799" y="120206"/>
                    <a:pt x="1829181" y="124492"/>
                  </a:cubicBezTo>
                  <a:cubicBezTo>
                    <a:pt x="1841564" y="128873"/>
                    <a:pt x="1853660" y="133160"/>
                    <a:pt x="1865471" y="137351"/>
                  </a:cubicBezTo>
                  <a:cubicBezTo>
                    <a:pt x="1877187" y="141923"/>
                    <a:pt x="1888522" y="146399"/>
                    <a:pt x="1899666" y="150781"/>
                  </a:cubicBezTo>
                  <a:cubicBezTo>
                    <a:pt x="1910715" y="155258"/>
                    <a:pt x="1921574" y="159353"/>
                    <a:pt x="1931956" y="163830"/>
                  </a:cubicBezTo>
                  <a:cubicBezTo>
                    <a:pt x="1942338" y="168307"/>
                    <a:pt x="1952435" y="172783"/>
                    <a:pt x="1962150" y="176975"/>
                  </a:cubicBezTo>
                  <a:cubicBezTo>
                    <a:pt x="1981676" y="185261"/>
                    <a:pt x="1999774" y="193739"/>
                    <a:pt x="2016252" y="201930"/>
                  </a:cubicBezTo>
                  <a:cubicBezTo>
                    <a:pt x="2032826" y="209741"/>
                    <a:pt x="2047780" y="217837"/>
                    <a:pt x="2061305" y="224790"/>
                  </a:cubicBezTo>
                  <a:cubicBezTo>
                    <a:pt x="2088356" y="238887"/>
                    <a:pt x="2108835" y="251460"/>
                    <a:pt x="2122742" y="259842"/>
                  </a:cubicBezTo>
                  <a:cubicBezTo>
                    <a:pt x="2136648" y="268891"/>
                    <a:pt x="2143792" y="273844"/>
                    <a:pt x="2143792" y="273844"/>
                  </a:cubicBezTo>
                  <a:close/>
                </a:path>
              </a:pathLst>
            </a:custGeom>
            <a:grpFill/>
            <a:ln w="9525" cap="flat">
              <a:noFill/>
              <a:prstDash val="solid"/>
              <a:miter/>
            </a:ln>
          </p:spPr>
          <p:txBody>
            <a:bodyPr rtlCol="0" anchor="ctr"/>
            <a:lstStyle/>
            <a:p>
              <a:endParaRPr lang="en-US" sz="1050"/>
            </a:p>
          </p:txBody>
        </p:sp>
      </p:grpSp>
      <p:pic>
        <p:nvPicPr>
          <p:cNvPr id="21" name="Afbeelding 20">
            <a:extLst>
              <a:ext uri="{FF2B5EF4-FFF2-40B4-BE49-F238E27FC236}">
                <a16:creationId xmlns:a16="http://schemas.microsoft.com/office/drawing/2014/main" id="{9DA5C52D-5011-4E45-BAA5-1DD0043E209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125030"/>
            <a:ext cx="9144000" cy="697735"/>
          </a:xfrm>
          <a:prstGeom prst="rect">
            <a:avLst/>
          </a:prstGeom>
        </p:spPr>
      </p:pic>
      <p:sp>
        <p:nvSpPr>
          <p:cNvPr id="3" name="Tijdelijke aanduiding voor tekst 2">
            <a:extLst>
              <a:ext uri="{FF2B5EF4-FFF2-40B4-BE49-F238E27FC236}">
                <a16:creationId xmlns:a16="http://schemas.microsoft.com/office/drawing/2014/main" id="{649317B1-C71E-46D1-BFAB-E46C09E531C5}"/>
              </a:ext>
            </a:extLst>
          </p:cNvPr>
          <p:cNvSpPr>
            <a:spLocks noGrp="1"/>
          </p:cNvSpPr>
          <p:nvPr>
            <p:ph type="body" sz="quarter" idx="10" hasCustomPrompt="1"/>
          </p:nvPr>
        </p:nvSpPr>
        <p:spPr>
          <a:xfrm>
            <a:off x="514350" y="1733798"/>
            <a:ext cx="486966" cy="474195"/>
          </a:xfrm>
          <a:solidFill>
            <a:schemeClr val="bg1"/>
          </a:solidFill>
        </p:spPr>
        <p:txBody>
          <a:bodyPr anchor="ctr"/>
          <a:lstStyle>
            <a:lvl1pPr marL="0" indent="0" algn="ctr">
              <a:buFontTx/>
              <a:buNone/>
              <a:defRPr sz="2400" b="1">
                <a:solidFill>
                  <a:schemeClr val="accent1"/>
                </a:solidFill>
              </a:defRPr>
            </a:lvl1pPr>
          </a:lstStyle>
          <a:p>
            <a:pPr lvl="0"/>
            <a:r>
              <a:rPr lang="en-US"/>
              <a:t>1</a:t>
            </a:r>
          </a:p>
        </p:txBody>
      </p:sp>
      <p:sp>
        <p:nvSpPr>
          <p:cNvPr id="40" name="Tijdelijke aanduiding voor tekst 2">
            <a:extLst>
              <a:ext uri="{FF2B5EF4-FFF2-40B4-BE49-F238E27FC236}">
                <a16:creationId xmlns:a16="http://schemas.microsoft.com/office/drawing/2014/main" id="{D53D782C-CB66-4AB7-BC07-D5BBA429BFC6}"/>
              </a:ext>
            </a:extLst>
          </p:cNvPr>
          <p:cNvSpPr>
            <a:spLocks noGrp="1"/>
          </p:cNvSpPr>
          <p:nvPr>
            <p:ph type="body" sz="quarter" idx="11" hasCustomPrompt="1"/>
          </p:nvPr>
        </p:nvSpPr>
        <p:spPr>
          <a:xfrm>
            <a:off x="514350" y="2345503"/>
            <a:ext cx="486966" cy="474195"/>
          </a:xfrm>
          <a:solidFill>
            <a:schemeClr val="bg1"/>
          </a:solidFill>
        </p:spPr>
        <p:txBody>
          <a:bodyPr anchor="ctr"/>
          <a:lstStyle>
            <a:lvl1pPr marL="0" indent="0" algn="ctr">
              <a:buFontTx/>
              <a:buNone/>
              <a:defRPr sz="2400" b="1">
                <a:solidFill>
                  <a:schemeClr val="accent1"/>
                </a:solidFill>
              </a:defRPr>
            </a:lvl1pPr>
          </a:lstStyle>
          <a:p>
            <a:pPr lvl="0"/>
            <a:r>
              <a:rPr lang="en-US"/>
              <a:t>2</a:t>
            </a:r>
          </a:p>
        </p:txBody>
      </p:sp>
      <p:sp>
        <p:nvSpPr>
          <p:cNvPr id="41" name="Tijdelijke aanduiding voor tekst 2">
            <a:extLst>
              <a:ext uri="{FF2B5EF4-FFF2-40B4-BE49-F238E27FC236}">
                <a16:creationId xmlns:a16="http://schemas.microsoft.com/office/drawing/2014/main" id="{5668C869-E7FB-4363-B4E1-CB4342553719}"/>
              </a:ext>
            </a:extLst>
          </p:cNvPr>
          <p:cNvSpPr>
            <a:spLocks noGrp="1"/>
          </p:cNvSpPr>
          <p:nvPr>
            <p:ph type="body" sz="quarter" idx="12" hasCustomPrompt="1"/>
          </p:nvPr>
        </p:nvSpPr>
        <p:spPr>
          <a:xfrm>
            <a:off x="514350" y="2968581"/>
            <a:ext cx="486966" cy="474195"/>
          </a:xfrm>
          <a:solidFill>
            <a:schemeClr val="bg1"/>
          </a:solidFill>
        </p:spPr>
        <p:txBody>
          <a:bodyPr anchor="ctr"/>
          <a:lstStyle>
            <a:lvl1pPr marL="0" indent="0" algn="ctr">
              <a:buFontTx/>
              <a:buNone/>
              <a:defRPr sz="2400" b="1">
                <a:solidFill>
                  <a:schemeClr val="accent1"/>
                </a:solidFill>
              </a:defRPr>
            </a:lvl1pPr>
          </a:lstStyle>
          <a:p>
            <a:pPr lvl="0"/>
            <a:r>
              <a:rPr lang="en-US"/>
              <a:t>3</a:t>
            </a:r>
          </a:p>
        </p:txBody>
      </p:sp>
      <p:sp>
        <p:nvSpPr>
          <p:cNvPr id="42" name="Tijdelijke aanduiding voor tekst 2">
            <a:extLst>
              <a:ext uri="{FF2B5EF4-FFF2-40B4-BE49-F238E27FC236}">
                <a16:creationId xmlns:a16="http://schemas.microsoft.com/office/drawing/2014/main" id="{D2C145EA-1B48-4306-84D5-4FBF146E0BA3}"/>
              </a:ext>
            </a:extLst>
          </p:cNvPr>
          <p:cNvSpPr>
            <a:spLocks noGrp="1"/>
          </p:cNvSpPr>
          <p:nvPr>
            <p:ph type="body" sz="quarter" idx="13" hasCustomPrompt="1"/>
          </p:nvPr>
        </p:nvSpPr>
        <p:spPr>
          <a:xfrm>
            <a:off x="514350" y="3586789"/>
            <a:ext cx="486966" cy="474195"/>
          </a:xfrm>
          <a:solidFill>
            <a:schemeClr val="bg1"/>
          </a:solidFill>
        </p:spPr>
        <p:txBody>
          <a:bodyPr anchor="ctr"/>
          <a:lstStyle>
            <a:lvl1pPr marL="0" indent="0" algn="ctr">
              <a:buFontTx/>
              <a:buNone/>
              <a:defRPr sz="2400" b="1">
                <a:solidFill>
                  <a:schemeClr val="accent1"/>
                </a:solidFill>
              </a:defRPr>
            </a:lvl1pPr>
          </a:lstStyle>
          <a:p>
            <a:pPr lvl="0"/>
            <a:r>
              <a:rPr lang="en-US"/>
              <a:t>4</a:t>
            </a:r>
          </a:p>
        </p:txBody>
      </p:sp>
      <p:sp>
        <p:nvSpPr>
          <p:cNvPr id="43" name="Tijdelijke aanduiding voor tekst 2">
            <a:extLst>
              <a:ext uri="{FF2B5EF4-FFF2-40B4-BE49-F238E27FC236}">
                <a16:creationId xmlns:a16="http://schemas.microsoft.com/office/drawing/2014/main" id="{89BCA940-0B88-40BB-B9A5-45E3E9599C00}"/>
              </a:ext>
            </a:extLst>
          </p:cNvPr>
          <p:cNvSpPr>
            <a:spLocks noGrp="1"/>
          </p:cNvSpPr>
          <p:nvPr>
            <p:ph type="body" sz="quarter" idx="14" hasCustomPrompt="1"/>
          </p:nvPr>
        </p:nvSpPr>
        <p:spPr>
          <a:xfrm>
            <a:off x="3309533" y="1733798"/>
            <a:ext cx="486966" cy="474195"/>
          </a:xfrm>
          <a:solidFill>
            <a:schemeClr val="bg1"/>
          </a:solidFill>
        </p:spPr>
        <p:txBody>
          <a:bodyPr anchor="ctr"/>
          <a:lstStyle>
            <a:lvl1pPr marL="0" indent="0" algn="ctr">
              <a:buFontTx/>
              <a:buNone/>
              <a:defRPr sz="2400" b="1">
                <a:solidFill>
                  <a:schemeClr val="accent1"/>
                </a:solidFill>
              </a:defRPr>
            </a:lvl1pPr>
          </a:lstStyle>
          <a:p>
            <a:pPr lvl="0"/>
            <a:r>
              <a:rPr lang="en-US"/>
              <a:t>5</a:t>
            </a:r>
          </a:p>
        </p:txBody>
      </p:sp>
      <p:sp>
        <p:nvSpPr>
          <p:cNvPr id="44" name="Tijdelijke aanduiding voor tekst 2">
            <a:extLst>
              <a:ext uri="{FF2B5EF4-FFF2-40B4-BE49-F238E27FC236}">
                <a16:creationId xmlns:a16="http://schemas.microsoft.com/office/drawing/2014/main" id="{761E9A19-F1DA-406A-8FA7-517E814ED6D8}"/>
              </a:ext>
            </a:extLst>
          </p:cNvPr>
          <p:cNvSpPr>
            <a:spLocks noGrp="1"/>
          </p:cNvSpPr>
          <p:nvPr>
            <p:ph type="body" sz="quarter" idx="15" hasCustomPrompt="1"/>
          </p:nvPr>
        </p:nvSpPr>
        <p:spPr>
          <a:xfrm>
            <a:off x="3309533" y="2345503"/>
            <a:ext cx="486966" cy="474195"/>
          </a:xfrm>
          <a:solidFill>
            <a:schemeClr val="bg1"/>
          </a:solidFill>
        </p:spPr>
        <p:txBody>
          <a:bodyPr anchor="ctr"/>
          <a:lstStyle>
            <a:lvl1pPr marL="0" indent="0" algn="ctr">
              <a:buFontTx/>
              <a:buNone/>
              <a:defRPr sz="2400" b="1">
                <a:solidFill>
                  <a:schemeClr val="accent1"/>
                </a:solidFill>
              </a:defRPr>
            </a:lvl1pPr>
          </a:lstStyle>
          <a:p>
            <a:pPr lvl="0"/>
            <a:r>
              <a:rPr lang="en-US"/>
              <a:t>6</a:t>
            </a:r>
          </a:p>
        </p:txBody>
      </p:sp>
      <p:sp>
        <p:nvSpPr>
          <p:cNvPr id="45" name="Tijdelijke aanduiding voor tekst 2">
            <a:extLst>
              <a:ext uri="{FF2B5EF4-FFF2-40B4-BE49-F238E27FC236}">
                <a16:creationId xmlns:a16="http://schemas.microsoft.com/office/drawing/2014/main" id="{D2037B76-C53C-44FD-BFA4-4B5F48E1D1B6}"/>
              </a:ext>
            </a:extLst>
          </p:cNvPr>
          <p:cNvSpPr>
            <a:spLocks noGrp="1"/>
          </p:cNvSpPr>
          <p:nvPr>
            <p:ph type="body" sz="quarter" idx="16" hasCustomPrompt="1"/>
          </p:nvPr>
        </p:nvSpPr>
        <p:spPr>
          <a:xfrm>
            <a:off x="3309533" y="2968581"/>
            <a:ext cx="486966" cy="474195"/>
          </a:xfrm>
          <a:solidFill>
            <a:schemeClr val="bg1"/>
          </a:solidFill>
        </p:spPr>
        <p:txBody>
          <a:bodyPr anchor="ctr"/>
          <a:lstStyle>
            <a:lvl1pPr marL="0" indent="0" algn="ctr">
              <a:buFontTx/>
              <a:buNone/>
              <a:defRPr sz="2400" b="1">
                <a:solidFill>
                  <a:schemeClr val="accent1"/>
                </a:solidFill>
              </a:defRPr>
            </a:lvl1pPr>
          </a:lstStyle>
          <a:p>
            <a:pPr lvl="0"/>
            <a:r>
              <a:rPr lang="en-US"/>
              <a:t>7</a:t>
            </a:r>
          </a:p>
        </p:txBody>
      </p:sp>
      <p:sp>
        <p:nvSpPr>
          <p:cNvPr id="46" name="Tijdelijke aanduiding voor tekst 2">
            <a:extLst>
              <a:ext uri="{FF2B5EF4-FFF2-40B4-BE49-F238E27FC236}">
                <a16:creationId xmlns:a16="http://schemas.microsoft.com/office/drawing/2014/main" id="{F34AEA56-E9E3-4F7E-8ECE-FB191D2F21A1}"/>
              </a:ext>
            </a:extLst>
          </p:cNvPr>
          <p:cNvSpPr>
            <a:spLocks noGrp="1"/>
          </p:cNvSpPr>
          <p:nvPr>
            <p:ph type="body" sz="quarter" idx="17" hasCustomPrompt="1"/>
          </p:nvPr>
        </p:nvSpPr>
        <p:spPr>
          <a:xfrm>
            <a:off x="3309533" y="3586789"/>
            <a:ext cx="486966" cy="474195"/>
          </a:xfrm>
          <a:solidFill>
            <a:schemeClr val="bg1"/>
          </a:solidFill>
        </p:spPr>
        <p:txBody>
          <a:bodyPr anchor="ctr"/>
          <a:lstStyle>
            <a:lvl1pPr marL="0" indent="0" algn="ctr">
              <a:buFontTx/>
              <a:buNone/>
              <a:defRPr sz="2400" b="1">
                <a:solidFill>
                  <a:schemeClr val="accent1"/>
                </a:solidFill>
              </a:defRPr>
            </a:lvl1pPr>
          </a:lstStyle>
          <a:p>
            <a:pPr lvl="0"/>
            <a:r>
              <a:rPr lang="en-US"/>
              <a:t>8</a:t>
            </a:r>
          </a:p>
        </p:txBody>
      </p:sp>
      <p:sp>
        <p:nvSpPr>
          <p:cNvPr id="50" name="Tijdelijke aanduiding voor tekst 2">
            <a:extLst>
              <a:ext uri="{FF2B5EF4-FFF2-40B4-BE49-F238E27FC236}">
                <a16:creationId xmlns:a16="http://schemas.microsoft.com/office/drawing/2014/main" id="{347FD207-472A-4A93-B9F2-4BAAB9764CA2}"/>
              </a:ext>
            </a:extLst>
          </p:cNvPr>
          <p:cNvSpPr>
            <a:spLocks noGrp="1"/>
          </p:cNvSpPr>
          <p:nvPr>
            <p:ph type="body" sz="quarter" idx="18" hasCustomPrompt="1"/>
          </p:nvPr>
        </p:nvSpPr>
        <p:spPr>
          <a:xfrm>
            <a:off x="6094712" y="1733798"/>
            <a:ext cx="486966" cy="474195"/>
          </a:xfrm>
          <a:solidFill>
            <a:schemeClr val="bg1"/>
          </a:solidFill>
        </p:spPr>
        <p:txBody>
          <a:bodyPr anchor="ctr"/>
          <a:lstStyle>
            <a:lvl1pPr marL="0" indent="0" algn="ctr">
              <a:buFontTx/>
              <a:buNone/>
              <a:defRPr sz="2400" b="1">
                <a:solidFill>
                  <a:schemeClr val="accent1"/>
                </a:solidFill>
              </a:defRPr>
            </a:lvl1pPr>
          </a:lstStyle>
          <a:p>
            <a:pPr lvl="0"/>
            <a:r>
              <a:rPr lang="en-US"/>
              <a:t>9</a:t>
            </a:r>
          </a:p>
        </p:txBody>
      </p:sp>
      <p:sp>
        <p:nvSpPr>
          <p:cNvPr id="51" name="Tijdelijke aanduiding voor tekst 2">
            <a:extLst>
              <a:ext uri="{FF2B5EF4-FFF2-40B4-BE49-F238E27FC236}">
                <a16:creationId xmlns:a16="http://schemas.microsoft.com/office/drawing/2014/main" id="{7132662C-872C-4C48-A3BB-094D40CEB335}"/>
              </a:ext>
            </a:extLst>
          </p:cNvPr>
          <p:cNvSpPr>
            <a:spLocks noGrp="1"/>
          </p:cNvSpPr>
          <p:nvPr>
            <p:ph type="body" sz="quarter" idx="19" hasCustomPrompt="1"/>
          </p:nvPr>
        </p:nvSpPr>
        <p:spPr>
          <a:xfrm>
            <a:off x="6094712" y="2345503"/>
            <a:ext cx="486966" cy="474195"/>
          </a:xfrm>
          <a:solidFill>
            <a:schemeClr val="bg1"/>
          </a:solidFill>
        </p:spPr>
        <p:txBody>
          <a:bodyPr anchor="ctr"/>
          <a:lstStyle>
            <a:lvl1pPr marL="0" indent="0" algn="ctr">
              <a:buFontTx/>
              <a:buNone/>
              <a:defRPr sz="2400" b="1">
                <a:solidFill>
                  <a:schemeClr val="accent1"/>
                </a:solidFill>
              </a:defRPr>
            </a:lvl1pPr>
          </a:lstStyle>
          <a:p>
            <a:pPr lvl="0"/>
            <a:r>
              <a:rPr lang="en-US"/>
              <a:t>10</a:t>
            </a:r>
          </a:p>
        </p:txBody>
      </p:sp>
      <p:sp>
        <p:nvSpPr>
          <p:cNvPr id="52" name="Tijdelijke aanduiding voor tekst 2">
            <a:extLst>
              <a:ext uri="{FF2B5EF4-FFF2-40B4-BE49-F238E27FC236}">
                <a16:creationId xmlns:a16="http://schemas.microsoft.com/office/drawing/2014/main" id="{8DF68919-2CE7-4A70-B05A-98EE68B46D91}"/>
              </a:ext>
            </a:extLst>
          </p:cNvPr>
          <p:cNvSpPr>
            <a:spLocks noGrp="1"/>
          </p:cNvSpPr>
          <p:nvPr>
            <p:ph type="body" sz="quarter" idx="20" hasCustomPrompt="1"/>
          </p:nvPr>
        </p:nvSpPr>
        <p:spPr>
          <a:xfrm>
            <a:off x="6094712" y="2968581"/>
            <a:ext cx="486966" cy="474195"/>
          </a:xfrm>
          <a:solidFill>
            <a:schemeClr val="bg1"/>
          </a:solidFill>
        </p:spPr>
        <p:txBody>
          <a:bodyPr anchor="ctr"/>
          <a:lstStyle>
            <a:lvl1pPr marL="0" indent="0" algn="ctr">
              <a:buFontTx/>
              <a:buNone/>
              <a:defRPr sz="2400" b="1">
                <a:solidFill>
                  <a:schemeClr val="accent1"/>
                </a:solidFill>
              </a:defRPr>
            </a:lvl1pPr>
          </a:lstStyle>
          <a:p>
            <a:pPr lvl="0"/>
            <a:r>
              <a:rPr lang="en-US"/>
              <a:t>11</a:t>
            </a:r>
          </a:p>
        </p:txBody>
      </p:sp>
      <p:sp>
        <p:nvSpPr>
          <p:cNvPr id="53" name="Tijdelijke aanduiding voor tekst 2">
            <a:extLst>
              <a:ext uri="{FF2B5EF4-FFF2-40B4-BE49-F238E27FC236}">
                <a16:creationId xmlns:a16="http://schemas.microsoft.com/office/drawing/2014/main" id="{36F2D008-D668-488D-8F78-09E5B8E7A705}"/>
              </a:ext>
            </a:extLst>
          </p:cNvPr>
          <p:cNvSpPr>
            <a:spLocks noGrp="1"/>
          </p:cNvSpPr>
          <p:nvPr>
            <p:ph type="body" sz="quarter" idx="21" hasCustomPrompt="1"/>
          </p:nvPr>
        </p:nvSpPr>
        <p:spPr>
          <a:xfrm>
            <a:off x="6094712" y="3586789"/>
            <a:ext cx="486966" cy="474195"/>
          </a:xfrm>
          <a:solidFill>
            <a:schemeClr val="bg1"/>
          </a:solidFill>
        </p:spPr>
        <p:txBody>
          <a:bodyPr anchor="ctr"/>
          <a:lstStyle>
            <a:lvl1pPr marL="0" indent="0" algn="ctr">
              <a:buFontTx/>
              <a:buNone/>
              <a:defRPr sz="2400" b="1">
                <a:solidFill>
                  <a:schemeClr val="accent1"/>
                </a:solidFill>
              </a:defRPr>
            </a:lvl1pPr>
          </a:lstStyle>
          <a:p>
            <a:pPr lvl="0"/>
            <a:r>
              <a:rPr lang="en-US"/>
              <a:t>12</a:t>
            </a:r>
          </a:p>
        </p:txBody>
      </p:sp>
      <p:sp>
        <p:nvSpPr>
          <p:cNvPr id="8" name="Tijdelijke aanduiding voor tekst 7">
            <a:extLst>
              <a:ext uri="{FF2B5EF4-FFF2-40B4-BE49-F238E27FC236}">
                <a16:creationId xmlns:a16="http://schemas.microsoft.com/office/drawing/2014/main" id="{7C86211A-AAEB-4A57-A461-AA4F52F03909}"/>
              </a:ext>
            </a:extLst>
          </p:cNvPr>
          <p:cNvSpPr>
            <a:spLocks noGrp="1"/>
          </p:cNvSpPr>
          <p:nvPr>
            <p:ph type="body" sz="quarter" idx="22" hasCustomPrompt="1"/>
          </p:nvPr>
        </p:nvSpPr>
        <p:spPr>
          <a:xfrm>
            <a:off x="1228725" y="1733797"/>
            <a:ext cx="1797844" cy="473869"/>
          </a:xfrm>
        </p:spPr>
        <p:txBody>
          <a:bodyPr anchor="ctr"/>
          <a:lstStyle>
            <a:lvl1pPr marL="0" indent="0">
              <a:buFontTx/>
              <a:buNone/>
              <a:defRPr>
                <a:solidFill>
                  <a:schemeClr val="bg1"/>
                </a:solidFill>
              </a:defRPr>
            </a:lvl1pPr>
          </a:lstStyle>
          <a:p>
            <a:pPr lvl="0"/>
            <a:r>
              <a:rPr lang="en-US"/>
              <a:t>Insert chapter </a:t>
            </a:r>
            <a:br>
              <a:rPr lang="en-US"/>
            </a:br>
            <a:r>
              <a:rPr lang="en-US"/>
              <a:t>title here</a:t>
            </a:r>
          </a:p>
        </p:txBody>
      </p:sp>
      <p:sp>
        <p:nvSpPr>
          <p:cNvPr id="54" name="Tijdelijke aanduiding voor tekst 7">
            <a:extLst>
              <a:ext uri="{FF2B5EF4-FFF2-40B4-BE49-F238E27FC236}">
                <a16:creationId xmlns:a16="http://schemas.microsoft.com/office/drawing/2014/main" id="{2C00DF19-FEE8-43F0-88B9-0DD94181D519}"/>
              </a:ext>
            </a:extLst>
          </p:cNvPr>
          <p:cNvSpPr>
            <a:spLocks noGrp="1"/>
          </p:cNvSpPr>
          <p:nvPr>
            <p:ph type="body" sz="quarter" idx="23" hasCustomPrompt="1"/>
          </p:nvPr>
        </p:nvSpPr>
        <p:spPr>
          <a:xfrm>
            <a:off x="1228725" y="2345830"/>
            <a:ext cx="1797844" cy="473869"/>
          </a:xfrm>
        </p:spPr>
        <p:txBody>
          <a:bodyPr anchor="ctr"/>
          <a:lstStyle>
            <a:lvl1pPr marL="0" indent="0">
              <a:buFontTx/>
              <a:buNone/>
              <a:defRPr>
                <a:solidFill>
                  <a:schemeClr val="bg1"/>
                </a:solidFill>
              </a:defRPr>
            </a:lvl1pPr>
          </a:lstStyle>
          <a:p>
            <a:pPr lvl="0"/>
            <a:r>
              <a:rPr lang="en-US"/>
              <a:t>Insert chapter </a:t>
            </a:r>
            <a:br>
              <a:rPr lang="en-US"/>
            </a:br>
            <a:r>
              <a:rPr lang="en-US"/>
              <a:t>title here</a:t>
            </a:r>
          </a:p>
        </p:txBody>
      </p:sp>
      <p:sp>
        <p:nvSpPr>
          <p:cNvPr id="55" name="Tijdelijke aanduiding voor tekst 7">
            <a:extLst>
              <a:ext uri="{FF2B5EF4-FFF2-40B4-BE49-F238E27FC236}">
                <a16:creationId xmlns:a16="http://schemas.microsoft.com/office/drawing/2014/main" id="{9FFD84B0-2121-45BA-B4E2-B4C71420D7D7}"/>
              </a:ext>
            </a:extLst>
          </p:cNvPr>
          <p:cNvSpPr>
            <a:spLocks noGrp="1"/>
          </p:cNvSpPr>
          <p:nvPr>
            <p:ph type="body" sz="quarter" idx="24" hasCustomPrompt="1"/>
          </p:nvPr>
        </p:nvSpPr>
        <p:spPr>
          <a:xfrm>
            <a:off x="1228725" y="2968908"/>
            <a:ext cx="1797844" cy="473869"/>
          </a:xfrm>
        </p:spPr>
        <p:txBody>
          <a:bodyPr anchor="ctr"/>
          <a:lstStyle>
            <a:lvl1pPr marL="0" indent="0">
              <a:buFontTx/>
              <a:buNone/>
              <a:defRPr>
                <a:solidFill>
                  <a:schemeClr val="bg1"/>
                </a:solidFill>
              </a:defRPr>
            </a:lvl1pPr>
          </a:lstStyle>
          <a:p>
            <a:pPr lvl="0"/>
            <a:r>
              <a:rPr lang="en-US"/>
              <a:t>Insert chapter </a:t>
            </a:r>
            <a:br>
              <a:rPr lang="en-US"/>
            </a:br>
            <a:r>
              <a:rPr lang="en-US"/>
              <a:t>title here</a:t>
            </a:r>
          </a:p>
        </p:txBody>
      </p:sp>
      <p:sp>
        <p:nvSpPr>
          <p:cNvPr id="56" name="Tijdelijke aanduiding voor tekst 7">
            <a:extLst>
              <a:ext uri="{FF2B5EF4-FFF2-40B4-BE49-F238E27FC236}">
                <a16:creationId xmlns:a16="http://schemas.microsoft.com/office/drawing/2014/main" id="{E1752C6A-1F3A-4775-8F07-F75235E5340F}"/>
              </a:ext>
            </a:extLst>
          </p:cNvPr>
          <p:cNvSpPr>
            <a:spLocks noGrp="1"/>
          </p:cNvSpPr>
          <p:nvPr>
            <p:ph type="body" sz="quarter" idx="25" hasCustomPrompt="1"/>
          </p:nvPr>
        </p:nvSpPr>
        <p:spPr>
          <a:xfrm>
            <a:off x="1228725" y="3587115"/>
            <a:ext cx="1797844" cy="473869"/>
          </a:xfrm>
        </p:spPr>
        <p:txBody>
          <a:bodyPr anchor="ctr"/>
          <a:lstStyle>
            <a:lvl1pPr marL="0" indent="0">
              <a:buFontTx/>
              <a:buNone/>
              <a:defRPr>
                <a:solidFill>
                  <a:schemeClr val="bg1"/>
                </a:solidFill>
              </a:defRPr>
            </a:lvl1pPr>
          </a:lstStyle>
          <a:p>
            <a:pPr lvl="0"/>
            <a:r>
              <a:rPr lang="en-US"/>
              <a:t>Insert chapter </a:t>
            </a:r>
            <a:br>
              <a:rPr lang="en-US"/>
            </a:br>
            <a:r>
              <a:rPr lang="en-US"/>
              <a:t>title here</a:t>
            </a:r>
          </a:p>
        </p:txBody>
      </p:sp>
      <p:sp>
        <p:nvSpPr>
          <p:cNvPr id="57" name="Tijdelijke aanduiding voor tekst 7">
            <a:extLst>
              <a:ext uri="{FF2B5EF4-FFF2-40B4-BE49-F238E27FC236}">
                <a16:creationId xmlns:a16="http://schemas.microsoft.com/office/drawing/2014/main" id="{7C6BFC4B-F4D2-46D9-A056-0D807794CF68}"/>
              </a:ext>
            </a:extLst>
          </p:cNvPr>
          <p:cNvSpPr>
            <a:spLocks noGrp="1"/>
          </p:cNvSpPr>
          <p:nvPr>
            <p:ph type="body" sz="quarter" idx="26" hasCustomPrompt="1"/>
          </p:nvPr>
        </p:nvSpPr>
        <p:spPr>
          <a:xfrm>
            <a:off x="4019715" y="1733797"/>
            <a:ext cx="1797844" cy="473869"/>
          </a:xfrm>
        </p:spPr>
        <p:txBody>
          <a:bodyPr anchor="ctr"/>
          <a:lstStyle>
            <a:lvl1pPr marL="0" indent="0">
              <a:buFontTx/>
              <a:buNone/>
              <a:defRPr>
                <a:solidFill>
                  <a:schemeClr val="bg1"/>
                </a:solidFill>
              </a:defRPr>
            </a:lvl1pPr>
          </a:lstStyle>
          <a:p>
            <a:pPr lvl="0"/>
            <a:r>
              <a:rPr lang="en-US"/>
              <a:t>Insert chapter </a:t>
            </a:r>
            <a:br>
              <a:rPr lang="en-US"/>
            </a:br>
            <a:r>
              <a:rPr lang="en-US"/>
              <a:t>title here</a:t>
            </a:r>
          </a:p>
        </p:txBody>
      </p:sp>
      <p:sp>
        <p:nvSpPr>
          <p:cNvPr id="58" name="Tijdelijke aanduiding voor tekst 7">
            <a:extLst>
              <a:ext uri="{FF2B5EF4-FFF2-40B4-BE49-F238E27FC236}">
                <a16:creationId xmlns:a16="http://schemas.microsoft.com/office/drawing/2014/main" id="{58D5CC5C-9C06-4106-8C7E-F6B25C224F61}"/>
              </a:ext>
            </a:extLst>
          </p:cNvPr>
          <p:cNvSpPr>
            <a:spLocks noGrp="1"/>
          </p:cNvSpPr>
          <p:nvPr>
            <p:ph type="body" sz="quarter" idx="27" hasCustomPrompt="1"/>
          </p:nvPr>
        </p:nvSpPr>
        <p:spPr>
          <a:xfrm>
            <a:off x="4019715" y="2345830"/>
            <a:ext cx="1797844" cy="473869"/>
          </a:xfrm>
        </p:spPr>
        <p:txBody>
          <a:bodyPr anchor="ctr"/>
          <a:lstStyle>
            <a:lvl1pPr marL="0" indent="0">
              <a:buFontTx/>
              <a:buNone/>
              <a:defRPr>
                <a:solidFill>
                  <a:schemeClr val="bg1"/>
                </a:solidFill>
              </a:defRPr>
            </a:lvl1pPr>
          </a:lstStyle>
          <a:p>
            <a:pPr lvl="0"/>
            <a:r>
              <a:rPr lang="en-US"/>
              <a:t>Insert chapter </a:t>
            </a:r>
            <a:br>
              <a:rPr lang="en-US"/>
            </a:br>
            <a:r>
              <a:rPr lang="en-US"/>
              <a:t>title here</a:t>
            </a:r>
          </a:p>
        </p:txBody>
      </p:sp>
      <p:sp>
        <p:nvSpPr>
          <p:cNvPr id="59" name="Tijdelijke aanduiding voor tekst 7">
            <a:extLst>
              <a:ext uri="{FF2B5EF4-FFF2-40B4-BE49-F238E27FC236}">
                <a16:creationId xmlns:a16="http://schemas.microsoft.com/office/drawing/2014/main" id="{B11EF53B-BECD-4C4B-9227-F218EEE06698}"/>
              </a:ext>
            </a:extLst>
          </p:cNvPr>
          <p:cNvSpPr>
            <a:spLocks noGrp="1"/>
          </p:cNvSpPr>
          <p:nvPr>
            <p:ph type="body" sz="quarter" idx="28" hasCustomPrompt="1"/>
          </p:nvPr>
        </p:nvSpPr>
        <p:spPr>
          <a:xfrm>
            <a:off x="4019715" y="2968908"/>
            <a:ext cx="1797844" cy="473869"/>
          </a:xfrm>
        </p:spPr>
        <p:txBody>
          <a:bodyPr anchor="ctr"/>
          <a:lstStyle>
            <a:lvl1pPr marL="0" indent="0">
              <a:buFontTx/>
              <a:buNone/>
              <a:defRPr>
                <a:solidFill>
                  <a:schemeClr val="bg1"/>
                </a:solidFill>
              </a:defRPr>
            </a:lvl1pPr>
          </a:lstStyle>
          <a:p>
            <a:pPr lvl="0"/>
            <a:r>
              <a:rPr lang="en-US"/>
              <a:t>Insert chapter </a:t>
            </a:r>
            <a:br>
              <a:rPr lang="en-US"/>
            </a:br>
            <a:r>
              <a:rPr lang="en-US"/>
              <a:t>title here</a:t>
            </a:r>
          </a:p>
        </p:txBody>
      </p:sp>
      <p:sp>
        <p:nvSpPr>
          <p:cNvPr id="60" name="Tijdelijke aanduiding voor tekst 7">
            <a:extLst>
              <a:ext uri="{FF2B5EF4-FFF2-40B4-BE49-F238E27FC236}">
                <a16:creationId xmlns:a16="http://schemas.microsoft.com/office/drawing/2014/main" id="{86998863-14BC-4DF7-A583-4989F43E0077}"/>
              </a:ext>
            </a:extLst>
          </p:cNvPr>
          <p:cNvSpPr>
            <a:spLocks noGrp="1"/>
          </p:cNvSpPr>
          <p:nvPr>
            <p:ph type="body" sz="quarter" idx="29" hasCustomPrompt="1"/>
          </p:nvPr>
        </p:nvSpPr>
        <p:spPr>
          <a:xfrm>
            <a:off x="4019715" y="3587115"/>
            <a:ext cx="1797844" cy="473869"/>
          </a:xfrm>
        </p:spPr>
        <p:txBody>
          <a:bodyPr anchor="ctr"/>
          <a:lstStyle>
            <a:lvl1pPr marL="0" indent="0">
              <a:buFontTx/>
              <a:buNone/>
              <a:defRPr>
                <a:solidFill>
                  <a:schemeClr val="bg1"/>
                </a:solidFill>
              </a:defRPr>
            </a:lvl1pPr>
          </a:lstStyle>
          <a:p>
            <a:pPr lvl="0"/>
            <a:r>
              <a:rPr lang="en-US"/>
              <a:t>Insert chapter </a:t>
            </a:r>
            <a:br>
              <a:rPr lang="en-US"/>
            </a:br>
            <a:r>
              <a:rPr lang="en-US"/>
              <a:t>title here</a:t>
            </a:r>
          </a:p>
        </p:txBody>
      </p:sp>
      <p:sp>
        <p:nvSpPr>
          <p:cNvPr id="61" name="Tijdelijke aanduiding voor tekst 7">
            <a:extLst>
              <a:ext uri="{FF2B5EF4-FFF2-40B4-BE49-F238E27FC236}">
                <a16:creationId xmlns:a16="http://schemas.microsoft.com/office/drawing/2014/main" id="{DEC69D4C-238A-4001-9522-9A3CE90B9DE8}"/>
              </a:ext>
            </a:extLst>
          </p:cNvPr>
          <p:cNvSpPr>
            <a:spLocks noGrp="1"/>
          </p:cNvSpPr>
          <p:nvPr>
            <p:ph type="body" sz="quarter" idx="30" hasCustomPrompt="1"/>
          </p:nvPr>
        </p:nvSpPr>
        <p:spPr>
          <a:xfrm>
            <a:off x="6822135" y="1733797"/>
            <a:ext cx="1797844" cy="473869"/>
          </a:xfrm>
        </p:spPr>
        <p:txBody>
          <a:bodyPr anchor="ctr"/>
          <a:lstStyle>
            <a:lvl1pPr marL="0" indent="0">
              <a:buFontTx/>
              <a:buNone/>
              <a:defRPr>
                <a:solidFill>
                  <a:schemeClr val="bg1"/>
                </a:solidFill>
              </a:defRPr>
            </a:lvl1pPr>
          </a:lstStyle>
          <a:p>
            <a:pPr lvl="0"/>
            <a:r>
              <a:rPr lang="en-US"/>
              <a:t>Insert chapter </a:t>
            </a:r>
            <a:br>
              <a:rPr lang="en-US"/>
            </a:br>
            <a:r>
              <a:rPr lang="en-US"/>
              <a:t>title here</a:t>
            </a:r>
          </a:p>
        </p:txBody>
      </p:sp>
      <p:sp>
        <p:nvSpPr>
          <p:cNvPr id="62" name="Tijdelijke aanduiding voor tekst 7">
            <a:extLst>
              <a:ext uri="{FF2B5EF4-FFF2-40B4-BE49-F238E27FC236}">
                <a16:creationId xmlns:a16="http://schemas.microsoft.com/office/drawing/2014/main" id="{35947475-196F-4E09-BFF3-9EC2503717DA}"/>
              </a:ext>
            </a:extLst>
          </p:cNvPr>
          <p:cNvSpPr>
            <a:spLocks noGrp="1"/>
          </p:cNvSpPr>
          <p:nvPr>
            <p:ph type="body" sz="quarter" idx="31" hasCustomPrompt="1"/>
          </p:nvPr>
        </p:nvSpPr>
        <p:spPr>
          <a:xfrm>
            <a:off x="6822135" y="2345830"/>
            <a:ext cx="1797844" cy="473869"/>
          </a:xfrm>
        </p:spPr>
        <p:txBody>
          <a:bodyPr anchor="ctr"/>
          <a:lstStyle>
            <a:lvl1pPr marL="0" indent="0">
              <a:buFontTx/>
              <a:buNone/>
              <a:defRPr>
                <a:solidFill>
                  <a:schemeClr val="bg1"/>
                </a:solidFill>
              </a:defRPr>
            </a:lvl1pPr>
          </a:lstStyle>
          <a:p>
            <a:pPr lvl="0"/>
            <a:r>
              <a:rPr lang="en-US"/>
              <a:t>Insert chapter </a:t>
            </a:r>
            <a:br>
              <a:rPr lang="en-US"/>
            </a:br>
            <a:r>
              <a:rPr lang="en-US"/>
              <a:t>title here</a:t>
            </a:r>
          </a:p>
        </p:txBody>
      </p:sp>
      <p:sp>
        <p:nvSpPr>
          <p:cNvPr id="63" name="Tijdelijke aanduiding voor tekst 7">
            <a:extLst>
              <a:ext uri="{FF2B5EF4-FFF2-40B4-BE49-F238E27FC236}">
                <a16:creationId xmlns:a16="http://schemas.microsoft.com/office/drawing/2014/main" id="{F9C33A54-3C79-4029-96AF-ECD945160C55}"/>
              </a:ext>
            </a:extLst>
          </p:cNvPr>
          <p:cNvSpPr>
            <a:spLocks noGrp="1"/>
          </p:cNvSpPr>
          <p:nvPr>
            <p:ph type="body" sz="quarter" idx="32" hasCustomPrompt="1"/>
          </p:nvPr>
        </p:nvSpPr>
        <p:spPr>
          <a:xfrm>
            <a:off x="6822135" y="2968908"/>
            <a:ext cx="1797844" cy="473869"/>
          </a:xfrm>
        </p:spPr>
        <p:txBody>
          <a:bodyPr anchor="ctr"/>
          <a:lstStyle>
            <a:lvl1pPr marL="0" indent="0">
              <a:buFontTx/>
              <a:buNone/>
              <a:defRPr>
                <a:solidFill>
                  <a:schemeClr val="bg1"/>
                </a:solidFill>
              </a:defRPr>
            </a:lvl1pPr>
          </a:lstStyle>
          <a:p>
            <a:pPr lvl="0"/>
            <a:r>
              <a:rPr lang="en-US"/>
              <a:t>Insert chapter </a:t>
            </a:r>
            <a:br>
              <a:rPr lang="en-US"/>
            </a:br>
            <a:r>
              <a:rPr lang="en-US"/>
              <a:t>title here</a:t>
            </a:r>
          </a:p>
        </p:txBody>
      </p:sp>
      <p:sp>
        <p:nvSpPr>
          <p:cNvPr id="64" name="Tijdelijke aanduiding voor tekst 7">
            <a:extLst>
              <a:ext uri="{FF2B5EF4-FFF2-40B4-BE49-F238E27FC236}">
                <a16:creationId xmlns:a16="http://schemas.microsoft.com/office/drawing/2014/main" id="{72FA2CF9-4A79-49C6-983D-8FB34667BBCE}"/>
              </a:ext>
            </a:extLst>
          </p:cNvPr>
          <p:cNvSpPr>
            <a:spLocks noGrp="1"/>
          </p:cNvSpPr>
          <p:nvPr>
            <p:ph type="body" sz="quarter" idx="33" hasCustomPrompt="1"/>
          </p:nvPr>
        </p:nvSpPr>
        <p:spPr>
          <a:xfrm>
            <a:off x="6822135" y="3587115"/>
            <a:ext cx="1797844" cy="473869"/>
          </a:xfrm>
        </p:spPr>
        <p:txBody>
          <a:bodyPr anchor="ctr"/>
          <a:lstStyle>
            <a:lvl1pPr marL="0" indent="0">
              <a:buFontTx/>
              <a:buNone/>
              <a:defRPr>
                <a:solidFill>
                  <a:schemeClr val="bg1"/>
                </a:solidFill>
              </a:defRPr>
            </a:lvl1pPr>
          </a:lstStyle>
          <a:p>
            <a:pPr lvl="0"/>
            <a:r>
              <a:rPr lang="en-US"/>
              <a:t>Insert chapter </a:t>
            </a:r>
            <a:br>
              <a:rPr lang="en-US"/>
            </a:br>
            <a:r>
              <a:rPr lang="en-US"/>
              <a:t>title here</a:t>
            </a:r>
          </a:p>
        </p:txBody>
      </p:sp>
      <p:sp>
        <p:nvSpPr>
          <p:cNvPr id="47" name="Tijdelijke aanduiding voor dianummer 5">
            <a:extLst>
              <a:ext uri="{FF2B5EF4-FFF2-40B4-BE49-F238E27FC236}">
                <a16:creationId xmlns:a16="http://schemas.microsoft.com/office/drawing/2014/main" id="{E9384076-6411-4552-BD1F-36275977AFFE}"/>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48" name="INSTRUCTION">
            <a:extLst>
              <a:ext uri="{FF2B5EF4-FFF2-40B4-BE49-F238E27FC236}">
                <a16:creationId xmlns:a16="http://schemas.microsoft.com/office/drawing/2014/main" id="{81487AF3-EC8F-4658-8CBD-61F4F9624AFE}"/>
              </a:ext>
            </a:extLst>
          </p:cNvPr>
          <p:cNvGrpSpPr/>
          <p:nvPr userDrawn="1"/>
        </p:nvGrpSpPr>
        <p:grpSpPr>
          <a:xfrm>
            <a:off x="4384" y="5274908"/>
            <a:ext cx="2795966" cy="1183043"/>
            <a:chOff x="5846" y="7033211"/>
            <a:chExt cx="3727954" cy="1577390"/>
          </a:xfrm>
        </p:grpSpPr>
        <p:sp>
          <p:nvSpPr>
            <p:cNvPr id="49" name="Rechthoek 48">
              <a:extLst>
                <a:ext uri="{FF2B5EF4-FFF2-40B4-BE49-F238E27FC236}">
                  <a16:creationId xmlns:a16="http://schemas.microsoft.com/office/drawing/2014/main" id="{272D2561-2E64-455A-8A08-5442C989983E}"/>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65" name="Ovaal 64">
              <a:extLst>
                <a:ext uri="{FF2B5EF4-FFF2-40B4-BE49-F238E27FC236}">
                  <a16:creationId xmlns:a16="http://schemas.microsoft.com/office/drawing/2014/main" id="{8EFC2904-E55F-472E-BF4A-9A922D74DA83}"/>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6" name="Rechthoek 65">
              <a:extLst>
                <a:ext uri="{FF2B5EF4-FFF2-40B4-BE49-F238E27FC236}">
                  <a16:creationId xmlns:a16="http://schemas.microsoft.com/office/drawing/2014/main" id="{8FD0E70B-CE7F-4705-ABF7-92D3647C3D7E}"/>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67" name="Ovaal 66">
              <a:extLst>
                <a:ext uri="{FF2B5EF4-FFF2-40B4-BE49-F238E27FC236}">
                  <a16:creationId xmlns:a16="http://schemas.microsoft.com/office/drawing/2014/main" id="{D80688F3-ECE4-41AD-A680-023F691FD104}"/>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68" name="Rechthoek 67">
              <a:extLst>
                <a:ext uri="{FF2B5EF4-FFF2-40B4-BE49-F238E27FC236}">
                  <a16:creationId xmlns:a16="http://schemas.microsoft.com/office/drawing/2014/main" id="{FF41D3F9-A85E-49BA-A94B-7E31617004A1}"/>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69" name="Groep 68">
              <a:extLst>
                <a:ext uri="{FF2B5EF4-FFF2-40B4-BE49-F238E27FC236}">
                  <a16:creationId xmlns:a16="http://schemas.microsoft.com/office/drawing/2014/main" id="{E0A8B52C-C5E1-477B-BFCE-4D356EFF427E}"/>
                </a:ext>
              </a:extLst>
            </p:cNvPr>
            <p:cNvGrpSpPr/>
            <p:nvPr userDrawn="1"/>
          </p:nvGrpSpPr>
          <p:grpSpPr>
            <a:xfrm>
              <a:off x="2939884" y="7739834"/>
              <a:ext cx="681133" cy="750023"/>
              <a:chOff x="-910573" y="4987990"/>
              <a:chExt cx="681133" cy="750023"/>
            </a:xfrm>
          </p:grpSpPr>
          <p:grpSp>
            <p:nvGrpSpPr>
              <p:cNvPr id="70" name="Groep 69">
                <a:extLst>
                  <a:ext uri="{FF2B5EF4-FFF2-40B4-BE49-F238E27FC236}">
                    <a16:creationId xmlns:a16="http://schemas.microsoft.com/office/drawing/2014/main" id="{F3C1AFF7-4E44-46E9-8411-699CC3849C38}"/>
                  </a:ext>
                </a:extLst>
              </p:cNvPr>
              <p:cNvGrpSpPr/>
              <p:nvPr userDrawn="1"/>
            </p:nvGrpSpPr>
            <p:grpSpPr>
              <a:xfrm>
                <a:off x="-713542" y="4987990"/>
                <a:ext cx="287071" cy="379107"/>
                <a:chOff x="-4050578" y="288410"/>
                <a:chExt cx="322125" cy="379107"/>
              </a:xfrm>
            </p:grpSpPr>
            <p:sp>
              <p:nvSpPr>
                <p:cNvPr id="72" name="Rechthoek met één afgeknipte en afgeronde hoek 47">
                  <a:extLst>
                    <a:ext uri="{FF2B5EF4-FFF2-40B4-BE49-F238E27FC236}">
                      <a16:creationId xmlns:a16="http://schemas.microsoft.com/office/drawing/2014/main" id="{8D7D42DB-8108-4364-A464-8B377BB56D9D}"/>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73" name="Rechthoekige driehoek 72">
                  <a:extLst>
                    <a:ext uri="{FF2B5EF4-FFF2-40B4-BE49-F238E27FC236}">
                      <a16:creationId xmlns:a16="http://schemas.microsoft.com/office/drawing/2014/main" id="{D4162434-77A9-47FE-A803-4F7383C49386}"/>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74" name="Rechthoek 73">
                  <a:extLst>
                    <a:ext uri="{FF2B5EF4-FFF2-40B4-BE49-F238E27FC236}">
                      <a16:creationId xmlns:a16="http://schemas.microsoft.com/office/drawing/2014/main" id="{F15C66B4-FFF6-41D9-A31D-2AD114D8CEB6}"/>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75" name="Rechthoek 74">
                  <a:extLst>
                    <a:ext uri="{FF2B5EF4-FFF2-40B4-BE49-F238E27FC236}">
                      <a16:creationId xmlns:a16="http://schemas.microsoft.com/office/drawing/2014/main" id="{5EEDF73B-309C-478F-8745-5ADE42F94F4A}"/>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71" name="Rechthoek 70">
                <a:extLst>
                  <a:ext uri="{FF2B5EF4-FFF2-40B4-BE49-F238E27FC236}">
                    <a16:creationId xmlns:a16="http://schemas.microsoft.com/office/drawing/2014/main" id="{37D25766-95F1-4814-B9CF-CE1CA7C14054}"/>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166910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CUSTOM)">
    <p:spTree>
      <p:nvGrpSpPr>
        <p:cNvPr id="1" name=""/>
        <p:cNvGrpSpPr/>
        <p:nvPr/>
      </p:nvGrpSpPr>
      <p:grpSpPr>
        <a:xfrm>
          <a:off x="0" y="0"/>
          <a:ext cx="0" cy="0"/>
          <a:chOff x="0" y="0"/>
          <a:chExt cx="0" cy="0"/>
        </a:xfrm>
      </p:grpSpPr>
      <p:sp>
        <p:nvSpPr>
          <p:cNvPr id="5" name="Tekstvak 4"/>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BLANK (CUSTOM)</a:t>
            </a:r>
          </a:p>
        </p:txBody>
      </p:sp>
      <p:sp>
        <p:nvSpPr>
          <p:cNvPr id="6" name="Titel 5"/>
          <p:cNvSpPr>
            <a:spLocks noGrp="1"/>
          </p:cNvSpPr>
          <p:nvPr>
            <p:ph type="title" hasCustomPrompt="1"/>
          </p:nvPr>
        </p:nvSpPr>
        <p:spPr/>
        <p:txBody>
          <a:bodyPr/>
          <a:lstStyle>
            <a:lvl1pPr>
              <a:defRPr/>
            </a:lvl1pPr>
          </a:lstStyle>
          <a:p>
            <a:r>
              <a:rPr lang="en-US" noProof="0"/>
              <a:t>Add a slide title, </a:t>
            </a:r>
            <a:br>
              <a:rPr lang="en-US" noProof="0"/>
            </a:br>
            <a:r>
              <a:rPr lang="en-US" noProof="0"/>
              <a:t>max.2 lines</a:t>
            </a:r>
            <a:endParaRPr lang="en-US"/>
          </a:p>
        </p:txBody>
      </p:sp>
      <p:sp>
        <p:nvSpPr>
          <p:cNvPr id="21" name="Tijdelijke aanduiding voor dianummer 5">
            <a:extLst>
              <a:ext uri="{FF2B5EF4-FFF2-40B4-BE49-F238E27FC236}">
                <a16:creationId xmlns:a16="http://schemas.microsoft.com/office/drawing/2014/main" id="{A2CEDA9C-804B-428B-B46D-B24E6B243D05}"/>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22" name="INSTRUCTION">
            <a:extLst>
              <a:ext uri="{FF2B5EF4-FFF2-40B4-BE49-F238E27FC236}">
                <a16:creationId xmlns:a16="http://schemas.microsoft.com/office/drawing/2014/main" id="{AEFFA678-176E-4873-8A5F-05210CA57300}"/>
              </a:ext>
            </a:extLst>
          </p:cNvPr>
          <p:cNvGrpSpPr/>
          <p:nvPr userDrawn="1"/>
        </p:nvGrpSpPr>
        <p:grpSpPr>
          <a:xfrm>
            <a:off x="4384" y="5274908"/>
            <a:ext cx="2795966" cy="1183043"/>
            <a:chOff x="5846" y="7033211"/>
            <a:chExt cx="3727954" cy="1577390"/>
          </a:xfrm>
        </p:grpSpPr>
        <p:sp>
          <p:nvSpPr>
            <p:cNvPr id="23" name="Rechthoek 22">
              <a:extLst>
                <a:ext uri="{FF2B5EF4-FFF2-40B4-BE49-F238E27FC236}">
                  <a16:creationId xmlns:a16="http://schemas.microsoft.com/office/drawing/2014/main" id="{9AA3262C-3452-41B2-ADC8-75BCB41D6190}"/>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24" name="Ovaal 23">
              <a:extLst>
                <a:ext uri="{FF2B5EF4-FFF2-40B4-BE49-F238E27FC236}">
                  <a16:creationId xmlns:a16="http://schemas.microsoft.com/office/drawing/2014/main" id="{7A591CF7-0866-4243-A7F2-AC3982DACB1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5" name="Rechthoek 24">
              <a:extLst>
                <a:ext uri="{FF2B5EF4-FFF2-40B4-BE49-F238E27FC236}">
                  <a16:creationId xmlns:a16="http://schemas.microsoft.com/office/drawing/2014/main" id="{C6A7E401-3495-4BD4-A5B5-5E81986C54FC}"/>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6" name="Ovaal 25">
              <a:extLst>
                <a:ext uri="{FF2B5EF4-FFF2-40B4-BE49-F238E27FC236}">
                  <a16:creationId xmlns:a16="http://schemas.microsoft.com/office/drawing/2014/main" id="{6DBEBB89-BBA1-4343-97BE-F0E0E4C58DFE}"/>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7" name="Rechthoek 26">
              <a:extLst>
                <a:ext uri="{FF2B5EF4-FFF2-40B4-BE49-F238E27FC236}">
                  <a16:creationId xmlns:a16="http://schemas.microsoft.com/office/drawing/2014/main" id="{4762E27F-1B40-47D0-9732-891C7AF704CA}"/>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28" name="Groep 27">
              <a:extLst>
                <a:ext uri="{FF2B5EF4-FFF2-40B4-BE49-F238E27FC236}">
                  <a16:creationId xmlns:a16="http://schemas.microsoft.com/office/drawing/2014/main" id="{AD9DED97-8914-418E-BF47-95EDBC804242}"/>
                </a:ext>
              </a:extLst>
            </p:cNvPr>
            <p:cNvGrpSpPr/>
            <p:nvPr userDrawn="1"/>
          </p:nvGrpSpPr>
          <p:grpSpPr>
            <a:xfrm>
              <a:off x="2939884" y="7739834"/>
              <a:ext cx="681133" cy="750023"/>
              <a:chOff x="-910573" y="4987990"/>
              <a:chExt cx="681133" cy="750023"/>
            </a:xfrm>
          </p:grpSpPr>
          <p:grpSp>
            <p:nvGrpSpPr>
              <p:cNvPr id="29" name="Groep 28">
                <a:extLst>
                  <a:ext uri="{FF2B5EF4-FFF2-40B4-BE49-F238E27FC236}">
                    <a16:creationId xmlns:a16="http://schemas.microsoft.com/office/drawing/2014/main" id="{5C793BD3-3C0E-4C60-A68B-99E7974B8A6B}"/>
                  </a:ext>
                </a:extLst>
              </p:cNvPr>
              <p:cNvGrpSpPr/>
              <p:nvPr userDrawn="1"/>
            </p:nvGrpSpPr>
            <p:grpSpPr>
              <a:xfrm>
                <a:off x="-713542" y="4987990"/>
                <a:ext cx="287071" cy="379107"/>
                <a:chOff x="-4050578" y="288410"/>
                <a:chExt cx="322125" cy="379107"/>
              </a:xfrm>
            </p:grpSpPr>
            <p:sp>
              <p:nvSpPr>
                <p:cNvPr id="31" name="Rechthoek met één afgeknipte en afgeronde hoek 47">
                  <a:extLst>
                    <a:ext uri="{FF2B5EF4-FFF2-40B4-BE49-F238E27FC236}">
                      <a16:creationId xmlns:a16="http://schemas.microsoft.com/office/drawing/2014/main" id="{775F5A8B-C782-42CC-AF38-852EF4FC915A}"/>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32" name="Rechthoekige driehoek 31">
                  <a:extLst>
                    <a:ext uri="{FF2B5EF4-FFF2-40B4-BE49-F238E27FC236}">
                      <a16:creationId xmlns:a16="http://schemas.microsoft.com/office/drawing/2014/main" id="{91489EA2-2795-4A52-803B-4B6029EC5D7A}"/>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33" name="Rechthoek 32">
                  <a:extLst>
                    <a:ext uri="{FF2B5EF4-FFF2-40B4-BE49-F238E27FC236}">
                      <a16:creationId xmlns:a16="http://schemas.microsoft.com/office/drawing/2014/main" id="{D067E827-6B59-4D1A-B03E-193678A41AFD}"/>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34" name="Rechthoek 33">
                  <a:extLst>
                    <a:ext uri="{FF2B5EF4-FFF2-40B4-BE49-F238E27FC236}">
                      <a16:creationId xmlns:a16="http://schemas.microsoft.com/office/drawing/2014/main" id="{73D681D2-E86B-401F-86A8-0FADFB152F03}"/>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30" name="Rechthoek 29">
                <a:extLst>
                  <a:ext uri="{FF2B5EF4-FFF2-40B4-BE49-F238E27FC236}">
                    <a16:creationId xmlns:a16="http://schemas.microsoft.com/office/drawing/2014/main" id="{22B1001B-373E-4E1A-A9FC-B9D76FE3D5C1}"/>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131339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0%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23875" y="435769"/>
            <a:ext cx="8081303" cy="516848"/>
          </a:xfrm>
        </p:spPr>
        <p:txBody>
          <a:bodyPr lIns="0" tIns="0" rIns="0" bIns="0"/>
          <a:lstStyle>
            <a:lvl1pPr>
              <a:defRPr/>
            </a:lvl1pPr>
          </a:lstStyle>
          <a:p>
            <a:r>
              <a:rPr lang="en-US" noProof="0"/>
              <a:t>Add a slide title, </a:t>
            </a:r>
            <a:br>
              <a:rPr lang="en-US" noProof="0"/>
            </a:br>
            <a:r>
              <a:rPr lang="en-US" noProof="0"/>
              <a:t>max.2 lines</a:t>
            </a:r>
          </a:p>
        </p:txBody>
      </p:sp>
      <p:sp>
        <p:nvSpPr>
          <p:cNvPr id="3" name="Tijdelijke aanduiding voor verticale tekst 2"/>
          <p:cNvSpPr>
            <a:spLocks noGrp="1"/>
          </p:cNvSpPr>
          <p:nvPr>
            <p:ph type="body" orient="vert" idx="1" hasCustomPrompt="1"/>
          </p:nvPr>
        </p:nvSpPr>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Bullet</a:t>
            </a:r>
          </a:p>
          <a:p>
            <a:pPr lvl="1"/>
            <a:r>
              <a:rPr lang="en-US" noProof="0"/>
              <a:t>Sub-bullet</a:t>
            </a:r>
          </a:p>
          <a:p>
            <a:pPr lvl="2"/>
            <a:r>
              <a:rPr lang="en-US" noProof="0"/>
              <a:t>Default text</a:t>
            </a:r>
          </a:p>
          <a:p>
            <a:pPr lvl="3"/>
            <a:r>
              <a:rPr lang="en-US" noProof="0"/>
              <a:t>Subtitle</a:t>
            </a:r>
          </a:p>
          <a:p>
            <a:pPr lvl="4"/>
            <a:r>
              <a:rPr lang="en-US" noProof="0"/>
              <a:t>Numerical bullet</a:t>
            </a:r>
          </a:p>
          <a:p>
            <a:pPr lvl="5"/>
            <a:r>
              <a:rPr lang="en-US" noProof="0"/>
              <a:t>Bullet</a:t>
            </a:r>
          </a:p>
          <a:p>
            <a:pPr lvl="6"/>
            <a:r>
              <a:rPr lang="en-US" noProof="0"/>
              <a:t>Sub-bullet</a:t>
            </a:r>
          </a:p>
          <a:p>
            <a:pPr lvl="7"/>
            <a:r>
              <a:rPr lang="en-US" noProof="0"/>
              <a:t>Default text</a:t>
            </a:r>
          </a:p>
          <a:p>
            <a:pPr lvl="8"/>
            <a:r>
              <a:rPr lang="en-US" noProof="0"/>
              <a:t>Subtitle</a:t>
            </a:r>
          </a:p>
        </p:txBody>
      </p:sp>
      <p:sp>
        <p:nvSpPr>
          <p:cNvPr id="97" name="Tekstvak 96">
            <a:extLst>
              <a:ext uri="{FF2B5EF4-FFF2-40B4-BE49-F238E27FC236}">
                <a16:creationId xmlns:a16="http://schemas.microsoft.com/office/drawing/2014/main" id="{42C150F0-5342-4A57-8E37-9B1ABFD5C2B9}"/>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Large Text</a:t>
            </a:r>
          </a:p>
        </p:txBody>
      </p:sp>
      <p:grpSp>
        <p:nvGrpSpPr>
          <p:cNvPr id="87" name="Groep 86">
            <a:extLst>
              <a:ext uri="{FF2B5EF4-FFF2-40B4-BE49-F238E27FC236}">
                <a16:creationId xmlns:a16="http://schemas.microsoft.com/office/drawing/2014/main" id="{52CA8C39-F5D8-4E5C-9B57-141139780487}"/>
              </a:ext>
            </a:extLst>
          </p:cNvPr>
          <p:cNvGrpSpPr/>
          <p:nvPr userDrawn="1"/>
        </p:nvGrpSpPr>
        <p:grpSpPr>
          <a:xfrm>
            <a:off x="-2839623" y="0"/>
            <a:ext cx="2694818" cy="3481004"/>
            <a:chOff x="-3786165" y="0"/>
            <a:chExt cx="3593091" cy="4641338"/>
          </a:xfrm>
        </p:grpSpPr>
        <p:sp>
          <p:nvSpPr>
            <p:cNvPr id="136" name="Rechthoek 135">
              <a:extLst>
                <a:ext uri="{FF2B5EF4-FFF2-40B4-BE49-F238E27FC236}">
                  <a16:creationId xmlns:a16="http://schemas.microsoft.com/office/drawing/2014/main" id="{46E9C3EE-D8D8-463A-BCAF-3CE4F520C578}"/>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137" name="Ovaal 136">
              <a:extLst>
                <a:ext uri="{FF2B5EF4-FFF2-40B4-BE49-F238E27FC236}">
                  <a16:creationId xmlns:a16="http://schemas.microsoft.com/office/drawing/2014/main" id="{21E0A928-0F7F-4D00-831A-56F326E8211B}"/>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8" name="Rechthoek 137">
              <a:extLst>
                <a:ext uri="{FF2B5EF4-FFF2-40B4-BE49-F238E27FC236}">
                  <a16:creationId xmlns:a16="http://schemas.microsoft.com/office/drawing/2014/main" id="{80753AF6-00E5-41B9-9406-A4A542D241B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sp>
          <p:nvSpPr>
            <p:cNvPr id="139" name="Ovaal 138">
              <a:extLst>
                <a:ext uri="{FF2B5EF4-FFF2-40B4-BE49-F238E27FC236}">
                  <a16:creationId xmlns:a16="http://schemas.microsoft.com/office/drawing/2014/main" id="{15AF3AB5-9780-4E41-9A08-C52710D73E17}"/>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0" name="Rechthoek 139">
              <a:extLst>
                <a:ext uri="{FF2B5EF4-FFF2-40B4-BE49-F238E27FC236}">
                  <a16:creationId xmlns:a16="http://schemas.microsoft.com/office/drawing/2014/main" id="{F646D6E4-8B8A-4953-8524-848184299E69}"/>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1" name="Rechthoek 140">
              <a:extLst>
                <a:ext uri="{FF2B5EF4-FFF2-40B4-BE49-F238E27FC236}">
                  <a16:creationId xmlns:a16="http://schemas.microsoft.com/office/drawing/2014/main" id="{C1B27E25-1AA6-4F4D-8F69-A0CD361F23F5}"/>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142" name="Ovaal 141">
              <a:extLst>
                <a:ext uri="{FF2B5EF4-FFF2-40B4-BE49-F238E27FC236}">
                  <a16:creationId xmlns:a16="http://schemas.microsoft.com/office/drawing/2014/main" id="{C8490AAC-398B-4996-ADF2-70D3A364D45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3" name="Rechthoek 142">
              <a:extLst>
                <a:ext uri="{FF2B5EF4-FFF2-40B4-BE49-F238E27FC236}">
                  <a16:creationId xmlns:a16="http://schemas.microsoft.com/office/drawing/2014/main" id="{DCC1E0C2-8F48-4AF9-AD05-5868CD433247}"/>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144" name="Ovaal 143">
              <a:extLst>
                <a:ext uri="{FF2B5EF4-FFF2-40B4-BE49-F238E27FC236}">
                  <a16:creationId xmlns:a16="http://schemas.microsoft.com/office/drawing/2014/main" id="{C5C29628-61C1-4CD7-BA25-4DDB267861A5}"/>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45" name="Rechthoek 144">
              <a:extLst>
                <a:ext uri="{FF2B5EF4-FFF2-40B4-BE49-F238E27FC236}">
                  <a16:creationId xmlns:a16="http://schemas.microsoft.com/office/drawing/2014/main" id="{C82C999B-9689-48FF-A5DB-994C2FC20B0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chemeClr val="accent1"/>
                </a:buClr>
                <a:buSzTx/>
                <a:buFont typeface="Arial" panose="020B0604020202020204" pitchFamily="34" charset="0"/>
                <a:buNone/>
                <a:tabLst/>
                <a:defRPr/>
              </a:pPr>
              <a:r>
                <a:rPr lang="en-US" sz="1200" b="1" kern="1200" cap="none" spc="23" baseline="0" noProof="0">
                  <a:solidFill>
                    <a:schemeClr val="tx2">
                      <a:lumMod val="50000"/>
                    </a:schemeClr>
                  </a:solidFill>
                  <a:latin typeface="+mj-lt"/>
                  <a:ea typeface="+mn-ea"/>
                  <a:cs typeface="Calibri" panose="020F0502020204030204" pitchFamily="34" charset="0"/>
                </a:rPr>
                <a:t>Subtitle</a:t>
              </a:r>
            </a:p>
          </p:txBody>
        </p:sp>
        <p:sp>
          <p:nvSpPr>
            <p:cNvPr id="146" name="Ovaal 145">
              <a:extLst>
                <a:ext uri="{FF2B5EF4-FFF2-40B4-BE49-F238E27FC236}">
                  <a16:creationId xmlns:a16="http://schemas.microsoft.com/office/drawing/2014/main" id="{58066AD6-ED44-4493-8C31-8FDAE4B486EE}"/>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47" name="Rechthoek 146">
              <a:extLst>
                <a:ext uri="{FF2B5EF4-FFF2-40B4-BE49-F238E27FC236}">
                  <a16:creationId xmlns:a16="http://schemas.microsoft.com/office/drawing/2014/main" id="{A4DCAFE8-ACA0-4759-82BE-67B2B254CA35}"/>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03597" marR="0" lvl="4" indent="-203597" algn="l" defTabSz="539354" rtl="0" eaLnBrk="1" fontAlgn="auto" latinLnBrk="0" hangingPunct="1">
                <a:lnSpc>
                  <a:spcPct val="100000"/>
                </a:lnSpc>
                <a:spcBef>
                  <a:spcPts val="225"/>
                </a:spcBef>
                <a:spcAft>
                  <a:spcPts val="450"/>
                </a:spcAft>
                <a:buClr>
                  <a:srgbClr val="3F3F3F"/>
                </a:buClr>
                <a:buSzTx/>
                <a:buFont typeface="+mj-lt"/>
                <a:buAutoNum type="arabicPeriod"/>
                <a:tabLst/>
                <a:defRPr/>
              </a:pPr>
              <a:r>
                <a:rPr kumimoji="0" lang="en-US" sz="900" b="0" i="0" u="none" strike="noStrike" kern="1200" cap="none" spc="0" normalizeH="0" baseline="0" noProof="0">
                  <a:ln>
                    <a:noFill/>
                  </a:ln>
                  <a:solidFill>
                    <a:schemeClr val="tx2">
                      <a:lumMod val="50000"/>
                    </a:schemeClr>
                  </a:solidFill>
                  <a:effectLst/>
                  <a:uLnTx/>
                  <a:uFillTx/>
                  <a:latin typeface="+mn-lt"/>
                  <a:ea typeface="+mn-ea"/>
                  <a:cs typeface="+mn-cs"/>
                </a:rPr>
                <a:t>Numerical bullet</a:t>
              </a:r>
            </a:p>
          </p:txBody>
        </p:sp>
        <p:sp>
          <p:nvSpPr>
            <p:cNvPr id="148" name="Ovaal 147">
              <a:extLst>
                <a:ext uri="{FF2B5EF4-FFF2-40B4-BE49-F238E27FC236}">
                  <a16:creationId xmlns:a16="http://schemas.microsoft.com/office/drawing/2014/main" id="{D28127DC-7580-461A-A456-5E560B677E62}"/>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49" name="Rechthoek 148">
              <a:extLst>
                <a:ext uri="{FF2B5EF4-FFF2-40B4-BE49-F238E27FC236}">
                  <a16:creationId xmlns:a16="http://schemas.microsoft.com/office/drawing/2014/main" id="{B39D9938-47C7-4750-8688-62ADC4657FA8}"/>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150" name="Ovaal 149">
              <a:extLst>
                <a:ext uri="{FF2B5EF4-FFF2-40B4-BE49-F238E27FC236}">
                  <a16:creationId xmlns:a16="http://schemas.microsoft.com/office/drawing/2014/main" id="{3209FB2D-811C-4ED9-933A-944EE647BE30}"/>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51" name="Rechthoek 150">
              <a:extLst>
                <a:ext uri="{FF2B5EF4-FFF2-40B4-BE49-F238E27FC236}">
                  <a16:creationId xmlns:a16="http://schemas.microsoft.com/office/drawing/2014/main" id="{90F0E185-0F33-4D28-8C66-5F9BDCAD01A0}"/>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152" name="Ovaal 151">
              <a:extLst>
                <a:ext uri="{FF2B5EF4-FFF2-40B4-BE49-F238E27FC236}">
                  <a16:creationId xmlns:a16="http://schemas.microsoft.com/office/drawing/2014/main" id="{0028AA64-F68D-43BE-AAF3-55DE4A13A79E}"/>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53" name="Rechthoek 152">
              <a:extLst>
                <a:ext uri="{FF2B5EF4-FFF2-40B4-BE49-F238E27FC236}">
                  <a16:creationId xmlns:a16="http://schemas.microsoft.com/office/drawing/2014/main" id="{F916A5F4-36AA-4D7B-8A87-F08D520526A6}"/>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rgbClr val="04A64B"/>
                </a:buClr>
                <a:buSzTx/>
                <a:buFont typeface="Arial" panose="020B0604020202020204" pitchFamily="34" charset="0"/>
                <a:buNone/>
                <a:tabLst/>
                <a:defRPr/>
              </a:pPr>
              <a:r>
                <a:rPr kumimoji="0" lang="en-US" sz="1200" b="1" i="0" u="none" strike="noStrike" kern="1200" cap="none" spc="23" normalizeH="0" baseline="0" noProof="0">
                  <a:ln>
                    <a:noFill/>
                  </a:ln>
                  <a:solidFill>
                    <a:srgbClr val="3F3F3F">
                      <a:lumMod val="50000"/>
                    </a:srgbClr>
                  </a:solidFill>
                  <a:effectLst/>
                  <a:uLnTx/>
                  <a:uFillTx/>
                  <a:latin typeface="+mn-lt"/>
                  <a:ea typeface="+mn-ea"/>
                  <a:cs typeface="Calibri" panose="020F0502020204030204" pitchFamily="34" charset="0"/>
                </a:rPr>
                <a:t>Subtitle</a:t>
              </a:r>
            </a:p>
          </p:txBody>
        </p:sp>
        <p:sp>
          <p:nvSpPr>
            <p:cNvPr id="154" name="Ovaal 153">
              <a:extLst>
                <a:ext uri="{FF2B5EF4-FFF2-40B4-BE49-F238E27FC236}">
                  <a16:creationId xmlns:a16="http://schemas.microsoft.com/office/drawing/2014/main" id="{E03CE728-56C6-472E-8951-0A63FB1EED11}"/>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55" name="Rechthoek 154">
              <a:extLst>
                <a:ext uri="{FF2B5EF4-FFF2-40B4-BE49-F238E27FC236}">
                  <a16:creationId xmlns:a16="http://schemas.microsoft.com/office/drawing/2014/main" id="{60A8B16D-AB8D-43D7-9233-4745113E8E79}"/>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grpSp>
          <p:nvGrpSpPr>
            <p:cNvPr id="158" name="VOORBEELD">
              <a:extLst>
                <a:ext uri="{FF2B5EF4-FFF2-40B4-BE49-F238E27FC236}">
                  <a16:creationId xmlns:a16="http://schemas.microsoft.com/office/drawing/2014/main" id="{4A3997CF-DE47-4981-BB59-9909899AD447}"/>
                </a:ext>
              </a:extLst>
            </p:cNvPr>
            <p:cNvGrpSpPr/>
            <p:nvPr userDrawn="1"/>
          </p:nvGrpSpPr>
          <p:grpSpPr>
            <a:xfrm>
              <a:off x="-3605171" y="458674"/>
              <a:ext cx="3234311" cy="558875"/>
              <a:chOff x="-3605171" y="458674"/>
              <a:chExt cx="3234311" cy="558875"/>
            </a:xfrm>
          </p:grpSpPr>
          <p:sp>
            <p:nvSpPr>
              <p:cNvPr id="159" name="Rechthoek 158">
                <a:extLst>
                  <a:ext uri="{FF2B5EF4-FFF2-40B4-BE49-F238E27FC236}">
                    <a16:creationId xmlns:a16="http://schemas.microsoft.com/office/drawing/2014/main" id="{FE4338E9-7901-4F9D-A2F6-4AD4178001C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675" b="1" noProof="0">
                    <a:solidFill>
                      <a:srgbClr val="211F26"/>
                    </a:solidFill>
                    <a:latin typeface="Calibri" panose="020F0502020204030204" pitchFamily="34" charset="0"/>
                    <a:cs typeface="Calibri" panose="020F0502020204030204" pitchFamily="34" charset="0"/>
                  </a:rPr>
                  <a:t>Home</a:t>
                </a:r>
              </a:p>
            </p:txBody>
          </p:sp>
          <p:sp>
            <p:nvSpPr>
              <p:cNvPr id="160" name="Rechthoek 159">
                <a:extLst>
                  <a:ext uri="{FF2B5EF4-FFF2-40B4-BE49-F238E27FC236}">
                    <a16:creationId xmlns:a16="http://schemas.microsoft.com/office/drawing/2014/main" id="{2D83323D-B505-49AD-80B7-FA8A642967B9}"/>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161" name="Groep 160">
                <a:extLst>
                  <a:ext uri="{FF2B5EF4-FFF2-40B4-BE49-F238E27FC236}">
                    <a16:creationId xmlns:a16="http://schemas.microsoft.com/office/drawing/2014/main" id="{A74E75BA-2F86-48EA-B40D-9C714C35239A}"/>
                  </a:ext>
                </a:extLst>
              </p:cNvPr>
              <p:cNvGrpSpPr/>
              <p:nvPr userDrawn="1"/>
            </p:nvGrpSpPr>
            <p:grpSpPr>
              <a:xfrm>
                <a:off x="-3386247" y="830871"/>
                <a:ext cx="139423" cy="109566"/>
                <a:chOff x="-2866744" y="827071"/>
                <a:chExt cx="168701" cy="132575"/>
              </a:xfrm>
            </p:grpSpPr>
            <p:grpSp>
              <p:nvGrpSpPr>
                <p:cNvPr id="192" name="Groep 191">
                  <a:extLst>
                    <a:ext uri="{FF2B5EF4-FFF2-40B4-BE49-F238E27FC236}">
                      <a16:creationId xmlns:a16="http://schemas.microsoft.com/office/drawing/2014/main" id="{B77B7346-2EAC-46A6-B7FF-102A2BB9C91D}"/>
                    </a:ext>
                  </a:extLst>
                </p:cNvPr>
                <p:cNvGrpSpPr/>
                <p:nvPr userDrawn="1"/>
              </p:nvGrpSpPr>
              <p:grpSpPr>
                <a:xfrm>
                  <a:off x="-2866744" y="827071"/>
                  <a:ext cx="168701" cy="132575"/>
                  <a:chOff x="-2866744" y="827071"/>
                  <a:chExt cx="168701" cy="132575"/>
                </a:xfrm>
              </p:grpSpPr>
              <p:cxnSp>
                <p:nvCxnSpPr>
                  <p:cNvPr id="194" name="Rechte verbindingslijn 193">
                    <a:extLst>
                      <a:ext uri="{FF2B5EF4-FFF2-40B4-BE49-F238E27FC236}">
                        <a16:creationId xmlns:a16="http://schemas.microsoft.com/office/drawing/2014/main" id="{295338EA-8E58-4158-A95F-BB41B817330A}"/>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95" name="Rechte verbindingslijn 194">
                    <a:extLst>
                      <a:ext uri="{FF2B5EF4-FFF2-40B4-BE49-F238E27FC236}">
                        <a16:creationId xmlns:a16="http://schemas.microsoft.com/office/drawing/2014/main" id="{63D15F1F-2F8B-4C5B-81E7-8CC97464FDA3}"/>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96" name="Rechte verbindingslijn 195">
                    <a:extLst>
                      <a:ext uri="{FF2B5EF4-FFF2-40B4-BE49-F238E27FC236}">
                        <a16:creationId xmlns:a16="http://schemas.microsoft.com/office/drawing/2014/main" id="{8898284F-3A7D-48A9-AE9D-A7EC4480C8B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97" name="Rechte verbindingslijn 196">
                    <a:extLst>
                      <a:ext uri="{FF2B5EF4-FFF2-40B4-BE49-F238E27FC236}">
                        <a16:creationId xmlns:a16="http://schemas.microsoft.com/office/drawing/2014/main" id="{37E6D7C8-BB04-4A20-81C4-5D03E9BFAF5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98" name="Rechte verbindingslijn 197">
                    <a:extLst>
                      <a:ext uri="{FF2B5EF4-FFF2-40B4-BE49-F238E27FC236}">
                        <a16:creationId xmlns:a16="http://schemas.microsoft.com/office/drawing/2014/main" id="{5DB11DB2-A28B-4EC1-A310-61C36F5ACCB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93" name="Pijl: rechts 192">
                  <a:extLst>
                    <a:ext uri="{FF2B5EF4-FFF2-40B4-BE49-F238E27FC236}">
                      <a16:creationId xmlns:a16="http://schemas.microsoft.com/office/drawing/2014/main" id="{8F384310-4813-48F3-9F73-58C6E98A8C0F}"/>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162" name="Groep 161">
                <a:extLst>
                  <a:ext uri="{FF2B5EF4-FFF2-40B4-BE49-F238E27FC236}">
                    <a16:creationId xmlns:a16="http://schemas.microsoft.com/office/drawing/2014/main" id="{13AD27EA-6BAC-4D23-B499-A0A8EA6991E6}"/>
                  </a:ext>
                </a:extLst>
              </p:cNvPr>
              <p:cNvGrpSpPr/>
              <p:nvPr userDrawn="1"/>
            </p:nvGrpSpPr>
            <p:grpSpPr>
              <a:xfrm>
                <a:off x="-3605171" y="830871"/>
                <a:ext cx="139423" cy="109566"/>
                <a:chOff x="-2866744" y="518074"/>
                <a:chExt cx="168701" cy="132575"/>
              </a:xfrm>
            </p:grpSpPr>
            <p:grpSp>
              <p:nvGrpSpPr>
                <p:cNvPr id="185" name="Groep 184">
                  <a:extLst>
                    <a:ext uri="{FF2B5EF4-FFF2-40B4-BE49-F238E27FC236}">
                      <a16:creationId xmlns:a16="http://schemas.microsoft.com/office/drawing/2014/main" id="{CB81A784-A3B7-4A1D-BB5B-1CBA2F4DBE85}"/>
                    </a:ext>
                  </a:extLst>
                </p:cNvPr>
                <p:cNvGrpSpPr/>
                <p:nvPr userDrawn="1"/>
              </p:nvGrpSpPr>
              <p:grpSpPr>
                <a:xfrm>
                  <a:off x="-2866744" y="518074"/>
                  <a:ext cx="168701" cy="132575"/>
                  <a:chOff x="-2866744" y="518074"/>
                  <a:chExt cx="168701" cy="132575"/>
                </a:xfrm>
              </p:grpSpPr>
              <p:cxnSp>
                <p:nvCxnSpPr>
                  <p:cNvPr id="187" name="Rechte verbindingslijn 186">
                    <a:extLst>
                      <a:ext uri="{FF2B5EF4-FFF2-40B4-BE49-F238E27FC236}">
                        <a16:creationId xmlns:a16="http://schemas.microsoft.com/office/drawing/2014/main" id="{624FCA61-E734-4F7F-ADFB-0FD0DB143B1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88" name="Rechte verbindingslijn 187">
                    <a:extLst>
                      <a:ext uri="{FF2B5EF4-FFF2-40B4-BE49-F238E27FC236}">
                        <a16:creationId xmlns:a16="http://schemas.microsoft.com/office/drawing/2014/main" id="{246B1C13-D2BB-4EEE-A07A-BB62E99C067C}"/>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89" name="Rechte verbindingslijn 188">
                    <a:extLst>
                      <a:ext uri="{FF2B5EF4-FFF2-40B4-BE49-F238E27FC236}">
                        <a16:creationId xmlns:a16="http://schemas.microsoft.com/office/drawing/2014/main" id="{5F5302CB-B5D9-4A57-8635-7A7D9E395609}"/>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90" name="Rechte verbindingslijn 189">
                    <a:extLst>
                      <a:ext uri="{FF2B5EF4-FFF2-40B4-BE49-F238E27FC236}">
                        <a16:creationId xmlns:a16="http://schemas.microsoft.com/office/drawing/2014/main" id="{2B0BC60D-BF5D-407A-BAF2-95E27341F40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91" name="Rechte verbindingslijn 190">
                    <a:extLst>
                      <a:ext uri="{FF2B5EF4-FFF2-40B4-BE49-F238E27FC236}">
                        <a16:creationId xmlns:a16="http://schemas.microsoft.com/office/drawing/2014/main" id="{53F73DF3-6D82-4C3A-87AF-1D5478290133}"/>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86" name="Pijl: rechts 185">
                  <a:extLst>
                    <a:ext uri="{FF2B5EF4-FFF2-40B4-BE49-F238E27FC236}">
                      <a16:creationId xmlns:a16="http://schemas.microsoft.com/office/drawing/2014/main" id="{8F16B492-273A-4D43-904A-280A4170941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cxnSp>
            <p:nvCxnSpPr>
              <p:cNvPr id="163" name="Rechte verbindingslijn 162">
                <a:extLst>
                  <a:ext uri="{FF2B5EF4-FFF2-40B4-BE49-F238E27FC236}">
                    <a16:creationId xmlns:a16="http://schemas.microsoft.com/office/drawing/2014/main" id="{1BA71A94-E2F5-4434-AECC-388A19F78DB0}"/>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64" name="Rechte verbindingslijn 163">
                <a:extLst>
                  <a:ext uri="{FF2B5EF4-FFF2-40B4-BE49-F238E27FC236}">
                    <a16:creationId xmlns:a16="http://schemas.microsoft.com/office/drawing/2014/main" id="{3E0B2F7A-CD1B-4488-8958-3CB2277C273B}"/>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65" name="Rechthoek 164">
                <a:extLst>
                  <a:ext uri="{FF2B5EF4-FFF2-40B4-BE49-F238E27FC236}">
                    <a16:creationId xmlns:a16="http://schemas.microsoft.com/office/drawing/2014/main" id="{EBC6D123-96A8-41B4-9334-731DAD83E42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66" name="Rechthoek 165">
                <a:extLst>
                  <a:ext uri="{FF2B5EF4-FFF2-40B4-BE49-F238E27FC236}">
                    <a16:creationId xmlns:a16="http://schemas.microsoft.com/office/drawing/2014/main" id="{EF302A2F-29D4-4691-8E14-E180533A989F}"/>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67" name="Groep 166">
                <a:extLst>
                  <a:ext uri="{FF2B5EF4-FFF2-40B4-BE49-F238E27FC236}">
                    <a16:creationId xmlns:a16="http://schemas.microsoft.com/office/drawing/2014/main" id="{BB70A4A1-D406-4151-A55C-53D6384B4750}"/>
                  </a:ext>
                </a:extLst>
              </p:cNvPr>
              <p:cNvGrpSpPr/>
              <p:nvPr userDrawn="1"/>
            </p:nvGrpSpPr>
            <p:grpSpPr>
              <a:xfrm>
                <a:off x="-2916763" y="769168"/>
                <a:ext cx="268738" cy="248381"/>
                <a:chOff x="-2916763" y="769168"/>
                <a:chExt cx="268738" cy="248381"/>
              </a:xfrm>
            </p:grpSpPr>
            <p:sp>
              <p:nvSpPr>
                <p:cNvPr id="177" name="Rechthoek 176">
                  <a:extLst>
                    <a:ext uri="{FF2B5EF4-FFF2-40B4-BE49-F238E27FC236}">
                      <a16:creationId xmlns:a16="http://schemas.microsoft.com/office/drawing/2014/main" id="{87B1898F-BA5A-4C62-8D80-16E65310716E}"/>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178" name="Groep 177">
                  <a:extLst>
                    <a:ext uri="{FF2B5EF4-FFF2-40B4-BE49-F238E27FC236}">
                      <a16:creationId xmlns:a16="http://schemas.microsoft.com/office/drawing/2014/main" id="{5C724760-E3DC-4ED0-AB3E-9B14B97BDC6B}"/>
                    </a:ext>
                  </a:extLst>
                </p:cNvPr>
                <p:cNvGrpSpPr/>
                <p:nvPr userDrawn="1"/>
              </p:nvGrpSpPr>
              <p:grpSpPr>
                <a:xfrm>
                  <a:off x="-2866744" y="827071"/>
                  <a:ext cx="168701" cy="132575"/>
                  <a:chOff x="-2866744" y="827071"/>
                  <a:chExt cx="168701" cy="132575"/>
                </a:xfrm>
              </p:grpSpPr>
              <p:cxnSp>
                <p:nvCxnSpPr>
                  <p:cNvPr id="180" name="Rechte verbindingslijn 179">
                    <a:extLst>
                      <a:ext uri="{FF2B5EF4-FFF2-40B4-BE49-F238E27FC236}">
                        <a16:creationId xmlns:a16="http://schemas.microsoft.com/office/drawing/2014/main" id="{5650DDA9-762F-46B6-9B98-11E4B1A731EA}"/>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81" name="Rechte verbindingslijn 180">
                    <a:extLst>
                      <a:ext uri="{FF2B5EF4-FFF2-40B4-BE49-F238E27FC236}">
                        <a16:creationId xmlns:a16="http://schemas.microsoft.com/office/drawing/2014/main" id="{F3432055-A2ED-48C8-AD5F-5333FB9BD92D}"/>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82" name="Rechte verbindingslijn 181">
                    <a:extLst>
                      <a:ext uri="{FF2B5EF4-FFF2-40B4-BE49-F238E27FC236}">
                        <a16:creationId xmlns:a16="http://schemas.microsoft.com/office/drawing/2014/main" id="{7CF3810C-7E72-4AAA-AAC2-DB154A4E630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83" name="Rechte verbindingslijn 182">
                    <a:extLst>
                      <a:ext uri="{FF2B5EF4-FFF2-40B4-BE49-F238E27FC236}">
                        <a16:creationId xmlns:a16="http://schemas.microsoft.com/office/drawing/2014/main" id="{630EF0A9-5A29-44EA-BF68-A5B27B8342E1}"/>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84" name="Rechte verbindingslijn 183">
                    <a:extLst>
                      <a:ext uri="{FF2B5EF4-FFF2-40B4-BE49-F238E27FC236}">
                        <a16:creationId xmlns:a16="http://schemas.microsoft.com/office/drawing/2014/main" id="{122C05F9-D51A-4189-AA4D-E6AA013EE127}"/>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9" name="Pijl: rechts 178">
                  <a:extLst>
                    <a:ext uri="{FF2B5EF4-FFF2-40B4-BE49-F238E27FC236}">
                      <a16:creationId xmlns:a16="http://schemas.microsoft.com/office/drawing/2014/main" id="{B13AC79A-23D6-4179-89BF-79EFF4A12E4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168" name="Groep 167">
                <a:extLst>
                  <a:ext uri="{FF2B5EF4-FFF2-40B4-BE49-F238E27FC236}">
                    <a16:creationId xmlns:a16="http://schemas.microsoft.com/office/drawing/2014/main" id="{10813B0B-0451-4EDC-9C4D-12B184286A67}"/>
                  </a:ext>
                </a:extLst>
              </p:cNvPr>
              <p:cNvGrpSpPr/>
              <p:nvPr userDrawn="1"/>
            </p:nvGrpSpPr>
            <p:grpSpPr>
              <a:xfrm>
                <a:off x="-2916763" y="460171"/>
                <a:ext cx="268738" cy="248381"/>
                <a:chOff x="-2916763" y="460171"/>
                <a:chExt cx="268738" cy="248381"/>
              </a:xfrm>
            </p:grpSpPr>
            <p:sp>
              <p:nvSpPr>
                <p:cNvPr id="169" name="Rechthoek 168">
                  <a:extLst>
                    <a:ext uri="{FF2B5EF4-FFF2-40B4-BE49-F238E27FC236}">
                      <a16:creationId xmlns:a16="http://schemas.microsoft.com/office/drawing/2014/main" id="{6A4685EB-A624-4ED4-A228-50CA8F060B8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170" name="Groep 169">
                  <a:extLst>
                    <a:ext uri="{FF2B5EF4-FFF2-40B4-BE49-F238E27FC236}">
                      <a16:creationId xmlns:a16="http://schemas.microsoft.com/office/drawing/2014/main" id="{10E45EDE-A9B0-45F6-9B0C-FFF13642903E}"/>
                    </a:ext>
                  </a:extLst>
                </p:cNvPr>
                <p:cNvGrpSpPr/>
                <p:nvPr userDrawn="1"/>
              </p:nvGrpSpPr>
              <p:grpSpPr>
                <a:xfrm>
                  <a:off x="-2866744" y="518074"/>
                  <a:ext cx="168701" cy="132575"/>
                  <a:chOff x="-2866744" y="518074"/>
                  <a:chExt cx="168701" cy="132575"/>
                </a:xfrm>
              </p:grpSpPr>
              <p:cxnSp>
                <p:nvCxnSpPr>
                  <p:cNvPr id="172" name="Rechte verbindingslijn 171">
                    <a:extLst>
                      <a:ext uri="{FF2B5EF4-FFF2-40B4-BE49-F238E27FC236}">
                        <a16:creationId xmlns:a16="http://schemas.microsoft.com/office/drawing/2014/main" id="{25984F46-C3DA-4D2F-86FD-0340592E6E33}"/>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73" name="Rechte verbindingslijn 172">
                    <a:extLst>
                      <a:ext uri="{FF2B5EF4-FFF2-40B4-BE49-F238E27FC236}">
                        <a16:creationId xmlns:a16="http://schemas.microsoft.com/office/drawing/2014/main" id="{C5FAAAF1-0030-4197-8775-26F076DE76C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4" name="Rechte verbindingslijn 173">
                    <a:extLst>
                      <a:ext uri="{FF2B5EF4-FFF2-40B4-BE49-F238E27FC236}">
                        <a16:creationId xmlns:a16="http://schemas.microsoft.com/office/drawing/2014/main" id="{ED19D46E-391B-4FE4-A59D-F1088D9AC8E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5" name="Rechte verbindingslijn 174">
                    <a:extLst>
                      <a:ext uri="{FF2B5EF4-FFF2-40B4-BE49-F238E27FC236}">
                        <a16:creationId xmlns:a16="http://schemas.microsoft.com/office/drawing/2014/main" id="{19904082-9C22-40C7-909A-2530F6618E1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202F521A-3546-4828-BEDD-B4CD3656665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71" name="Pijl: rechts 170">
                  <a:extLst>
                    <a:ext uri="{FF2B5EF4-FFF2-40B4-BE49-F238E27FC236}">
                      <a16:creationId xmlns:a16="http://schemas.microsoft.com/office/drawing/2014/main" id="{1A800ECB-D592-4E44-9D17-32E8451E195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grpSp>
      <p:sp>
        <p:nvSpPr>
          <p:cNvPr id="80" name="Tijdelijke aanduiding voor dianummer 5">
            <a:extLst>
              <a:ext uri="{FF2B5EF4-FFF2-40B4-BE49-F238E27FC236}">
                <a16:creationId xmlns:a16="http://schemas.microsoft.com/office/drawing/2014/main" id="{BA5330FC-789F-4E91-9504-73456337B2CE}"/>
              </a:ext>
            </a:extLst>
          </p:cNvPr>
          <p:cNvSpPr>
            <a:spLocks noGrp="1"/>
          </p:cNvSpPr>
          <p:nvPr userDrawn="1">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81" name="INSTRUCTION">
            <a:extLst>
              <a:ext uri="{FF2B5EF4-FFF2-40B4-BE49-F238E27FC236}">
                <a16:creationId xmlns:a16="http://schemas.microsoft.com/office/drawing/2014/main" id="{7F695D1A-DF24-485D-BFCD-F261823A537A}"/>
              </a:ext>
            </a:extLst>
          </p:cNvPr>
          <p:cNvGrpSpPr/>
          <p:nvPr userDrawn="1"/>
        </p:nvGrpSpPr>
        <p:grpSpPr>
          <a:xfrm>
            <a:off x="4384" y="5274908"/>
            <a:ext cx="2795966" cy="1183043"/>
            <a:chOff x="5846" y="7033211"/>
            <a:chExt cx="3727954" cy="1577390"/>
          </a:xfrm>
        </p:grpSpPr>
        <p:sp>
          <p:nvSpPr>
            <p:cNvPr id="82" name="Rechthoek 81">
              <a:extLst>
                <a:ext uri="{FF2B5EF4-FFF2-40B4-BE49-F238E27FC236}">
                  <a16:creationId xmlns:a16="http://schemas.microsoft.com/office/drawing/2014/main" id="{0CF5A1CA-EE27-47FC-88A3-B0D49A98959F}"/>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83" name="Ovaal 82">
              <a:extLst>
                <a:ext uri="{FF2B5EF4-FFF2-40B4-BE49-F238E27FC236}">
                  <a16:creationId xmlns:a16="http://schemas.microsoft.com/office/drawing/2014/main" id="{E53C54DC-7429-41FD-A4B9-F45E7AA407F6}"/>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4" name="Rechthoek 83">
              <a:extLst>
                <a:ext uri="{FF2B5EF4-FFF2-40B4-BE49-F238E27FC236}">
                  <a16:creationId xmlns:a16="http://schemas.microsoft.com/office/drawing/2014/main" id="{8BAE9236-B278-4692-AF0B-290725246C8A}"/>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5" name="Ovaal 84">
              <a:extLst>
                <a:ext uri="{FF2B5EF4-FFF2-40B4-BE49-F238E27FC236}">
                  <a16:creationId xmlns:a16="http://schemas.microsoft.com/office/drawing/2014/main" id="{185ED036-D9E6-45A7-98BB-99139AE9F1C2}"/>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71E906A9-8982-474F-B2B0-E19DEB6C4A45}"/>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89" name="Groep 88">
              <a:extLst>
                <a:ext uri="{FF2B5EF4-FFF2-40B4-BE49-F238E27FC236}">
                  <a16:creationId xmlns:a16="http://schemas.microsoft.com/office/drawing/2014/main" id="{EF33900B-741D-48D9-A824-E639E70543EB}"/>
                </a:ext>
              </a:extLst>
            </p:cNvPr>
            <p:cNvGrpSpPr/>
            <p:nvPr userDrawn="1"/>
          </p:nvGrpSpPr>
          <p:grpSpPr>
            <a:xfrm>
              <a:off x="2939884" y="7739834"/>
              <a:ext cx="681133" cy="750023"/>
              <a:chOff x="-910573" y="4987990"/>
              <a:chExt cx="681133" cy="750023"/>
            </a:xfrm>
          </p:grpSpPr>
          <p:grpSp>
            <p:nvGrpSpPr>
              <p:cNvPr id="90" name="Groep 89">
                <a:extLst>
                  <a:ext uri="{FF2B5EF4-FFF2-40B4-BE49-F238E27FC236}">
                    <a16:creationId xmlns:a16="http://schemas.microsoft.com/office/drawing/2014/main" id="{BF21A99F-7F96-4038-9C4C-814A7C68A271}"/>
                  </a:ext>
                </a:extLst>
              </p:cNvPr>
              <p:cNvGrpSpPr/>
              <p:nvPr userDrawn="1"/>
            </p:nvGrpSpPr>
            <p:grpSpPr>
              <a:xfrm>
                <a:off x="-713542" y="4987990"/>
                <a:ext cx="287071" cy="379107"/>
                <a:chOff x="-4050578" y="288410"/>
                <a:chExt cx="322125" cy="379107"/>
              </a:xfrm>
            </p:grpSpPr>
            <p:sp>
              <p:nvSpPr>
                <p:cNvPr id="92" name="Rechthoek met één afgeknipte en afgeronde hoek 47">
                  <a:extLst>
                    <a:ext uri="{FF2B5EF4-FFF2-40B4-BE49-F238E27FC236}">
                      <a16:creationId xmlns:a16="http://schemas.microsoft.com/office/drawing/2014/main" id="{80BAC87F-FC07-4060-A0F7-6C49FF02E1F6}"/>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ige driehoek 92">
                  <a:extLst>
                    <a:ext uri="{FF2B5EF4-FFF2-40B4-BE49-F238E27FC236}">
                      <a16:creationId xmlns:a16="http://schemas.microsoft.com/office/drawing/2014/main" id="{5BC47A13-8EDD-41F2-81E9-7CA709F2C954}"/>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B5959CE5-4A89-4E6B-B761-078D41FEC824}"/>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5" name="Rechthoek 94">
                  <a:extLst>
                    <a:ext uri="{FF2B5EF4-FFF2-40B4-BE49-F238E27FC236}">
                      <a16:creationId xmlns:a16="http://schemas.microsoft.com/office/drawing/2014/main" id="{E6ABFB8F-6D8C-4B6F-B6A6-9D6E1ACBE035}"/>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1" name="Rechthoek 90">
                <a:extLst>
                  <a:ext uri="{FF2B5EF4-FFF2-40B4-BE49-F238E27FC236}">
                    <a16:creationId xmlns:a16="http://schemas.microsoft.com/office/drawing/2014/main" id="{18438F99-6736-4BC2-9A30-2A63041EF2B6}"/>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297536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36914" y="435769"/>
            <a:ext cx="8081303" cy="516848"/>
          </a:xfrm>
        </p:spPr>
        <p:txBody>
          <a:bodyPr lIns="0" tIns="0" rIns="0" bIns="0"/>
          <a:lstStyle>
            <a:lvl1pPr>
              <a:defRPr/>
            </a:lvl1pPr>
          </a:lstStyle>
          <a:p>
            <a:r>
              <a:rPr lang="en-US" noProof="0"/>
              <a:t>Add a slide title, </a:t>
            </a:r>
            <a:br>
              <a:rPr lang="en-US" noProof="0"/>
            </a:br>
            <a:r>
              <a:rPr lang="en-US" noProof="0"/>
              <a:t>max.2 lines</a:t>
            </a:r>
          </a:p>
        </p:txBody>
      </p:sp>
      <p:sp>
        <p:nvSpPr>
          <p:cNvPr id="3" name="Tijdelijke aanduiding voor verticale tekst 2"/>
          <p:cNvSpPr>
            <a:spLocks noGrp="1"/>
          </p:cNvSpPr>
          <p:nvPr>
            <p:ph type="body" orient="vert" idx="1" hasCustomPrompt="1"/>
          </p:nvPr>
        </p:nvSpPr>
        <p:spPr>
          <a:xfrm>
            <a:off x="523875" y="1598846"/>
            <a:ext cx="3917196" cy="2669623"/>
          </a:xfrm>
        </p:spPr>
        <p:txBody>
          <a:bodyPr vert="horz" lIns="0" tIns="0" rIns="0" bIns="0" numCol="1" spcCol="36000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Bullet</a:t>
            </a:r>
          </a:p>
          <a:p>
            <a:pPr lvl="1"/>
            <a:r>
              <a:rPr lang="en-US" noProof="0"/>
              <a:t>Sub-bullet</a:t>
            </a:r>
          </a:p>
          <a:p>
            <a:pPr lvl="2"/>
            <a:r>
              <a:rPr lang="en-US" noProof="0"/>
              <a:t>Default text</a:t>
            </a:r>
          </a:p>
          <a:p>
            <a:pPr lvl="3"/>
            <a:r>
              <a:rPr lang="en-US" noProof="0"/>
              <a:t>Subtitle</a:t>
            </a:r>
          </a:p>
          <a:p>
            <a:pPr lvl="4"/>
            <a:r>
              <a:rPr lang="en-US" noProof="0"/>
              <a:t>Numerical bullet</a:t>
            </a:r>
          </a:p>
          <a:p>
            <a:pPr lvl="5"/>
            <a:r>
              <a:rPr lang="en-US" noProof="0"/>
              <a:t>Bullet</a:t>
            </a:r>
          </a:p>
          <a:p>
            <a:pPr lvl="6"/>
            <a:r>
              <a:rPr lang="en-US" noProof="0"/>
              <a:t>Sub-bullet</a:t>
            </a:r>
          </a:p>
          <a:p>
            <a:pPr lvl="7"/>
            <a:r>
              <a:rPr lang="en-US" noProof="0"/>
              <a:t>Default text</a:t>
            </a:r>
          </a:p>
          <a:p>
            <a:pPr lvl="8"/>
            <a:r>
              <a:rPr lang="en-US" noProof="0"/>
              <a:t>Subtitle</a:t>
            </a:r>
          </a:p>
        </p:txBody>
      </p:sp>
      <p:sp>
        <p:nvSpPr>
          <p:cNvPr id="97" name="Tekstvak 96">
            <a:extLst>
              <a:ext uri="{FF2B5EF4-FFF2-40B4-BE49-F238E27FC236}">
                <a16:creationId xmlns:a16="http://schemas.microsoft.com/office/drawing/2014/main" id="{42C150F0-5342-4A57-8E37-9B1ABFD5C2B9}"/>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2 columns Text</a:t>
            </a:r>
          </a:p>
        </p:txBody>
      </p:sp>
      <p:grpSp>
        <p:nvGrpSpPr>
          <p:cNvPr id="19" name="Groep 18">
            <a:extLst>
              <a:ext uri="{FF2B5EF4-FFF2-40B4-BE49-F238E27FC236}">
                <a16:creationId xmlns:a16="http://schemas.microsoft.com/office/drawing/2014/main" id="{CF1897DE-F446-4D7F-930E-F637A92BBE93}"/>
              </a:ext>
            </a:extLst>
          </p:cNvPr>
          <p:cNvGrpSpPr/>
          <p:nvPr userDrawn="1"/>
        </p:nvGrpSpPr>
        <p:grpSpPr>
          <a:xfrm>
            <a:off x="-2839623" y="0"/>
            <a:ext cx="2694818" cy="3481004"/>
            <a:chOff x="-3786165" y="0"/>
            <a:chExt cx="3593091" cy="4641338"/>
          </a:xfrm>
        </p:grpSpPr>
        <p:sp>
          <p:nvSpPr>
            <p:cNvPr id="20" name="Rechthoek 19">
              <a:extLst>
                <a:ext uri="{FF2B5EF4-FFF2-40B4-BE49-F238E27FC236}">
                  <a16:creationId xmlns:a16="http://schemas.microsoft.com/office/drawing/2014/main" id="{E0BBF568-1653-4596-8468-4256AA71535A}"/>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21" name="Ovaal 20">
              <a:extLst>
                <a:ext uri="{FF2B5EF4-FFF2-40B4-BE49-F238E27FC236}">
                  <a16:creationId xmlns:a16="http://schemas.microsoft.com/office/drawing/2014/main" id="{696891D9-725C-461F-88AB-73D01BDCD962}"/>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2" name="Rechthoek 21">
              <a:extLst>
                <a:ext uri="{FF2B5EF4-FFF2-40B4-BE49-F238E27FC236}">
                  <a16:creationId xmlns:a16="http://schemas.microsoft.com/office/drawing/2014/main" id="{5D98A15E-FA04-4F9D-ABF0-497365F49A20}"/>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sp>
          <p:nvSpPr>
            <p:cNvPr id="23" name="Ovaal 22">
              <a:extLst>
                <a:ext uri="{FF2B5EF4-FFF2-40B4-BE49-F238E27FC236}">
                  <a16:creationId xmlns:a16="http://schemas.microsoft.com/office/drawing/2014/main" id="{008ECD05-6099-446A-B76A-0292C80A072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4" name="Rechthoek 23">
              <a:extLst>
                <a:ext uri="{FF2B5EF4-FFF2-40B4-BE49-F238E27FC236}">
                  <a16:creationId xmlns:a16="http://schemas.microsoft.com/office/drawing/2014/main" id="{154E899D-4F5D-4578-99CF-D44C9D39CEC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5" name="Rechthoek 24">
              <a:extLst>
                <a:ext uri="{FF2B5EF4-FFF2-40B4-BE49-F238E27FC236}">
                  <a16:creationId xmlns:a16="http://schemas.microsoft.com/office/drawing/2014/main" id="{45F400F0-39F0-4F2A-860B-D6560D910ECE}"/>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26" name="Ovaal 25">
              <a:extLst>
                <a:ext uri="{FF2B5EF4-FFF2-40B4-BE49-F238E27FC236}">
                  <a16:creationId xmlns:a16="http://schemas.microsoft.com/office/drawing/2014/main" id="{048E8294-F562-47A6-90B5-9E297D33AE2C}"/>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7" name="Rechthoek 26">
              <a:extLst>
                <a:ext uri="{FF2B5EF4-FFF2-40B4-BE49-F238E27FC236}">
                  <a16:creationId xmlns:a16="http://schemas.microsoft.com/office/drawing/2014/main" id="{E8722F8D-9F22-4839-ABC5-6137834F3D95}"/>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28" name="Ovaal 27">
              <a:extLst>
                <a:ext uri="{FF2B5EF4-FFF2-40B4-BE49-F238E27FC236}">
                  <a16:creationId xmlns:a16="http://schemas.microsoft.com/office/drawing/2014/main" id="{51A7DDA2-56E1-4AEF-9A07-B2638346EF92}"/>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9" name="Rechthoek 28">
              <a:extLst>
                <a:ext uri="{FF2B5EF4-FFF2-40B4-BE49-F238E27FC236}">
                  <a16:creationId xmlns:a16="http://schemas.microsoft.com/office/drawing/2014/main" id="{C04FB214-BA8C-45CC-96D8-32813F60568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chemeClr val="accent1"/>
                </a:buClr>
                <a:buSzTx/>
                <a:buFont typeface="Arial" panose="020B0604020202020204" pitchFamily="34" charset="0"/>
                <a:buNone/>
                <a:tabLst/>
                <a:defRPr/>
              </a:pPr>
              <a:r>
                <a:rPr lang="en-US" sz="1200" b="1" kern="1200" cap="none" spc="23" baseline="0" noProof="0">
                  <a:solidFill>
                    <a:schemeClr val="tx2">
                      <a:lumMod val="50000"/>
                    </a:schemeClr>
                  </a:solidFill>
                  <a:latin typeface="+mj-lt"/>
                  <a:ea typeface="+mn-ea"/>
                  <a:cs typeface="Calibri" panose="020F0502020204030204" pitchFamily="34" charset="0"/>
                </a:rPr>
                <a:t>Subtitle</a:t>
              </a:r>
            </a:p>
          </p:txBody>
        </p:sp>
        <p:sp>
          <p:nvSpPr>
            <p:cNvPr id="30" name="Ovaal 29">
              <a:extLst>
                <a:ext uri="{FF2B5EF4-FFF2-40B4-BE49-F238E27FC236}">
                  <a16:creationId xmlns:a16="http://schemas.microsoft.com/office/drawing/2014/main" id="{DC4861DB-1D05-466B-BD94-7A6593DDE0D2}"/>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31" name="Rechthoek 30">
              <a:extLst>
                <a:ext uri="{FF2B5EF4-FFF2-40B4-BE49-F238E27FC236}">
                  <a16:creationId xmlns:a16="http://schemas.microsoft.com/office/drawing/2014/main" id="{F2E4315B-C12C-488B-B7DA-B8419067D267}"/>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03597" marR="0" lvl="4" indent="-203597" algn="l" defTabSz="539354" rtl="0" eaLnBrk="1" fontAlgn="auto" latinLnBrk="0" hangingPunct="1">
                <a:lnSpc>
                  <a:spcPct val="100000"/>
                </a:lnSpc>
                <a:spcBef>
                  <a:spcPts val="225"/>
                </a:spcBef>
                <a:spcAft>
                  <a:spcPts val="450"/>
                </a:spcAft>
                <a:buClr>
                  <a:srgbClr val="3F3F3F"/>
                </a:buClr>
                <a:buSzTx/>
                <a:buFont typeface="+mj-lt"/>
                <a:buAutoNum type="arabicPeriod"/>
                <a:tabLst/>
                <a:defRPr/>
              </a:pPr>
              <a:r>
                <a:rPr kumimoji="0" lang="en-US" sz="900" b="0" i="0" u="none" strike="noStrike" kern="1200" cap="none" spc="0" normalizeH="0" baseline="0" noProof="0">
                  <a:ln>
                    <a:noFill/>
                  </a:ln>
                  <a:solidFill>
                    <a:schemeClr val="tx2">
                      <a:lumMod val="50000"/>
                    </a:schemeClr>
                  </a:solidFill>
                  <a:effectLst/>
                  <a:uLnTx/>
                  <a:uFillTx/>
                  <a:latin typeface="+mn-lt"/>
                  <a:ea typeface="+mn-ea"/>
                  <a:cs typeface="+mn-cs"/>
                </a:rPr>
                <a:t>Numerical bullet</a:t>
              </a:r>
            </a:p>
          </p:txBody>
        </p:sp>
        <p:sp>
          <p:nvSpPr>
            <p:cNvPr id="32" name="Ovaal 31">
              <a:extLst>
                <a:ext uri="{FF2B5EF4-FFF2-40B4-BE49-F238E27FC236}">
                  <a16:creationId xmlns:a16="http://schemas.microsoft.com/office/drawing/2014/main" id="{28778D20-AEA2-4E68-BAA8-CF8B8A5B8BE3}"/>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33" name="Rechthoek 32">
              <a:extLst>
                <a:ext uri="{FF2B5EF4-FFF2-40B4-BE49-F238E27FC236}">
                  <a16:creationId xmlns:a16="http://schemas.microsoft.com/office/drawing/2014/main" id="{315466A4-DA9A-4390-BD0D-FC9DBB421FBA}"/>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34" name="Ovaal 33">
              <a:extLst>
                <a:ext uri="{FF2B5EF4-FFF2-40B4-BE49-F238E27FC236}">
                  <a16:creationId xmlns:a16="http://schemas.microsoft.com/office/drawing/2014/main" id="{D1294F0F-DCC9-460F-BA10-46974798207E}"/>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35" name="Rechthoek 34">
              <a:extLst>
                <a:ext uri="{FF2B5EF4-FFF2-40B4-BE49-F238E27FC236}">
                  <a16:creationId xmlns:a16="http://schemas.microsoft.com/office/drawing/2014/main" id="{DB99E18A-FDE9-4860-9C42-713BF9F322F5}"/>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36" name="Ovaal 35">
              <a:extLst>
                <a:ext uri="{FF2B5EF4-FFF2-40B4-BE49-F238E27FC236}">
                  <a16:creationId xmlns:a16="http://schemas.microsoft.com/office/drawing/2014/main" id="{F04C4A19-0E35-4F17-882C-BFAC3DE54D7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7" name="Rechthoek 36">
              <a:extLst>
                <a:ext uri="{FF2B5EF4-FFF2-40B4-BE49-F238E27FC236}">
                  <a16:creationId xmlns:a16="http://schemas.microsoft.com/office/drawing/2014/main" id="{60D8B393-CC67-4275-B8FD-A5EBF5373CA0}"/>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rgbClr val="04A64B"/>
                </a:buClr>
                <a:buSzTx/>
                <a:buFont typeface="Arial" panose="020B0604020202020204" pitchFamily="34" charset="0"/>
                <a:buNone/>
                <a:tabLst/>
                <a:defRPr/>
              </a:pPr>
              <a:r>
                <a:rPr kumimoji="0" lang="en-US" sz="1200" b="1" i="0" u="none" strike="noStrike" kern="1200" cap="none" spc="23" normalizeH="0" baseline="0" noProof="0">
                  <a:ln>
                    <a:noFill/>
                  </a:ln>
                  <a:solidFill>
                    <a:srgbClr val="3F3F3F">
                      <a:lumMod val="50000"/>
                    </a:srgbClr>
                  </a:solidFill>
                  <a:effectLst/>
                  <a:uLnTx/>
                  <a:uFillTx/>
                  <a:latin typeface="+mn-lt"/>
                  <a:ea typeface="+mn-ea"/>
                  <a:cs typeface="Calibri" panose="020F0502020204030204" pitchFamily="34" charset="0"/>
                </a:rPr>
                <a:t>Subtitle</a:t>
              </a:r>
            </a:p>
          </p:txBody>
        </p:sp>
        <p:sp>
          <p:nvSpPr>
            <p:cNvPr id="38" name="Ovaal 37">
              <a:extLst>
                <a:ext uri="{FF2B5EF4-FFF2-40B4-BE49-F238E27FC236}">
                  <a16:creationId xmlns:a16="http://schemas.microsoft.com/office/drawing/2014/main" id="{09A20E08-6F8A-4710-920B-4AA75016B39A}"/>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9" name="Rechthoek 38">
              <a:extLst>
                <a:ext uri="{FF2B5EF4-FFF2-40B4-BE49-F238E27FC236}">
                  <a16:creationId xmlns:a16="http://schemas.microsoft.com/office/drawing/2014/main" id="{710F81B6-CE9C-4578-B325-854AB16D5EC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grpSp>
          <p:nvGrpSpPr>
            <p:cNvPr id="40" name="VOORBEELD">
              <a:extLst>
                <a:ext uri="{FF2B5EF4-FFF2-40B4-BE49-F238E27FC236}">
                  <a16:creationId xmlns:a16="http://schemas.microsoft.com/office/drawing/2014/main" id="{D4066F7A-A876-4F9A-A7E9-64BC1C6BFDBD}"/>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7648F66E-4D21-459A-A9FA-02483689F1DB}"/>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675" b="1" noProof="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56CAE5D7-44F5-44A0-83A5-B3F9E2A4406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7016C4FB-95C3-45F5-9C6E-3352DBF4BA62}"/>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08E6B041-9422-4CA7-9716-3486A8749958}"/>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47E51840-C0F0-4937-B01A-24D67C6C7E3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B9901D92-6427-4F4D-B1DD-08882F15D40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250CBFB1-B083-4523-ADD8-879BF0196946}"/>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5F761968-D43C-4D1C-981F-97EC40B28E1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3BE043FD-B92E-4949-A57A-2C7FB31EFE3C}"/>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8C8C30C4-6DB3-425E-9A55-FFC5C7E4311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76AD95C6-CE92-4A16-A1ED-848C35518F3C}"/>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D9E15C02-F9BB-4CBA-8F0D-148505760D63}"/>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00154A2E-ACDA-4CD3-9224-BD2BDD8D331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884637E3-3559-4C32-B07C-2631511E97D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46CD9BD2-6070-4BC3-A3B6-1C5226FFCCC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534FDE7E-0491-402C-8E10-A7C014B77DDA}"/>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CC0B2F2D-21A1-492F-BB9F-2C054AD6348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250ACFB1-6EF0-43A7-AE19-D8583AC192EE}"/>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F825F9F9-EBC8-4DA3-A429-AFE8DF672553}"/>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6A33023F-1C20-4DAA-828D-FE34A380CEC0}"/>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594864A8-E38E-493A-9810-ABD0E7DA18EC}"/>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48" name="Rechthoek 47">
                <a:extLst>
                  <a:ext uri="{FF2B5EF4-FFF2-40B4-BE49-F238E27FC236}">
                    <a16:creationId xmlns:a16="http://schemas.microsoft.com/office/drawing/2014/main" id="{6C32F7BD-541D-443B-8B96-B6AF31634913}"/>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49" name="Groep 48">
                <a:extLst>
                  <a:ext uri="{FF2B5EF4-FFF2-40B4-BE49-F238E27FC236}">
                    <a16:creationId xmlns:a16="http://schemas.microsoft.com/office/drawing/2014/main" id="{38370E1A-9FC0-4CB7-931C-59449EC0695C}"/>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C1BCEB75-5E3C-4B53-ABE5-BC2010F2D5B6}"/>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D3E60EDB-88BA-4DEC-9AF3-6A8FB479568A}"/>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EAA9C072-0B50-459C-A3BD-38C71BBE862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D3714E8E-D168-4730-B122-ABF82CBD833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94C10DCC-5640-41DF-A888-525521CC0219}"/>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19DF2477-A36C-4773-B28E-061A3B086B79}"/>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C1E22FFF-126D-4E43-83B8-74CE7A7F87E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56C24933-2F14-4D43-9AC2-E3CDE7292622}"/>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84C1F8BF-D5E6-4715-AFDB-284D067510DA}"/>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663C08AB-E0BB-4BDB-B8B8-7A00094D0305}"/>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C3E5C1E5-B250-4A46-8326-041E28CE53F7}"/>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C467030E-E27B-467B-BC7E-F2B0AE273DE9}"/>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A88C98A4-EA2C-42BB-B8D8-9F92E4264DE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9BB579E8-CD0D-43A1-9BCD-0D6610134048}"/>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A0815CB3-29FD-4A9F-8657-AB199A654C9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124D71E2-FE9E-4B04-9223-40B95CEF196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0060CDEB-7374-4625-8385-003B2BD90D4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grpSp>
      <p:sp>
        <p:nvSpPr>
          <p:cNvPr id="81" name="Tijdelijke aanduiding voor dianummer 5">
            <a:extLst>
              <a:ext uri="{FF2B5EF4-FFF2-40B4-BE49-F238E27FC236}">
                <a16:creationId xmlns:a16="http://schemas.microsoft.com/office/drawing/2014/main" id="{2AFF8F36-5E9C-42EA-A2E3-9AAD67DDCF65}"/>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82" name="INSTRUCTION">
            <a:extLst>
              <a:ext uri="{FF2B5EF4-FFF2-40B4-BE49-F238E27FC236}">
                <a16:creationId xmlns:a16="http://schemas.microsoft.com/office/drawing/2014/main" id="{1CDBE9FB-3593-48CF-A75B-DC52AA71B109}"/>
              </a:ext>
            </a:extLst>
          </p:cNvPr>
          <p:cNvGrpSpPr/>
          <p:nvPr userDrawn="1"/>
        </p:nvGrpSpPr>
        <p:grpSpPr>
          <a:xfrm>
            <a:off x="4384" y="5274908"/>
            <a:ext cx="2795966" cy="1183043"/>
            <a:chOff x="5846" y="7033211"/>
            <a:chExt cx="3727954" cy="1577390"/>
          </a:xfrm>
        </p:grpSpPr>
        <p:sp>
          <p:nvSpPr>
            <p:cNvPr id="83" name="Rechthoek 82">
              <a:extLst>
                <a:ext uri="{FF2B5EF4-FFF2-40B4-BE49-F238E27FC236}">
                  <a16:creationId xmlns:a16="http://schemas.microsoft.com/office/drawing/2014/main" id="{6C9A03F5-34CB-434F-83D5-0140D2E4743F}"/>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84" name="Ovaal 83">
              <a:extLst>
                <a:ext uri="{FF2B5EF4-FFF2-40B4-BE49-F238E27FC236}">
                  <a16:creationId xmlns:a16="http://schemas.microsoft.com/office/drawing/2014/main" id="{2597154D-26B8-418F-8F9B-95585032627C}"/>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76CD70E5-8B2E-466E-B6EC-CD39AD2ED36B}"/>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A936F827-7921-4DD7-89F9-2802E4265958}"/>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19586AFB-56DD-4CFF-83D7-15F5F516FD1E}"/>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88" name="Groep 87">
              <a:extLst>
                <a:ext uri="{FF2B5EF4-FFF2-40B4-BE49-F238E27FC236}">
                  <a16:creationId xmlns:a16="http://schemas.microsoft.com/office/drawing/2014/main" id="{6B788DFC-654C-4566-B9C4-537BD2DE26C8}"/>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A63B1D4B-3290-49E1-8250-D5D4FDE694F6}"/>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56F4F970-9DDD-4FB6-BA1A-79176662D7B2}"/>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591E38D8-D496-4CD2-817E-CF447DA01771}"/>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B54C65AE-9C85-47C2-8437-34AF18C33EE9}"/>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19927486-D7BA-4D11-BD8E-170B06773449}"/>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6C7D6CAA-DCCD-40C9-BB95-FD40877B8883}"/>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
        <p:nvSpPr>
          <p:cNvPr id="100" name="Tijdelijke aanduiding voor verticale tekst 2">
            <a:extLst>
              <a:ext uri="{FF2B5EF4-FFF2-40B4-BE49-F238E27FC236}">
                <a16:creationId xmlns:a16="http://schemas.microsoft.com/office/drawing/2014/main" id="{3BF81743-0EBA-4E68-BA64-A1C27BD2BC0E}"/>
              </a:ext>
            </a:extLst>
          </p:cNvPr>
          <p:cNvSpPr>
            <a:spLocks noGrp="1"/>
          </p:cNvSpPr>
          <p:nvPr>
            <p:ph type="body" orient="vert" idx="10" hasCustomPrompt="1"/>
          </p:nvPr>
        </p:nvSpPr>
        <p:spPr>
          <a:xfrm>
            <a:off x="4701020" y="1598846"/>
            <a:ext cx="3917196" cy="2669623"/>
          </a:xfrm>
        </p:spPr>
        <p:txBody>
          <a:bodyPr vert="horz" lIns="0" tIns="0" rIns="0" bIns="0" numCol="1" spcCol="36000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Bullet</a:t>
            </a:r>
          </a:p>
          <a:p>
            <a:pPr lvl="1"/>
            <a:r>
              <a:rPr lang="en-US" noProof="0"/>
              <a:t>Sub-bullet</a:t>
            </a:r>
          </a:p>
          <a:p>
            <a:pPr lvl="2"/>
            <a:r>
              <a:rPr lang="en-US" noProof="0"/>
              <a:t>Default text</a:t>
            </a:r>
          </a:p>
          <a:p>
            <a:pPr lvl="3"/>
            <a:r>
              <a:rPr lang="en-US" noProof="0"/>
              <a:t>Subtitle</a:t>
            </a:r>
          </a:p>
          <a:p>
            <a:pPr lvl="4"/>
            <a:r>
              <a:rPr lang="en-US" noProof="0"/>
              <a:t>Numerical bullet</a:t>
            </a:r>
          </a:p>
          <a:p>
            <a:pPr lvl="5"/>
            <a:r>
              <a:rPr lang="en-US" noProof="0"/>
              <a:t>Bullet</a:t>
            </a:r>
          </a:p>
          <a:p>
            <a:pPr lvl="6"/>
            <a:r>
              <a:rPr lang="en-US" noProof="0"/>
              <a:t>Sub-bullet</a:t>
            </a:r>
          </a:p>
          <a:p>
            <a:pPr lvl="7"/>
            <a:r>
              <a:rPr lang="en-US" noProof="0"/>
              <a:t>Default text</a:t>
            </a:r>
          </a:p>
          <a:p>
            <a:pPr lvl="8"/>
            <a:r>
              <a:rPr lang="en-US" noProof="0"/>
              <a:t>Subtitle</a:t>
            </a:r>
          </a:p>
        </p:txBody>
      </p:sp>
    </p:spTree>
    <p:extLst>
      <p:ext uri="{BB962C8B-B14F-4D97-AF65-F5344CB8AC3E}">
        <p14:creationId xmlns:p14="http://schemas.microsoft.com/office/powerpoint/2010/main" val="16276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Image (S)">
    <p:spTree>
      <p:nvGrpSpPr>
        <p:cNvPr id="1" name=""/>
        <p:cNvGrpSpPr/>
        <p:nvPr/>
      </p:nvGrpSpPr>
      <p:grpSpPr>
        <a:xfrm>
          <a:off x="0" y="0"/>
          <a:ext cx="0" cy="0"/>
          <a:chOff x="0" y="0"/>
          <a:chExt cx="0" cy="0"/>
        </a:xfrm>
      </p:grpSpPr>
      <p:sp>
        <p:nvSpPr>
          <p:cNvPr id="161" name="Tijdelijke aanduiding voor afbeelding 160">
            <a:extLst>
              <a:ext uri="{FF2B5EF4-FFF2-40B4-BE49-F238E27FC236}">
                <a16:creationId xmlns:a16="http://schemas.microsoft.com/office/drawing/2014/main" id="{F4874501-5059-4EA5-98E9-12D9D7C9B1BD}"/>
              </a:ext>
            </a:extLst>
          </p:cNvPr>
          <p:cNvSpPr>
            <a:spLocks noGrp="1"/>
          </p:cNvSpPr>
          <p:nvPr>
            <p:ph type="pic" sz="quarter" idx="14" hasCustomPrompt="1"/>
          </p:nvPr>
        </p:nvSpPr>
        <p:spPr>
          <a:xfrm>
            <a:off x="5837362" y="-8263"/>
            <a:ext cx="3306638" cy="4524899"/>
          </a:xfrm>
          <a:custGeom>
            <a:avLst/>
            <a:gdLst>
              <a:gd name="connsiteX0" fmla="*/ 4408850 w 4408850"/>
              <a:gd name="connsiteY0" fmla="*/ 6033278 h 6877717"/>
              <a:gd name="connsiteX1" fmla="*/ 4408850 w 4408850"/>
              <a:gd name="connsiteY1" fmla="*/ 6877717 h 6877717"/>
              <a:gd name="connsiteX2" fmla="*/ 0 w 4408850"/>
              <a:gd name="connsiteY2" fmla="*/ 6877717 h 6877717"/>
              <a:gd name="connsiteX3" fmla="*/ 0 w 4408850"/>
              <a:gd name="connsiteY3" fmla="*/ 6867584 h 6877717"/>
              <a:gd name="connsiteX4" fmla="*/ 4399325 w 4408850"/>
              <a:gd name="connsiteY4" fmla="*/ 6869017 h 6877717"/>
              <a:gd name="connsiteX5" fmla="*/ 0 w 4408850"/>
              <a:gd name="connsiteY5" fmla="*/ 0 h 6877717"/>
              <a:gd name="connsiteX6" fmla="*/ 4408850 w 4408850"/>
              <a:gd name="connsiteY6" fmla="*/ 0 h 6877717"/>
              <a:gd name="connsiteX7" fmla="*/ 4408850 w 4408850"/>
              <a:gd name="connsiteY7" fmla="*/ 6033198 h 6877717"/>
              <a:gd name="connsiteX8" fmla="*/ 4388157 w 4408850"/>
              <a:gd name="connsiteY8" fmla="*/ 6033096 h 6877717"/>
              <a:gd name="connsiteX9" fmla="*/ 98333 w 4408850"/>
              <a:gd name="connsiteY9" fmla="*/ 6023221 h 6877717"/>
              <a:gd name="connsiteX10" fmla="*/ 0 w 4408850"/>
              <a:gd name="connsiteY10" fmla="*/ 6022983 h 6877717"/>
              <a:gd name="connsiteX0" fmla="*/ 4408850 w 4408850"/>
              <a:gd name="connsiteY0" fmla="*/ 6033278 h 6877717"/>
              <a:gd name="connsiteX1" fmla="*/ 4408850 w 4408850"/>
              <a:gd name="connsiteY1" fmla="*/ 6877717 h 6877717"/>
              <a:gd name="connsiteX2" fmla="*/ 0 w 4408850"/>
              <a:gd name="connsiteY2" fmla="*/ 6877717 h 6877717"/>
              <a:gd name="connsiteX3" fmla="*/ 4399325 w 4408850"/>
              <a:gd name="connsiteY3" fmla="*/ 6869017 h 6877717"/>
              <a:gd name="connsiteX4" fmla="*/ 4408850 w 4408850"/>
              <a:gd name="connsiteY4" fmla="*/ 6033278 h 6877717"/>
              <a:gd name="connsiteX5" fmla="*/ 0 w 4408850"/>
              <a:gd name="connsiteY5" fmla="*/ 0 h 6877717"/>
              <a:gd name="connsiteX6" fmla="*/ 4408850 w 4408850"/>
              <a:gd name="connsiteY6" fmla="*/ 0 h 6877717"/>
              <a:gd name="connsiteX7" fmla="*/ 4408850 w 4408850"/>
              <a:gd name="connsiteY7" fmla="*/ 6033198 h 6877717"/>
              <a:gd name="connsiteX8" fmla="*/ 4388157 w 4408850"/>
              <a:gd name="connsiteY8" fmla="*/ 6033096 h 6877717"/>
              <a:gd name="connsiteX9" fmla="*/ 98333 w 4408850"/>
              <a:gd name="connsiteY9" fmla="*/ 6023221 h 6877717"/>
              <a:gd name="connsiteX10" fmla="*/ 0 w 4408850"/>
              <a:gd name="connsiteY10" fmla="*/ 6022983 h 6877717"/>
              <a:gd name="connsiteX11" fmla="*/ 0 w 4408850"/>
              <a:gd name="connsiteY11" fmla="*/ 0 h 6877717"/>
              <a:gd name="connsiteX0" fmla="*/ 4408850 w 4408850"/>
              <a:gd name="connsiteY0" fmla="*/ 6033278 h 6877717"/>
              <a:gd name="connsiteX1" fmla="*/ 4408850 w 4408850"/>
              <a:gd name="connsiteY1" fmla="*/ 6877717 h 6877717"/>
              <a:gd name="connsiteX2" fmla="*/ 4399325 w 4408850"/>
              <a:gd name="connsiteY2" fmla="*/ 6869017 h 6877717"/>
              <a:gd name="connsiteX3" fmla="*/ 4408850 w 4408850"/>
              <a:gd name="connsiteY3" fmla="*/ 6033278 h 6877717"/>
              <a:gd name="connsiteX4" fmla="*/ 0 w 4408850"/>
              <a:gd name="connsiteY4" fmla="*/ 0 h 6877717"/>
              <a:gd name="connsiteX5" fmla="*/ 4408850 w 4408850"/>
              <a:gd name="connsiteY5" fmla="*/ 0 h 6877717"/>
              <a:gd name="connsiteX6" fmla="*/ 4408850 w 4408850"/>
              <a:gd name="connsiteY6" fmla="*/ 6033198 h 6877717"/>
              <a:gd name="connsiteX7" fmla="*/ 4388157 w 4408850"/>
              <a:gd name="connsiteY7" fmla="*/ 6033096 h 6877717"/>
              <a:gd name="connsiteX8" fmla="*/ 98333 w 4408850"/>
              <a:gd name="connsiteY8" fmla="*/ 6023221 h 6877717"/>
              <a:gd name="connsiteX9" fmla="*/ 0 w 4408850"/>
              <a:gd name="connsiteY9" fmla="*/ 6022983 h 6877717"/>
              <a:gd name="connsiteX10" fmla="*/ 0 w 4408850"/>
              <a:gd name="connsiteY10" fmla="*/ 0 h 6877717"/>
              <a:gd name="connsiteX0" fmla="*/ 4408850 w 4408850"/>
              <a:gd name="connsiteY0" fmla="*/ 6033278 h 6877717"/>
              <a:gd name="connsiteX1" fmla="*/ 4408850 w 4408850"/>
              <a:gd name="connsiteY1" fmla="*/ 6877717 h 6877717"/>
              <a:gd name="connsiteX2" fmla="*/ 4408850 w 4408850"/>
              <a:gd name="connsiteY2" fmla="*/ 6033278 h 6877717"/>
              <a:gd name="connsiteX3" fmla="*/ 0 w 4408850"/>
              <a:gd name="connsiteY3" fmla="*/ 0 h 6877717"/>
              <a:gd name="connsiteX4" fmla="*/ 4408850 w 4408850"/>
              <a:gd name="connsiteY4" fmla="*/ 0 h 6877717"/>
              <a:gd name="connsiteX5" fmla="*/ 4408850 w 4408850"/>
              <a:gd name="connsiteY5" fmla="*/ 6033198 h 6877717"/>
              <a:gd name="connsiteX6" fmla="*/ 4388157 w 4408850"/>
              <a:gd name="connsiteY6" fmla="*/ 6033096 h 6877717"/>
              <a:gd name="connsiteX7" fmla="*/ 98333 w 4408850"/>
              <a:gd name="connsiteY7" fmla="*/ 6023221 h 6877717"/>
              <a:gd name="connsiteX8" fmla="*/ 0 w 4408850"/>
              <a:gd name="connsiteY8" fmla="*/ 6022983 h 6877717"/>
              <a:gd name="connsiteX9" fmla="*/ 0 w 4408850"/>
              <a:gd name="connsiteY9" fmla="*/ 0 h 6877717"/>
              <a:gd name="connsiteX0" fmla="*/ 0 w 4408850"/>
              <a:gd name="connsiteY0" fmla="*/ 0 h 6033198"/>
              <a:gd name="connsiteX1" fmla="*/ 4408850 w 4408850"/>
              <a:gd name="connsiteY1" fmla="*/ 0 h 6033198"/>
              <a:gd name="connsiteX2" fmla="*/ 4408850 w 4408850"/>
              <a:gd name="connsiteY2" fmla="*/ 6033198 h 6033198"/>
              <a:gd name="connsiteX3" fmla="*/ 4388157 w 4408850"/>
              <a:gd name="connsiteY3" fmla="*/ 6033096 h 6033198"/>
              <a:gd name="connsiteX4" fmla="*/ 98333 w 4408850"/>
              <a:gd name="connsiteY4" fmla="*/ 6023221 h 6033198"/>
              <a:gd name="connsiteX5" fmla="*/ 0 w 4408850"/>
              <a:gd name="connsiteY5" fmla="*/ 6022983 h 6033198"/>
              <a:gd name="connsiteX6" fmla="*/ 0 w 4408850"/>
              <a:gd name="connsiteY6" fmla="*/ 0 h 6033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8850" h="6033198">
                <a:moveTo>
                  <a:pt x="0" y="0"/>
                </a:moveTo>
                <a:lnTo>
                  <a:pt x="4408850" y="0"/>
                </a:lnTo>
                <a:lnTo>
                  <a:pt x="4408850" y="6033198"/>
                </a:lnTo>
                <a:lnTo>
                  <a:pt x="4388157" y="6033096"/>
                </a:lnTo>
                <a:lnTo>
                  <a:pt x="98333" y="6023221"/>
                </a:lnTo>
                <a:lnTo>
                  <a:pt x="0" y="6022983"/>
                </a:lnTo>
                <a:lnTo>
                  <a:pt x="0" y="0"/>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125" i="1">
                <a:solidFill>
                  <a:schemeClr val="tx1">
                    <a:lumMod val="50000"/>
                    <a:lumOff val="50000"/>
                  </a:schemeClr>
                </a:solidFill>
              </a:defRPr>
            </a:lvl1pPr>
          </a:lstStyle>
          <a:p>
            <a:r>
              <a:rPr lang="en-US"/>
              <a:t>Click the icon below </a:t>
            </a:r>
            <a:br>
              <a:rPr lang="en-US"/>
            </a:br>
            <a:r>
              <a:rPr lang="en-US"/>
              <a:t>to add an image.</a:t>
            </a:r>
          </a:p>
        </p:txBody>
      </p:sp>
      <p:sp>
        <p:nvSpPr>
          <p:cNvPr id="137" name="Tekstvak 136">
            <a:extLst>
              <a:ext uri="{FF2B5EF4-FFF2-40B4-BE49-F238E27FC236}">
                <a16:creationId xmlns:a16="http://schemas.microsoft.com/office/drawing/2014/main" id="{03D5E4D2-EE40-49F0-BF67-A7535C23DCA3}"/>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Text and Image (S)</a:t>
            </a:r>
          </a:p>
        </p:txBody>
      </p:sp>
      <p:sp>
        <p:nvSpPr>
          <p:cNvPr id="9" name="Titel 8">
            <a:extLst>
              <a:ext uri="{FF2B5EF4-FFF2-40B4-BE49-F238E27FC236}">
                <a16:creationId xmlns:a16="http://schemas.microsoft.com/office/drawing/2014/main" id="{C0A90D91-E9F4-4D75-9AAA-BFC23787A46F}"/>
              </a:ext>
            </a:extLst>
          </p:cNvPr>
          <p:cNvSpPr>
            <a:spLocks noGrp="1"/>
          </p:cNvSpPr>
          <p:nvPr>
            <p:ph type="title" hasCustomPrompt="1"/>
          </p:nvPr>
        </p:nvSpPr>
        <p:spPr>
          <a:xfrm>
            <a:off x="523875" y="435769"/>
            <a:ext cx="5034692" cy="516848"/>
          </a:xfrm>
        </p:spPr>
        <p:txBody>
          <a:bodyPr/>
          <a:lstStyle/>
          <a:p>
            <a:r>
              <a:rPr lang="en-US" noProof="0"/>
              <a:t>Add a slide title, </a:t>
            </a:r>
            <a:br>
              <a:rPr lang="en-US" noProof="0"/>
            </a:br>
            <a:r>
              <a:rPr lang="en-US" noProof="0"/>
              <a:t>max.2 lines</a:t>
            </a:r>
            <a:endParaRPr lang="en-US"/>
          </a:p>
        </p:txBody>
      </p:sp>
      <p:sp>
        <p:nvSpPr>
          <p:cNvPr id="141" name="Tijdelijke aanduiding voor verticale tekst 2">
            <a:extLst>
              <a:ext uri="{FF2B5EF4-FFF2-40B4-BE49-F238E27FC236}">
                <a16:creationId xmlns:a16="http://schemas.microsoft.com/office/drawing/2014/main" id="{BDE3D836-567D-4D73-8EA2-8A2DC75E40AC}"/>
              </a:ext>
            </a:extLst>
          </p:cNvPr>
          <p:cNvSpPr>
            <a:spLocks noGrp="1"/>
          </p:cNvSpPr>
          <p:nvPr>
            <p:ph type="body" orient="vert" idx="1" hasCustomPrompt="1"/>
          </p:nvPr>
        </p:nvSpPr>
        <p:spPr>
          <a:xfrm>
            <a:off x="523875" y="1598846"/>
            <a:ext cx="5034692" cy="2669623"/>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Bullet</a:t>
            </a:r>
          </a:p>
          <a:p>
            <a:pPr lvl="1"/>
            <a:r>
              <a:rPr lang="en-US" noProof="0"/>
              <a:t>Sub-bullet</a:t>
            </a:r>
          </a:p>
          <a:p>
            <a:pPr lvl="2"/>
            <a:r>
              <a:rPr lang="en-US" noProof="0"/>
              <a:t>Default text</a:t>
            </a:r>
          </a:p>
          <a:p>
            <a:pPr lvl="3"/>
            <a:r>
              <a:rPr lang="en-US" noProof="0"/>
              <a:t>Subtitle</a:t>
            </a:r>
          </a:p>
          <a:p>
            <a:pPr lvl="4"/>
            <a:r>
              <a:rPr lang="en-US" noProof="0"/>
              <a:t>Numerical bullet</a:t>
            </a:r>
          </a:p>
          <a:p>
            <a:pPr lvl="5"/>
            <a:r>
              <a:rPr lang="en-US" noProof="0"/>
              <a:t>Bullet</a:t>
            </a:r>
          </a:p>
          <a:p>
            <a:pPr lvl="6"/>
            <a:r>
              <a:rPr lang="en-US" noProof="0"/>
              <a:t>Sub-bullet</a:t>
            </a:r>
          </a:p>
          <a:p>
            <a:pPr lvl="7"/>
            <a:r>
              <a:rPr lang="en-US" noProof="0"/>
              <a:t>Default text</a:t>
            </a:r>
          </a:p>
          <a:p>
            <a:pPr lvl="8"/>
            <a:r>
              <a:rPr lang="en-US" noProof="0"/>
              <a:t>Subtitle</a:t>
            </a:r>
          </a:p>
        </p:txBody>
      </p:sp>
      <p:grpSp>
        <p:nvGrpSpPr>
          <p:cNvPr id="310" name="Groep 309">
            <a:extLst>
              <a:ext uri="{FF2B5EF4-FFF2-40B4-BE49-F238E27FC236}">
                <a16:creationId xmlns:a16="http://schemas.microsoft.com/office/drawing/2014/main" id="{FA77D0C6-DF5D-4D07-BB6C-5D06321AAE0A}"/>
              </a:ext>
            </a:extLst>
          </p:cNvPr>
          <p:cNvGrpSpPr/>
          <p:nvPr userDrawn="1"/>
        </p:nvGrpSpPr>
        <p:grpSpPr>
          <a:xfrm>
            <a:off x="-2839623" y="0"/>
            <a:ext cx="2694818" cy="3481004"/>
            <a:chOff x="-3786165" y="0"/>
            <a:chExt cx="3593091" cy="4641338"/>
          </a:xfrm>
        </p:grpSpPr>
        <p:sp>
          <p:nvSpPr>
            <p:cNvPr id="311" name="Rechthoek 310">
              <a:extLst>
                <a:ext uri="{FF2B5EF4-FFF2-40B4-BE49-F238E27FC236}">
                  <a16:creationId xmlns:a16="http://schemas.microsoft.com/office/drawing/2014/main" id="{5256DEB0-3671-4EFA-BC05-6ECDA62C010C}"/>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312" name="Ovaal 311">
              <a:extLst>
                <a:ext uri="{FF2B5EF4-FFF2-40B4-BE49-F238E27FC236}">
                  <a16:creationId xmlns:a16="http://schemas.microsoft.com/office/drawing/2014/main" id="{28862CD2-00AE-4041-BB59-3384B8B5DDBE}"/>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13" name="Rechthoek 312">
              <a:extLst>
                <a:ext uri="{FF2B5EF4-FFF2-40B4-BE49-F238E27FC236}">
                  <a16:creationId xmlns:a16="http://schemas.microsoft.com/office/drawing/2014/main" id="{FF5E4D4C-5241-43B4-B990-BC4787E105D7}"/>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sp>
          <p:nvSpPr>
            <p:cNvPr id="314" name="Ovaal 313">
              <a:extLst>
                <a:ext uri="{FF2B5EF4-FFF2-40B4-BE49-F238E27FC236}">
                  <a16:creationId xmlns:a16="http://schemas.microsoft.com/office/drawing/2014/main" id="{818A5958-3BA4-49E7-9B93-0F1F717F14FB}"/>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315" name="Rechthoek 314">
              <a:extLst>
                <a:ext uri="{FF2B5EF4-FFF2-40B4-BE49-F238E27FC236}">
                  <a16:creationId xmlns:a16="http://schemas.microsoft.com/office/drawing/2014/main" id="{9E2088C2-A22D-4814-9B18-ED7A5ABD6995}"/>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316" name="Rechthoek 315">
              <a:extLst>
                <a:ext uri="{FF2B5EF4-FFF2-40B4-BE49-F238E27FC236}">
                  <a16:creationId xmlns:a16="http://schemas.microsoft.com/office/drawing/2014/main" id="{FB940AEE-79A2-49B8-A1D0-0DDE837AF530}"/>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317" name="Ovaal 316">
              <a:extLst>
                <a:ext uri="{FF2B5EF4-FFF2-40B4-BE49-F238E27FC236}">
                  <a16:creationId xmlns:a16="http://schemas.microsoft.com/office/drawing/2014/main" id="{362DCD7C-F7A4-416D-B098-21762126C046}"/>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18" name="Rechthoek 317">
              <a:extLst>
                <a:ext uri="{FF2B5EF4-FFF2-40B4-BE49-F238E27FC236}">
                  <a16:creationId xmlns:a16="http://schemas.microsoft.com/office/drawing/2014/main" id="{8A263B37-B99B-422D-97FB-570FB1DA38C7}"/>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319" name="Ovaal 318">
              <a:extLst>
                <a:ext uri="{FF2B5EF4-FFF2-40B4-BE49-F238E27FC236}">
                  <a16:creationId xmlns:a16="http://schemas.microsoft.com/office/drawing/2014/main" id="{D4729EFB-9002-4723-9476-A56D214DDE4B}"/>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20" name="Rechthoek 319">
              <a:extLst>
                <a:ext uri="{FF2B5EF4-FFF2-40B4-BE49-F238E27FC236}">
                  <a16:creationId xmlns:a16="http://schemas.microsoft.com/office/drawing/2014/main" id="{C83B4D9C-A0D7-4808-8799-B28E33FDF403}"/>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chemeClr val="accent1"/>
                </a:buClr>
                <a:buSzTx/>
                <a:buFont typeface="Arial" panose="020B0604020202020204" pitchFamily="34" charset="0"/>
                <a:buNone/>
                <a:tabLst/>
                <a:defRPr/>
              </a:pPr>
              <a:r>
                <a:rPr lang="en-US" sz="1200" b="1" kern="1200" cap="none" spc="23" baseline="0" noProof="0">
                  <a:solidFill>
                    <a:schemeClr val="tx2">
                      <a:lumMod val="50000"/>
                    </a:schemeClr>
                  </a:solidFill>
                  <a:latin typeface="+mj-lt"/>
                  <a:ea typeface="+mn-ea"/>
                  <a:cs typeface="Calibri" panose="020F0502020204030204" pitchFamily="34" charset="0"/>
                </a:rPr>
                <a:t>Subtitle</a:t>
              </a:r>
            </a:p>
          </p:txBody>
        </p:sp>
        <p:sp>
          <p:nvSpPr>
            <p:cNvPr id="321" name="Ovaal 320">
              <a:extLst>
                <a:ext uri="{FF2B5EF4-FFF2-40B4-BE49-F238E27FC236}">
                  <a16:creationId xmlns:a16="http://schemas.microsoft.com/office/drawing/2014/main" id="{DEFCC877-1B0C-483A-B758-24F9D8193834}"/>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322" name="Rechthoek 321">
              <a:extLst>
                <a:ext uri="{FF2B5EF4-FFF2-40B4-BE49-F238E27FC236}">
                  <a16:creationId xmlns:a16="http://schemas.microsoft.com/office/drawing/2014/main" id="{2C11E1DD-7AAC-4F3C-A9A4-62588BE1135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03597" marR="0" lvl="4" indent="-203597" algn="l" defTabSz="539354" rtl="0" eaLnBrk="1" fontAlgn="auto" latinLnBrk="0" hangingPunct="1">
                <a:lnSpc>
                  <a:spcPct val="100000"/>
                </a:lnSpc>
                <a:spcBef>
                  <a:spcPts val="225"/>
                </a:spcBef>
                <a:spcAft>
                  <a:spcPts val="450"/>
                </a:spcAft>
                <a:buClr>
                  <a:srgbClr val="3F3F3F"/>
                </a:buClr>
                <a:buSzTx/>
                <a:buFont typeface="+mj-lt"/>
                <a:buAutoNum type="arabicPeriod"/>
                <a:tabLst/>
                <a:defRPr/>
              </a:pPr>
              <a:r>
                <a:rPr kumimoji="0" lang="en-US" sz="900" b="0" i="0" u="none" strike="noStrike" kern="1200" cap="none" spc="0" normalizeH="0" baseline="0" noProof="0">
                  <a:ln>
                    <a:noFill/>
                  </a:ln>
                  <a:solidFill>
                    <a:schemeClr val="tx2">
                      <a:lumMod val="50000"/>
                    </a:schemeClr>
                  </a:solidFill>
                  <a:effectLst/>
                  <a:uLnTx/>
                  <a:uFillTx/>
                  <a:latin typeface="+mn-lt"/>
                  <a:ea typeface="+mn-ea"/>
                  <a:cs typeface="+mn-cs"/>
                </a:rPr>
                <a:t>Numerical bullet</a:t>
              </a:r>
            </a:p>
          </p:txBody>
        </p:sp>
        <p:sp>
          <p:nvSpPr>
            <p:cNvPr id="323" name="Ovaal 322">
              <a:extLst>
                <a:ext uri="{FF2B5EF4-FFF2-40B4-BE49-F238E27FC236}">
                  <a16:creationId xmlns:a16="http://schemas.microsoft.com/office/drawing/2014/main" id="{F2EDF888-6380-4D5F-97F8-0AEA1812DC6A}"/>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324" name="Rechthoek 323">
              <a:extLst>
                <a:ext uri="{FF2B5EF4-FFF2-40B4-BE49-F238E27FC236}">
                  <a16:creationId xmlns:a16="http://schemas.microsoft.com/office/drawing/2014/main" id="{4B48375B-DC66-428B-AC58-CCC6CAE254A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325" name="Ovaal 324">
              <a:extLst>
                <a:ext uri="{FF2B5EF4-FFF2-40B4-BE49-F238E27FC236}">
                  <a16:creationId xmlns:a16="http://schemas.microsoft.com/office/drawing/2014/main" id="{E9EFB742-B1B5-4DC9-A1F1-F7A463B3EC8D}"/>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326" name="Rechthoek 325">
              <a:extLst>
                <a:ext uri="{FF2B5EF4-FFF2-40B4-BE49-F238E27FC236}">
                  <a16:creationId xmlns:a16="http://schemas.microsoft.com/office/drawing/2014/main" id="{5337F1D1-DA1C-4678-B74A-CEFE4A40A02F}"/>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327" name="Ovaal 326">
              <a:extLst>
                <a:ext uri="{FF2B5EF4-FFF2-40B4-BE49-F238E27FC236}">
                  <a16:creationId xmlns:a16="http://schemas.microsoft.com/office/drawing/2014/main" id="{001968DE-4FB7-4A2D-9299-97FA0F198205}"/>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28" name="Rechthoek 327">
              <a:extLst>
                <a:ext uri="{FF2B5EF4-FFF2-40B4-BE49-F238E27FC236}">
                  <a16:creationId xmlns:a16="http://schemas.microsoft.com/office/drawing/2014/main" id="{04EAA865-6F8A-4E65-AEE7-909EBD14E03C}"/>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rgbClr val="04A64B"/>
                </a:buClr>
                <a:buSzTx/>
                <a:buFont typeface="Arial" panose="020B0604020202020204" pitchFamily="34" charset="0"/>
                <a:buNone/>
                <a:tabLst/>
                <a:defRPr/>
              </a:pPr>
              <a:r>
                <a:rPr kumimoji="0" lang="en-US" sz="1200" b="1" i="0" u="none" strike="noStrike" kern="1200" cap="none" spc="23" normalizeH="0" baseline="0" noProof="0">
                  <a:ln>
                    <a:noFill/>
                  </a:ln>
                  <a:solidFill>
                    <a:srgbClr val="3F3F3F">
                      <a:lumMod val="50000"/>
                    </a:srgbClr>
                  </a:solidFill>
                  <a:effectLst/>
                  <a:uLnTx/>
                  <a:uFillTx/>
                  <a:latin typeface="+mn-lt"/>
                  <a:ea typeface="+mn-ea"/>
                  <a:cs typeface="Calibri" panose="020F0502020204030204" pitchFamily="34" charset="0"/>
                </a:rPr>
                <a:t>Subtitle</a:t>
              </a:r>
            </a:p>
          </p:txBody>
        </p:sp>
        <p:sp>
          <p:nvSpPr>
            <p:cNvPr id="329" name="Ovaal 328">
              <a:extLst>
                <a:ext uri="{FF2B5EF4-FFF2-40B4-BE49-F238E27FC236}">
                  <a16:creationId xmlns:a16="http://schemas.microsoft.com/office/drawing/2014/main" id="{88A4C843-BFD4-4CBF-8816-984ABF5E22D0}"/>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30" name="Rechthoek 329">
              <a:extLst>
                <a:ext uri="{FF2B5EF4-FFF2-40B4-BE49-F238E27FC236}">
                  <a16:creationId xmlns:a16="http://schemas.microsoft.com/office/drawing/2014/main" id="{0D8395BF-2BB3-4E97-B128-89745F83488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grpSp>
          <p:nvGrpSpPr>
            <p:cNvPr id="331" name="VOORBEELD">
              <a:extLst>
                <a:ext uri="{FF2B5EF4-FFF2-40B4-BE49-F238E27FC236}">
                  <a16:creationId xmlns:a16="http://schemas.microsoft.com/office/drawing/2014/main" id="{189FA508-777E-480C-B7D3-9F4DE4626C8D}"/>
                </a:ext>
              </a:extLst>
            </p:cNvPr>
            <p:cNvGrpSpPr/>
            <p:nvPr userDrawn="1"/>
          </p:nvGrpSpPr>
          <p:grpSpPr>
            <a:xfrm>
              <a:off x="-3605171" y="458674"/>
              <a:ext cx="3234311" cy="558875"/>
              <a:chOff x="-3605171" y="458674"/>
              <a:chExt cx="3234311" cy="558875"/>
            </a:xfrm>
          </p:grpSpPr>
          <p:sp>
            <p:nvSpPr>
              <p:cNvPr id="332" name="Rechthoek 331">
                <a:extLst>
                  <a:ext uri="{FF2B5EF4-FFF2-40B4-BE49-F238E27FC236}">
                    <a16:creationId xmlns:a16="http://schemas.microsoft.com/office/drawing/2014/main" id="{DC5319D4-B90D-4A73-827A-F3E6567F7B2D}"/>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675" b="1" noProof="0">
                    <a:solidFill>
                      <a:srgbClr val="211F26"/>
                    </a:solidFill>
                    <a:latin typeface="Calibri" panose="020F0502020204030204" pitchFamily="34" charset="0"/>
                    <a:cs typeface="Calibri" panose="020F0502020204030204" pitchFamily="34" charset="0"/>
                  </a:rPr>
                  <a:t>Home</a:t>
                </a:r>
              </a:p>
            </p:txBody>
          </p:sp>
          <p:sp>
            <p:nvSpPr>
              <p:cNvPr id="333" name="Rechthoek 332">
                <a:extLst>
                  <a:ext uri="{FF2B5EF4-FFF2-40B4-BE49-F238E27FC236}">
                    <a16:creationId xmlns:a16="http://schemas.microsoft.com/office/drawing/2014/main" id="{8E9F81A8-42B4-475F-BBC5-63CCAD952BD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334" name="Groep 333">
                <a:extLst>
                  <a:ext uri="{FF2B5EF4-FFF2-40B4-BE49-F238E27FC236}">
                    <a16:creationId xmlns:a16="http://schemas.microsoft.com/office/drawing/2014/main" id="{2EE0CCEC-B882-479D-ACB1-50314189D3A4}"/>
                  </a:ext>
                </a:extLst>
              </p:cNvPr>
              <p:cNvGrpSpPr/>
              <p:nvPr userDrawn="1"/>
            </p:nvGrpSpPr>
            <p:grpSpPr>
              <a:xfrm>
                <a:off x="-3386247" y="830871"/>
                <a:ext cx="139423" cy="109566"/>
                <a:chOff x="-2866744" y="827071"/>
                <a:chExt cx="168701" cy="132575"/>
              </a:xfrm>
            </p:grpSpPr>
            <p:grpSp>
              <p:nvGrpSpPr>
                <p:cNvPr id="365" name="Groep 364">
                  <a:extLst>
                    <a:ext uri="{FF2B5EF4-FFF2-40B4-BE49-F238E27FC236}">
                      <a16:creationId xmlns:a16="http://schemas.microsoft.com/office/drawing/2014/main" id="{4F10FCF8-65B3-45E0-B7F8-86F0CE896EBD}"/>
                    </a:ext>
                  </a:extLst>
                </p:cNvPr>
                <p:cNvGrpSpPr/>
                <p:nvPr userDrawn="1"/>
              </p:nvGrpSpPr>
              <p:grpSpPr>
                <a:xfrm>
                  <a:off x="-2866744" y="827071"/>
                  <a:ext cx="168701" cy="132575"/>
                  <a:chOff x="-2866744" y="827071"/>
                  <a:chExt cx="168701" cy="132575"/>
                </a:xfrm>
              </p:grpSpPr>
              <p:cxnSp>
                <p:nvCxnSpPr>
                  <p:cNvPr id="367" name="Rechte verbindingslijn 366">
                    <a:extLst>
                      <a:ext uri="{FF2B5EF4-FFF2-40B4-BE49-F238E27FC236}">
                        <a16:creationId xmlns:a16="http://schemas.microsoft.com/office/drawing/2014/main" id="{149C178C-4FA0-47BF-BFA0-9A39844DAF79}"/>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68" name="Rechte verbindingslijn 367">
                    <a:extLst>
                      <a:ext uri="{FF2B5EF4-FFF2-40B4-BE49-F238E27FC236}">
                        <a16:creationId xmlns:a16="http://schemas.microsoft.com/office/drawing/2014/main" id="{4720A4B8-0284-4B86-B157-16AA606F158C}"/>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69" name="Rechte verbindingslijn 368">
                    <a:extLst>
                      <a:ext uri="{FF2B5EF4-FFF2-40B4-BE49-F238E27FC236}">
                        <a16:creationId xmlns:a16="http://schemas.microsoft.com/office/drawing/2014/main" id="{D3B2BCA6-01AB-440F-BA2C-B77B5095F62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70" name="Rechte verbindingslijn 369">
                    <a:extLst>
                      <a:ext uri="{FF2B5EF4-FFF2-40B4-BE49-F238E27FC236}">
                        <a16:creationId xmlns:a16="http://schemas.microsoft.com/office/drawing/2014/main" id="{7C5DFA1F-CC93-4ACB-840E-5B5213A3A3D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71" name="Rechte verbindingslijn 370">
                    <a:extLst>
                      <a:ext uri="{FF2B5EF4-FFF2-40B4-BE49-F238E27FC236}">
                        <a16:creationId xmlns:a16="http://schemas.microsoft.com/office/drawing/2014/main" id="{EBDA6485-5371-4625-B708-61F96BE6F623}"/>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66" name="Pijl: rechts 365">
                  <a:extLst>
                    <a:ext uri="{FF2B5EF4-FFF2-40B4-BE49-F238E27FC236}">
                      <a16:creationId xmlns:a16="http://schemas.microsoft.com/office/drawing/2014/main" id="{2C212CD4-7732-4165-B131-129E64FB021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335" name="Groep 334">
                <a:extLst>
                  <a:ext uri="{FF2B5EF4-FFF2-40B4-BE49-F238E27FC236}">
                    <a16:creationId xmlns:a16="http://schemas.microsoft.com/office/drawing/2014/main" id="{4C0BB0AC-ABDA-48BB-9F7A-F28B4786640C}"/>
                  </a:ext>
                </a:extLst>
              </p:cNvPr>
              <p:cNvGrpSpPr/>
              <p:nvPr userDrawn="1"/>
            </p:nvGrpSpPr>
            <p:grpSpPr>
              <a:xfrm>
                <a:off x="-3605171" y="830871"/>
                <a:ext cx="139423" cy="109566"/>
                <a:chOff x="-2866744" y="518074"/>
                <a:chExt cx="168701" cy="132575"/>
              </a:xfrm>
            </p:grpSpPr>
            <p:grpSp>
              <p:nvGrpSpPr>
                <p:cNvPr id="358" name="Groep 357">
                  <a:extLst>
                    <a:ext uri="{FF2B5EF4-FFF2-40B4-BE49-F238E27FC236}">
                      <a16:creationId xmlns:a16="http://schemas.microsoft.com/office/drawing/2014/main" id="{442955D4-E0A8-4AAF-BEDE-8360970FC6AA}"/>
                    </a:ext>
                  </a:extLst>
                </p:cNvPr>
                <p:cNvGrpSpPr/>
                <p:nvPr userDrawn="1"/>
              </p:nvGrpSpPr>
              <p:grpSpPr>
                <a:xfrm>
                  <a:off x="-2866744" y="518074"/>
                  <a:ext cx="168701" cy="132575"/>
                  <a:chOff x="-2866744" y="518074"/>
                  <a:chExt cx="168701" cy="132575"/>
                </a:xfrm>
              </p:grpSpPr>
              <p:cxnSp>
                <p:nvCxnSpPr>
                  <p:cNvPr id="360" name="Rechte verbindingslijn 359">
                    <a:extLst>
                      <a:ext uri="{FF2B5EF4-FFF2-40B4-BE49-F238E27FC236}">
                        <a16:creationId xmlns:a16="http://schemas.microsoft.com/office/drawing/2014/main" id="{99F5739B-DBAE-46A3-9B3F-B5D71646233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61" name="Rechte verbindingslijn 360">
                    <a:extLst>
                      <a:ext uri="{FF2B5EF4-FFF2-40B4-BE49-F238E27FC236}">
                        <a16:creationId xmlns:a16="http://schemas.microsoft.com/office/drawing/2014/main" id="{A8D5B2B0-D990-4C0D-A81D-4E9520DA1B55}"/>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62" name="Rechte verbindingslijn 361">
                    <a:extLst>
                      <a:ext uri="{FF2B5EF4-FFF2-40B4-BE49-F238E27FC236}">
                        <a16:creationId xmlns:a16="http://schemas.microsoft.com/office/drawing/2014/main" id="{EA4EE153-7B00-4750-BE87-0D063239D33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63" name="Rechte verbindingslijn 362">
                    <a:extLst>
                      <a:ext uri="{FF2B5EF4-FFF2-40B4-BE49-F238E27FC236}">
                        <a16:creationId xmlns:a16="http://schemas.microsoft.com/office/drawing/2014/main" id="{9C2D3B56-54AB-4D10-89E0-C5877AA1893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64" name="Rechte verbindingslijn 363">
                    <a:extLst>
                      <a:ext uri="{FF2B5EF4-FFF2-40B4-BE49-F238E27FC236}">
                        <a16:creationId xmlns:a16="http://schemas.microsoft.com/office/drawing/2014/main" id="{2B34D23E-942D-4B8C-B6B6-6E82DDEC6F9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59" name="Pijl: rechts 358">
                  <a:extLst>
                    <a:ext uri="{FF2B5EF4-FFF2-40B4-BE49-F238E27FC236}">
                      <a16:creationId xmlns:a16="http://schemas.microsoft.com/office/drawing/2014/main" id="{3C7F0CD2-26D1-4BF5-85D9-7D2F55281371}"/>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cxnSp>
            <p:nvCxnSpPr>
              <p:cNvPr id="336" name="Rechte verbindingslijn 335">
                <a:extLst>
                  <a:ext uri="{FF2B5EF4-FFF2-40B4-BE49-F238E27FC236}">
                    <a16:creationId xmlns:a16="http://schemas.microsoft.com/office/drawing/2014/main" id="{2A2E6BCD-99DB-4AE7-AE62-F281B46BA4CD}"/>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337" name="Rechte verbindingslijn 336">
                <a:extLst>
                  <a:ext uri="{FF2B5EF4-FFF2-40B4-BE49-F238E27FC236}">
                    <a16:creationId xmlns:a16="http://schemas.microsoft.com/office/drawing/2014/main" id="{F9FBE925-5D7E-4D06-B795-D23B36CAE397}"/>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338" name="Rechthoek 337">
                <a:extLst>
                  <a:ext uri="{FF2B5EF4-FFF2-40B4-BE49-F238E27FC236}">
                    <a16:creationId xmlns:a16="http://schemas.microsoft.com/office/drawing/2014/main" id="{7C8FB360-270D-4AE3-8431-5F7289B1C481}"/>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339" name="Rechthoek 338">
                <a:extLst>
                  <a:ext uri="{FF2B5EF4-FFF2-40B4-BE49-F238E27FC236}">
                    <a16:creationId xmlns:a16="http://schemas.microsoft.com/office/drawing/2014/main" id="{06145E7B-6A4E-4632-9657-C36364BB712B}"/>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340" name="Groep 339">
                <a:extLst>
                  <a:ext uri="{FF2B5EF4-FFF2-40B4-BE49-F238E27FC236}">
                    <a16:creationId xmlns:a16="http://schemas.microsoft.com/office/drawing/2014/main" id="{7D4757D9-C3FD-4351-8D68-19D52AA0DAF8}"/>
                  </a:ext>
                </a:extLst>
              </p:cNvPr>
              <p:cNvGrpSpPr/>
              <p:nvPr userDrawn="1"/>
            </p:nvGrpSpPr>
            <p:grpSpPr>
              <a:xfrm>
                <a:off x="-2916763" y="769168"/>
                <a:ext cx="268738" cy="248381"/>
                <a:chOff x="-2916763" y="769168"/>
                <a:chExt cx="268738" cy="248381"/>
              </a:xfrm>
            </p:grpSpPr>
            <p:sp>
              <p:nvSpPr>
                <p:cNvPr id="350" name="Rechthoek 349">
                  <a:extLst>
                    <a:ext uri="{FF2B5EF4-FFF2-40B4-BE49-F238E27FC236}">
                      <a16:creationId xmlns:a16="http://schemas.microsoft.com/office/drawing/2014/main" id="{38844451-4DDA-4295-961D-DD51516CEAC9}"/>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351" name="Groep 350">
                  <a:extLst>
                    <a:ext uri="{FF2B5EF4-FFF2-40B4-BE49-F238E27FC236}">
                      <a16:creationId xmlns:a16="http://schemas.microsoft.com/office/drawing/2014/main" id="{F4BB565B-92D0-43D7-8EB9-DF438E96673E}"/>
                    </a:ext>
                  </a:extLst>
                </p:cNvPr>
                <p:cNvGrpSpPr/>
                <p:nvPr userDrawn="1"/>
              </p:nvGrpSpPr>
              <p:grpSpPr>
                <a:xfrm>
                  <a:off x="-2866744" y="827071"/>
                  <a:ext cx="168701" cy="132575"/>
                  <a:chOff x="-2866744" y="827071"/>
                  <a:chExt cx="168701" cy="132575"/>
                </a:xfrm>
              </p:grpSpPr>
              <p:cxnSp>
                <p:nvCxnSpPr>
                  <p:cNvPr id="353" name="Rechte verbindingslijn 352">
                    <a:extLst>
                      <a:ext uri="{FF2B5EF4-FFF2-40B4-BE49-F238E27FC236}">
                        <a16:creationId xmlns:a16="http://schemas.microsoft.com/office/drawing/2014/main" id="{0338ABDC-9530-4C43-9C73-79B9A8479F1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54" name="Rechte verbindingslijn 353">
                    <a:extLst>
                      <a:ext uri="{FF2B5EF4-FFF2-40B4-BE49-F238E27FC236}">
                        <a16:creationId xmlns:a16="http://schemas.microsoft.com/office/drawing/2014/main" id="{C5D77340-B253-4006-A205-8E3627A9FB1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55" name="Rechte verbindingslijn 354">
                    <a:extLst>
                      <a:ext uri="{FF2B5EF4-FFF2-40B4-BE49-F238E27FC236}">
                        <a16:creationId xmlns:a16="http://schemas.microsoft.com/office/drawing/2014/main" id="{6F53432F-0F5C-4979-9A63-D26DDF7CE5F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56" name="Rechte verbindingslijn 355">
                    <a:extLst>
                      <a:ext uri="{FF2B5EF4-FFF2-40B4-BE49-F238E27FC236}">
                        <a16:creationId xmlns:a16="http://schemas.microsoft.com/office/drawing/2014/main" id="{14C3A3E8-277F-4746-8C7E-D86D739A6516}"/>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57" name="Rechte verbindingslijn 356">
                    <a:extLst>
                      <a:ext uri="{FF2B5EF4-FFF2-40B4-BE49-F238E27FC236}">
                        <a16:creationId xmlns:a16="http://schemas.microsoft.com/office/drawing/2014/main" id="{DBD9E6F5-ECBB-43A7-8905-8BDA86DD634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52" name="Pijl: rechts 351">
                  <a:extLst>
                    <a:ext uri="{FF2B5EF4-FFF2-40B4-BE49-F238E27FC236}">
                      <a16:creationId xmlns:a16="http://schemas.microsoft.com/office/drawing/2014/main" id="{01CDF20F-3BC7-4DF7-BC47-AF3777B8FA0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341" name="Groep 340">
                <a:extLst>
                  <a:ext uri="{FF2B5EF4-FFF2-40B4-BE49-F238E27FC236}">
                    <a16:creationId xmlns:a16="http://schemas.microsoft.com/office/drawing/2014/main" id="{17DE79A3-1E73-49C5-8829-1B22122B20A9}"/>
                  </a:ext>
                </a:extLst>
              </p:cNvPr>
              <p:cNvGrpSpPr/>
              <p:nvPr userDrawn="1"/>
            </p:nvGrpSpPr>
            <p:grpSpPr>
              <a:xfrm>
                <a:off x="-2916763" y="460171"/>
                <a:ext cx="268738" cy="248381"/>
                <a:chOff x="-2916763" y="460171"/>
                <a:chExt cx="268738" cy="248381"/>
              </a:xfrm>
            </p:grpSpPr>
            <p:sp>
              <p:nvSpPr>
                <p:cNvPr id="342" name="Rechthoek 341">
                  <a:extLst>
                    <a:ext uri="{FF2B5EF4-FFF2-40B4-BE49-F238E27FC236}">
                      <a16:creationId xmlns:a16="http://schemas.microsoft.com/office/drawing/2014/main" id="{8FEF8421-1E43-4962-AF93-908A957F792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343" name="Groep 342">
                  <a:extLst>
                    <a:ext uri="{FF2B5EF4-FFF2-40B4-BE49-F238E27FC236}">
                      <a16:creationId xmlns:a16="http://schemas.microsoft.com/office/drawing/2014/main" id="{DD0E47EA-F6F2-40D5-ABFC-1CCA35528FC2}"/>
                    </a:ext>
                  </a:extLst>
                </p:cNvPr>
                <p:cNvGrpSpPr/>
                <p:nvPr userDrawn="1"/>
              </p:nvGrpSpPr>
              <p:grpSpPr>
                <a:xfrm>
                  <a:off x="-2866744" y="518074"/>
                  <a:ext cx="168701" cy="132575"/>
                  <a:chOff x="-2866744" y="518074"/>
                  <a:chExt cx="168701" cy="132575"/>
                </a:xfrm>
              </p:grpSpPr>
              <p:cxnSp>
                <p:nvCxnSpPr>
                  <p:cNvPr id="345" name="Rechte verbindingslijn 344">
                    <a:extLst>
                      <a:ext uri="{FF2B5EF4-FFF2-40B4-BE49-F238E27FC236}">
                        <a16:creationId xmlns:a16="http://schemas.microsoft.com/office/drawing/2014/main" id="{20DA79AE-F172-4F0A-B742-6B829273283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46" name="Rechte verbindingslijn 345">
                    <a:extLst>
                      <a:ext uri="{FF2B5EF4-FFF2-40B4-BE49-F238E27FC236}">
                        <a16:creationId xmlns:a16="http://schemas.microsoft.com/office/drawing/2014/main" id="{ABD08548-BFB8-42A7-A9D2-AC02D28D875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47" name="Rechte verbindingslijn 346">
                    <a:extLst>
                      <a:ext uri="{FF2B5EF4-FFF2-40B4-BE49-F238E27FC236}">
                        <a16:creationId xmlns:a16="http://schemas.microsoft.com/office/drawing/2014/main" id="{90B9B5E4-0EA7-4D70-AC15-CD71874A546D}"/>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48" name="Rechte verbindingslijn 347">
                    <a:extLst>
                      <a:ext uri="{FF2B5EF4-FFF2-40B4-BE49-F238E27FC236}">
                        <a16:creationId xmlns:a16="http://schemas.microsoft.com/office/drawing/2014/main" id="{92F12197-4ED2-48C5-B671-A33044C36DA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49" name="Rechte verbindingslijn 348">
                    <a:extLst>
                      <a:ext uri="{FF2B5EF4-FFF2-40B4-BE49-F238E27FC236}">
                        <a16:creationId xmlns:a16="http://schemas.microsoft.com/office/drawing/2014/main" id="{E025BF7C-3BD8-407D-8A5F-EAAC4ED7B36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44" name="Pijl: rechts 343">
                  <a:extLst>
                    <a:ext uri="{FF2B5EF4-FFF2-40B4-BE49-F238E27FC236}">
                      <a16:creationId xmlns:a16="http://schemas.microsoft.com/office/drawing/2014/main" id="{4DA66C79-FDBB-4736-823B-2E41C7DE653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grpSp>
      <p:grpSp>
        <p:nvGrpSpPr>
          <p:cNvPr id="372" name="INSTRUCTION">
            <a:extLst>
              <a:ext uri="{FF2B5EF4-FFF2-40B4-BE49-F238E27FC236}">
                <a16:creationId xmlns:a16="http://schemas.microsoft.com/office/drawing/2014/main" id="{4ED951F5-D0DF-438D-9572-5A129460E2C0}"/>
              </a:ext>
            </a:extLst>
          </p:cNvPr>
          <p:cNvGrpSpPr/>
          <p:nvPr userDrawn="1"/>
        </p:nvGrpSpPr>
        <p:grpSpPr>
          <a:xfrm>
            <a:off x="9283401" y="0"/>
            <a:ext cx="2694818" cy="4452582"/>
            <a:chOff x="-3786165" y="0"/>
            <a:chExt cx="3593091" cy="5936776"/>
          </a:xfrm>
        </p:grpSpPr>
        <p:sp>
          <p:nvSpPr>
            <p:cNvPr id="373" name="Rechthoek 372">
              <a:extLst>
                <a:ext uri="{FF2B5EF4-FFF2-40B4-BE49-F238E27FC236}">
                  <a16:creationId xmlns:a16="http://schemas.microsoft.com/office/drawing/2014/main" id="{4BE779EC-F0B8-4AA2-87A1-B2044D11FCAF}"/>
                </a:ext>
              </a:extLst>
            </p:cNvPr>
            <p:cNvSpPr/>
            <p:nvPr userDrawn="1"/>
          </p:nvSpPr>
          <p:spPr>
            <a:xfrm>
              <a:off x="-3786165" y="0"/>
              <a:ext cx="3593091" cy="593677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375" name="Ovaal 374">
              <a:extLst>
                <a:ext uri="{FF2B5EF4-FFF2-40B4-BE49-F238E27FC236}">
                  <a16:creationId xmlns:a16="http://schemas.microsoft.com/office/drawing/2014/main" id="{75D7D15C-15FA-4789-8D0B-6ABDDE857FB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76" name="Rechthoek 375">
              <a:extLst>
                <a:ext uri="{FF2B5EF4-FFF2-40B4-BE49-F238E27FC236}">
                  <a16:creationId xmlns:a16="http://schemas.microsoft.com/office/drawing/2014/main" id="{C98487B2-2A5A-44D8-B556-4417FBA18DB1}"/>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377" name="Groep 376">
              <a:extLst>
                <a:ext uri="{FF2B5EF4-FFF2-40B4-BE49-F238E27FC236}">
                  <a16:creationId xmlns:a16="http://schemas.microsoft.com/office/drawing/2014/main" id="{9D1FE8BD-4839-46CD-89FB-95CA333710A6}"/>
                </a:ext>
              </a:extLst>
            </p:cNvPr>
            <p:cNvGrpSpPr/>
            <p:nvPr userDrawn="1"/>
          </p:nvGrpSpPr>
          <p:grpSpPr>
            <a:xfrm>
              <a:off x="-3316179" y="1231351"/>
              <a:ext cx="294789" cy="318834"/>
              <a:chOff x="14466489" y="1001522"/>
              <a:chExt cx="290627" cy="314333"/>
            </a:xfrm>
          </p:grpSpPr>
          <p:sp>
            <p:nvSpPr>
              <p:cNvPr id="431" name="Rechthoek 430">
                <a:extLst>
                  <a:ext uri="{FF2B5EF4-FFF2-40B4-BE49-F238E27FC236}">
                    <a16:creationId xmlns:a16="http://schemas.microsoft.com/office/drawing/2014/main" id="{67CE3A48-AAB6-4DD2-996E-95FA3FDA71D5}"/>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432" name="Ovaal 431">
                <a:extLst>
                  <a:ext uri="{FF2B5EF4-FFF2-40B4-BE49-F238E27FC236}">
                    <a16:creationId xmlns:a16="http://schemas.microsoft.com/office/drawing/2014/main" id="{0B1F32B7-1F30-4C5D-B18F-B6473FF011B5}"/>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00" b="1" noProof="0">
                  <a:solidFill>
                    <a:srgbClr val="211F26"/>
                  </a:solidFill>
                  <a:latin typeface="Calibri" panose="020F0502020204030204" pitchFamily="34" charset="0"/>
                  <a:cs typeface="Calibri" panose="020F0502020204030204" pitchFamily="34" charset="0"/>
                </a:endParaRPr>
              </a:p>
            </p:txBody>
          </p:sp>
          <p:sp>
            <p:nvSpPr>
              <p:cNvPr id="433" name="Vrije vorm: vorm 432">
                <a:extLst>
                  <a:ext uri="{FF2B5EF4-FFF2-40B4-BE49-F238E27FC236}">
                    <a16:creationId xmlns:a16="http://schemas.microsoft.com/office/drawing/2014/main" id="{010BC05D-1284-4010-8AC9-0CB2C70E18B0}"/>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00" b="1" noProof="0">
                  <a:solidFill>
                    <a:srgbClr val="211F26"/>
                  </a:solidFill>
                  <a:latin typeface="Calibri" panose="020F0502020204030204" pitchFamily="34" charset="0"/>
                  <a:cs typeface="Calibri" panose="020F0502020204030204" pitchFamily="34" charset="0"/>
                </a:endParaRPr>
              </a:p>
            </p:txBody>
          </p:sp>
          <p:sp>
            <p:nvSpPr>
              <p:cNvPr id="434" name="Rechthoek: afgeronde hoeken 433">
                <a:extLst>
                  <a:ext uri="{FF2B5EF4-FFF2-40B4-BE49-F238E27FC236}">
                    <a16:creationId xmlns:a16="http://schemas.microsoft.com/office/drawing/2014/main" id="{D8127755-5CD4-4A1E-9AF9-63C6FE7FDDA1}"/>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cxnSp>
            <p:nvCxnSpPr>
              <p:cNvPr id="435" name="Rechte verbindingslijn 434">
                <a:extLst>
                  <a:ext uri="{FF2B5EF4-FFF2-40B4-BE49-F238E27FC236}">
                    <a16:creationId xmlns:a16="http://schemas.microsoft.com/office/drawing/2014/main" id="{EEFCFF5B-4CA7-4E43-BEE5-7A6BCC0F50E5}"/>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436" name="Rechte verbindingslijn 435">
                <a:extLst>
                  <a:ext uri="{FF2B5EF4-FFF2-40B4-BE49-F238E27FC236}">
                    <a16:creationId xmlns:a16="http://schemas.microsoft.com/office/drawing/2014/main" id="{50573DF5-3510-4242-82EF-33D95492E1AB}"/>
                  </a:ext>
                </a:extLst>
              </p:cNvPr>
              <p:cNvCxnSpPr>
                <a:cxnSpLocks/>
                <a:stCxn id="43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8" name="Ovaal 377">
              <a:extLst>
                <a:ext uri="{FF2B5EF4-FFF2-40B4-BE49-F238E27FC236}">
                  <a16:creationId xmlns:a16="http://schemas.microsoft.com/office/drawing/2014/main" id="{C6FFFC7A-7E09-43EB-9157-D145EED80499}"/>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379" name="Rechthoek 378">
              <a:extLst>
                <a:ext uri="{FF2B5EF4-FFF2-40B4-BE49-F238E27FC236}">
                  <a16:creationId xmlns:a16="http://schemas.microsoft.com/office/drawing/2014/main" id="{E69F9F84-DB5C-4B8B-8C2D-25DC11CEFCB0}"/>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380" name="Groep 379">
              <a:extLst>
                <a:ext uri="{FF2B5EF4-FFF2-40B4-BE49-F238E27FC236}">
                  <a16:creationId xmlns:a16="http://schemas.microsoft.com/office/drawing/2014/main" id="{891FEAD0-4A40-43BF-A19D-2CBECA105D29}"/>
                </a:ext>
              </a:extLst>
            </p:cNvPr>
            <p:cNvGrpSpPr/>
            <p:nvPr userDrawn="1"/>
          </p:nvGrpSpPr>
          <p:grpSpPr>
            <a:xfrm>
              <a:off x="-3311319" y="2164285"/>
              <a:ext cx="825500" cy="209550"/>
              <a:chOff x="13504624" y="2482850"/>
              <a:chExt cx="825500" cy="209550"/>
            </a:xfrm>
          </p:grpSpPr>
          <p:sp>
            <p:nvSpPr>
              <p:cNvPr id="428" name="Rechthoek 427">
                <a:extLst>
                  <a:ext uri="{FF2B5EF4-FFF2-40B4-BE49-F238E27FC236}">
                    <a16:creationId xmlns:a16="http://schemas.microsoft.com/office/drawing/2014/main" id="{6EC9ED4C-FEE3-4428-9356-27EA1A3E7C9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Insert</a:t>
                </a:r>
              </a:p>
            </p:txBody>
          </p:sp>
          <p:cxnSp>
            <p:nvCxnSpPr>
              <p:cNvPr id="429" name="Rechte verbindingslijn 428">
                <a:extLst>
                  <a:ext uri="{FF2B5EF4-FFF2-40B4-BE49-F238E27FC236}">
                    <a16:creationId xmlns:a16="http://schemas.microsoft.com/office/drawing/2014/main" id="{9AA9414D-4AAA-4FDA-9B7B-8483450F086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30" name="Gelijkbenige driehoek 429">
                <a:extLst>
                  <a:ext uri="{FF2B5EF4-FFF2-40B4-BE49-F238E27FC236}">
                    <a16:creationId xmlns:a16="http://schemas.microsoft.com/office/drawing/2014/main" id="{9B8BDBAE-7444-413E-876C-59E1E934F6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75" b="1" noProof="0">
                  <a:solidFill>
                    <a:srgbClr val="211F26"/>
                  </a:solidFill>
                  <a:latin typeface="Calibri" panose="020F0502020204030204" pitchFamily="34" charset="0"/>
                  <a:cs typeface="Calibri" panose="020F0502020204030204" pitchFamily="34" charset="0"/>
                </a:endParaRPr>
              </a:p>
            </p:txBody>
          </p:sp>
        </p:grpSp>
        <p:sp>
          <p:nvSpPr>
            <p:cNvPr id="381" name="Ovaal 380">
              <a:extLst>
                <a:ext uri="{FF2B5EF4-FFF2-40B4-BE49-F238E27FC236}">
                  <a16:creationId xmlns:a16="http://schemas.microsoft.com/office/drawing/2014/main" id="{2D7C1811-D31C-459C-9E10-1C424977D8B2}"/>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82" name="Rechthoek 381">
              <a:extLst>
                <a:ext uri="{FF2B5EF4-FFF2-40B4-BE49-F238E27FC236}">
                  <a16:creationId xmlns:a16="http://schemas.microsoft.com/office/drawing/2014/main" id="{5986B8B5-604B-424A-96B9-8A0DA43C1201}"/>
                </a:ext>
              </a:extLst>
            </p:cNvPr>
            <p:cNvSpPr/>
            <p:nvPr userDrawn="1"/>
          </p:nvSpPr>
          <p:spPr>
            <a:xfrm>
              <a:off x="-33194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384" name="Ovaal 383">
              <a:extLst>
                <a:ext uri="{FF2B5EF4-FFF2-40B4-BE49-F238E27FC236}">
                  <a16:creationId xmlns:a16="http://schemas.microsoft.com/office/drawing/2014/main" id="{F0BC594F-5682-49F1-BE8E-59D60A91DB6B}"/>
                </a:ext>
              </a:extLst>
            </p:cNvPr>
            <p:cNvSpPr/>
            <p:nvPr userDrawn="1"/>
          </p:nvSpPr>
          <p:spPr>
            <a:xfrm>
              <a:off x="-3603587"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85" name="Rechthoek 384">
              <a:extLst>
                <a:ext uri="{FF2B5EF4-FFF2-40B4-BE49-F238E27FC236}">
                  <a16:creationId xmlns:a16="http://schemas.microsoft.com/office/drawing/2014/main" id="{D0FB694E-32FA-4873-A529-9CF0D32310E1}"/>
                </a:ext>
              </a:extLst>
            </p:cNvPr>
            <p:cNvSpPr/>
            <p:nvPr userDrawn="1"/>
          </p:nvSpPr>
          <p:spPr>
            <a:xfrm>
              <a:off x="-3319415" y="4145790"/>
              <a:ext cx="2944682" cy="794700"/>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386" name="Groep 385">
              <a:extLst>
                <a:ext uri="{FF2B5EF4-FFF2-40B4-BE49-F238E27FC236}">
                  <a16:creationId xmlns:a16="http://schemas.microsoft.com/office/drawing/2014/main" id="{B014357D-7B41-48FF-8FF7-4D125C5533DD}"/>
                </a:ext>
              </a:extLst>
            </p:cNvPr>
            <p:cNvGrpSpPr/>
            <p:nvPr userDrawn="1"/>
          </p:nvGrpSpPr>
          <p:grpSpPr>
            <a:xfrm>
              <a:off x="-3449237" y="5047414"/>
              <a:ext cx="622283" cy="612919"/>
              <a:chOff x="12617641" y="3403239"/>
              <a:chExt cx="752963" cy="741634"/>
            </a:xfrm>
          </p:grpSpPr>
          <p:grpSp>
            <p:nvGrpSpPr>
              <p:cNvPr id="410" name="Groep 409">
                <a:extLst>
                  <a:ext uri="{FF2B5EF4-FFF2-40B4-BE49-F238E27FC236}">
                    <a16:creationId xmlns:a16="http://schemas.microsoft.com/office/drawing/2014/main" id="{734BA2F0-3BE4-4A5F-B8DD-63C7888C5CF3}"/>
                  </a:ext>
                </a:extLst>
              </p:cNvPr>
              <p:cNvGrpSpPr/>
              <p:nvPr userDrawn="1"/>
            </p:nvGrpSpPr>
            <p:grpSpPr>
              <a:xfrm>
                <a:off x="12771550" y="3403239"/>
                <a:ext cx="467156" cy="448491"/>
                <a:chOff x="12782177" y="3403239"/>
                <a:chExt cx="467156" cy="448491"/>
              </a:xfrm>
            </p:grpSpPr>
            <p:grpSp>
              <p:nvGrpSpPr>
                <p:cNvPr id="413" name="Groep 412">
                  <a:extLst>
                    <a:ext uri="{FF2B5EF4-FFF2-40B4-BE49-F238E27FC236}">
                      <a16:creationId xmlns:a16="http://schemas.microsoft.com/office/drawing/2014/main" id="{06CDF1BB-92A7-4A22-B845-3CB2E7B2AC73}"/>
                    </a:ext>
                  </a:extLst>
                </p:cNvPr>
                <p:cNvGrpSpPr/>
                <p:nvPr userDrawn="1"/>
              </p:nvGrpSpPr>
              <p:grpSpPr>
                <a:xfrm>
                  <a:off x="12782177" y="3403239"/>
                  <a:ext cx="412972" cy="396132"/>
                  <a:chOff x="13554906" y="3320109"/>
                  <a:chExt cx="443912" cy="425811"/>
                </a:xfrm>
              </p:grpSpPr>
              <p:grpSp>
                <p:nvGrpSpPr>
                  <p:cNvPr id="420" name="Groep 419">
                    <a:extLst>
                      <a:ext uri="{FF2B5EF4-FFF2-40B4-BE49-F238E27FC236}">
                        <a16:creationId xmlns:a16="http://schemas.microsoft.com/office/drawing/2014/main" id="{F40AEA44-ADD0-4631-9090-CCEC46286CBB}"/>
                      </a:ext>
                    </a:extLst>
                  </p:cNvPr>
                  <p:cNvGrpSpPr/>
                  <p:nvPr userDrawn="1"/>
                </p:nvGrpSpPr>
                <p:grpSpPr>
                  <a:xfrm>
                    <a:off x="13554906" y="3320109"/>
                    <a:ext cx="443912" cy="425811"/>
                    <a:chOff x="12909684" y="1276143"/>
                    <a:chExt cx="443912" cy="425811"/>
                  </a:xfrm>
                </p:grpSpPr>
                <p:sp>
                  <p:nvSpPr>
                    <p:cNvPr id="423" name="Rechthoek 422">
                      <a:extLst>
                        <a:ext uri="{FF2B5EF4-FFF2-40B4-BE49-F238E27FC236}">
                          <a16:creationId xmlns:a16="http://schemas.microsoft.com/office/drawing/2014/main" id="{B2F0049C-9DA2-4520-BB7C-3A9ED764B88C}"/>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424" name="Rechthoek 423">
                      <a:extLst>
                        <a:ext uri="{FF2B5EF4-FFF2-40B4-BE49-F238E27FC236}">
                          <a16:creationId xmlns:a16="http://schemas.microsoft.com/office/drawing/2014/main" id="{433E6B18-64A9-4B37-8C59-5E8E65FA8BA2}"/>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425" name="Ovaal 424">
                      <a:extLst>
                        <a:ext uri="{FF2B5EF4-FFF2-40B4-BE49-F238E27FC236}">
                          <a16:creationId xmlns:a16="http://schemas.microsoft.com/office/drawing/2014/main" id="{D32BA913-57BC-4B66-B45E-D6E2014058D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pic>
                <p:nvPicPr>
                  <p:cNvPr id="421" name="Afbeelding 420">
                    <a:extLst>
                      <a:ext uri="{FF2B5EF4-FFF2-40B4-BE49-F238E27FC236}">
                        <a16:creationId xmlns:a16="http://schemas.microsoft.com/office/drawing/2014/main" id="{DCDE4C7E-72D7-4568-83A9-2F51D18EB64D}"/>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422" name="Afbeelding 421">
                    <a:extLst>
                      <a:ext uri="{FF2B5EF4-FFF2-40B4-BE49-F238E27FC236}">
                        <a16:creationId xmlns:a16="http://schemas.microsoft.com/office/drawing/2014/main" id="{B69CD97A-297A-4532-9936-B6CEFD447B1B}"/>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414" name="Groep 413">
                  <a:extLst>
                    <a:ext uri="{FF2B5EF4-FFF2-40B4-BE49-F238E27FC236}">
                      <a16:creationId xmlns:a16="http://schemas.microsoft.com/office/drawing/2014/main" id="{32E226BA-C58C-4E54-9F85-7067DDB15794}"/>
                    </a:ext>
                  </a:extLst>
                </p:cNvPr>
                <p:cNvGrpSpPr/>
                <p:nvPr userDrawn="1"/>
              </p:nvGrpSpPr>
              <p:grpSpPr>
                <a:xfrm>
                  <a:off x="13103513" y="3705268"/>
                  <a:ext cx="145820" cy="146462"/>
                  <a:chOff x="13096169" y="3602278"/>
                  <a:chExt cx="145820" cy="146462"/>
                </a:xfrm>
              </p:grpSpPr>
              <p:sp>
                <p:nvSpPr>
                  <p:cNvPr id="418" name="Rechthoek 417">
                    <a:extLst>
                      <a:ext uri="{FF2B5EF4-FFF2-40B4-BE49-F238E27FC236}">
                        <a16:creationId xmlns:a16="http://schemas.microsoft.com/office/drawing/2014/main" id="{74388766-85CB-4F56-8246-5C2C4A19DBB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19" name="Rechthoek 418">
                    <a:extLst>
                      <a:ext uri="{FF2B5EF4-FFF2-40B4-BE49-F238E27FC236}">
                        <a16:creationId xmlns:a16="http://schemas.microsoft.com/office/drawing/2014/main" id="{E56F92B1-89D4-4AA8-8B15-3411F6E4BF8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415" name="Groep 414">
                  <a:extLst>
                    <a:ext uri="{FF2B5EF4-FFF2-40B4-BE49-F238E27FC236}">
                      <a16:creationId xmlns:a16="http://schemas.microsoft.com/office/drawing/2014/main" id="{583066F4-876B-4406-BC47-D71CD5D5997F}"/>
                    </a:ext>
                  </a:extLst>
                </p:cNvPr>
                <p:cNvGrpSpPr/>
                <p:nvPr userDrawn="1"/>
              </p:nvGrpSpPr>
              <p:grpSpPr>
                <a:xfrm rot="10800000">
                  <a:off x="13061402" y="3665637"/>
                  <a:ext cx="145820" cy="146462"/>
                  <a:chOff x="13096169" y="3602278"/>
                  <a:chExt cx="145820" cy="146462"/>
                </a:xfrm>
              </p:grpSpPr>
              <p:sp>
                <p:nvSpPr>
                  <p:cNvPr id="416" name="Rechthoek 415">
                    <a:extLst>
                      <a:ext uri="{FF2B5EF4-FFF2-40B4-BE49-F238E27FC236}">
                        <a16:creationId xmlns:a16="http://schemas.microsoft.com/office/drawing/2014/main" id="{4A907E3B-89E7-46BA-B485-3E8BE09CFCB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17" name="Rechthoek 416">
                    <a:extLst>
                      <a:ext uri="{FF2B5EF4-FFF2-40B4-BE49-F238E27FC236}">
                        <a16:creationId xmlns:a16="http://schemas.microsoft.com/office/drawing/2014/main" id="{3BD61EBF-898A-47CE-91F7-09098883F56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sp>
            <p:nvSpPr>
              <p:cNvPr id="411" name="Rechthoek 410">
                <a:extLst>
                  <a:ext uri="{FF2B5EF4-FFF2-40B4-BE49-F238E27FC236}">
                    <a16:creationId xmlns:a16="http://schemas.microsoft.com/office/drawing/2014/main" id="{9746E948-D39B-4A48-860D-4A50510C9A28}"/>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Crop</a:t>
                </a:r>
              </a:p>
            </p:txBody>
          </p:sp>
          <p:sp>
            <p:nvSpPr>
              <p:cNvPr id="412" name="Gelijkbenige driehoek 411">
                <a:extLst>
                  <a:ext uri="{FF2B5EF4-FFF2-40B4-BE49-F238E27FC236}">
                    <a16:creationId xmlns:a16="http://schemas.microsoft.com/office/drawing/2014/main" id="{DFDA04B3-1E18-4A3C-AA5B-AA256980C92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387" name="Rechthoek 386">
              <a:extLst>
                <a:ext uri="{FF2B5EF4-FFF2-40B4-BE49-F238E27FC236}">
                  <a16:creationId xmlns:a16="http://schemas.microsoft.com/office/drawing/2014/main" id="{FB62565A-31C9-4EC2-8B8B-63D64FC7EE25}"/>
                </a:ext>
              </a:extLst>
            </p:cNvPr>
            <p:cNvSpPr/>
            <p:nvPr userDrawn="1"/>
          </p:nvSpPr>
          <p:spPr>
            <a:xfrm>
              <a:off x="-331683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US" sz="750" b="0" i="1" noProof="0">
                <a:solidFill>
                  <a:srgbClr val="211F26"/>
                </a:solidFill>
                <a:latin typeface="Calibri" panose="020F0502020204030204" pitchFamily="34" charset="0"/>
                <a:cs typeface="Calibri" panose="020F0502020204030204" pitchFamily="34" charset="0"/>
              </a:endParaRPr>
            </a:p>
          </p:txBody>
        </p:sp>
        <p:grpSp>
          <p:nvGrpSpPr>
            <p:cNvPr id="388" name="Groep 387">
              <a:extLst>
                <a:ext uri="{FF2B5EF4-FFF2-40B4-BE49-F238E27FC236}">
                  <a16:creationId xmlns:a16="http://schemas.microsoft.com/office/drawing/2014/main" id="{26FCE89A-BA8F-4F50-84D5-02028A23982E}"/>
                </a:ext>
              </a:extLst>
            </p:cNvPr>
            <p:cNvGrpSpPr/>
            <p:nvPr userDrawn="1"/>
          </p:nvGrpSpPr>
          <p:grpSpPr>
            <a:xfrm>
              <a:off x="-2485819" y="3399207"/>
              <a:ext cx="1222990" cy="563933"/>
              <a:chOff x="-2485819" y="3399207"/>
              <a:chExt cx="1222990" cy="563933"/>
            </a:xfrm>
          </p:grpSpPr>
          <p:sp>
            <p:nvSpPr>
              <p:cNvPr id="389" name="Rechthoek 388">
                <a:extLst>
                  <a:ext uri="{FF2B5EF4-FFF2-40B4-BE49-F238E27FC236}">
                    <a16:creationId xmlns:a16="http://schemas.microsoft.com/office/drawing/2014/main" id="{3B242CFE-FCEA-44BA-B270-563A4E8BC8C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390" name="Rechthoek 389">
                <a:extLst>
                  <a:ext uri="{FF2B5EF4-FFF2-40B4-BE49-F238E27FC236}">
                    <a16:creationId xmlns:a16="http://schemas.microsoft.com/office/drawing/2014/main" id="{67CB5A9D-5823-442C-A907-BF9607BB11E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391" name="Groep 390">
                <a:extLst>
                  <a:ext uri="{FF2B5EF4-FFF2-40B4-BE49-F238E27FC236}">
                    <a16:creationId xmlns:a16="http://schemas.microsoft.com/office/drawing/2014/main" id="{F75A87EA-74F1-4DCE-9D2D-F81262E6A60E}"/>
                  </a:ext>
                </a:extLst>
              </p:cNvPr>
              <p:cNvGrpSpPr/>
              <p:nvPr userDrawn="1"/>
            </p:nvGrpSpPr>
            <p:grpSpPr>
              <a:xfrm>
                <a:off x="-2403869" y="3460544"/>
                <a:ext cx="155951" cy="131922"/>
                <a:chOff x="12968836" y="3354170"/>
                <a:chExt cx="404806" cy="342433"/>
              </a:xfrm>
            </p:grpSpPr>
            <p:sp>
              <p:nvSpPr>
                <p:cNvPr id="404" name="Rechthoek: afgeronde hoeken 403">
                  <a:extLst>
                    <a:ext uri="{FF2B5EF4-FFF2-40B4-BE49-F238E27FC236}">
                      <a16:creationId xmlns:a16="http://schemas.microsoft.com/office/drawing/2014/main" id="{208C8609-78A2-48E7-A2C2-5EEA2832D23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405" name="Rechthoek 404">
                  <a:extLst>
                    <a:ext uri="{FF2B5EF4-FFF2-40B4-BE49-F238E27FC236}">
                      <a16:creationId xmlns:a16="http://schemas.microsoft.com/office/drawing/2014/main" id="{4AA13C6B-517B-4DC7-A5D4-67FD7A49258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06" name="Rechthoek 405">
                  <a:extLst>
                    <a:ext uri="{FF2B5EF4-FFF2-40B4-BE49-F238E27FC236}">
                      <a16:creationId xmlns:a16="http://schemas.microsoft.com/office/drawing/2014/main" id="{5E1B54B9-ADE0-41C0-A4EE-A1E9BAF9049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07" name="Rechthoek 406">
                  <a:extLst>
                    <a:ext uri="{FF2B5EF4-FFF2-40B4-BE49-F238E27FC236}">
                      <a16:creationId xmlns:a16="http://schemas.microsoft.com/office/drawing/2014/main" id="{ABB28EF6-8160-49FF-A390-DB0500653DD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08" name="Rechthoek 407">
                  <a:extLst>
                    <a:ext uri="{FF2B5EF4-FFF2-40B4-BE49-F238E27FC236}">
                      <a16:creationId xmlns:a16="http://schemas.microsoft.com/office/drawing/2014/main" id="{B4D70F7F-E8A7-4CD6-BE68-6ED12A36C34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09" name="Rechthoek 408">
                  <a:extLst>
                    <a:ext uri="{FF2B5EF4-FFF2-40B4-BE49-F238E27FC236}">
                      <a16:creationId xmlns:a16="http://schemas.microsoft.com/office/drawing/2014/main" id="{DECFEA47-6590-4C76-AF2E-E359160900E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392" name="Groep 391">
                <a:extLst>
                  <a:ext uri="{FF2B5EF4-FFF2-40B4-BE49-F238E27FC236}">
                    <a16:creationId xmlns:a16="http://schemas.microsoft.com/office/drawing/2014/main" id="{BCE84464-A9DB-4456-9AE8-2B511EC86C8A}"/>
                  </a:ext>
                </a:extLst>
              </p:cNvPr>
              <p:cNvGrpSpPr/>
              <p:nvPr userDrawn="1"/>
            </p:nvGrpSpPr>
            <p:grpSpPr>
              <a:xfrm>
                <a:off x="-2423424" y="3690208"/>
                <a:ext cx="166739" cy="218963"/>
                <a:chOff x="12940828" y="3950597"/>
                <a:chExt cx="432813" cy="568367"/>
              </a:xfrm>
            </p:grpSpPr>
            <p:grpSp>
              <p:nvGrpSpPr>
                <p:cNvPr id="396" name="Groep 395">
                  <a:extLst>
                    <a:ext uri="{FF2B5EF4-FFF2-40B4-BE49-F238E27FC236}">
                      <a16:creationId xmlns:a16="http://schemas.microsoft.com/office/drawing/2014/main" id="{DBE71761-A492-4336-BAB0-E3F7901E78A6}"/>
                    </a:ext>
                  </a:extLst>
                </p:cNvPr>
                <p:cNvGrpSpPr/>
                <p:nvPr userDrawn="1"/>
              </p:nvGrpSpPr>
              <p:grpSpPr>
                <a:xfrm>
                  <a:off x="13000382" y="4006891"/>
                  <a:ext cx="373259" cy="315747"/>
                  <a:chOff x="12968836" y="3354170"/>
                  <a:chExt cx="404806" cy="342433"/>
                </a:xfrm>
              </p:grpSpPr>
              <p:sp>
                <p:nvSpPr>
                  <p:cNvPr id="398" name="Rechthoek: afgeronde hoeken 397">
                    <a:extLst>
                      <a:ext uri="{FF2B5EF4-FFF2-40B4-BE49-F238E27FC236}">
                        <a16:creationId xmlns:a16="http://schemas.microsoft.com/office/drawing/2014/main" id="{1B693DFC-8D5F-40C7-B6AF-0C81F31A630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399" name="Rechthoek 398">
                    <a:extLst>
                      <a:ext uri="{FF2B5EF4-FFF2-40B4-BE49-F238E27FC236}">
                        <a16:creationId xmlns:a16="http://schemas.microsoft.com/office/drawing/2014/main" id="{C252F482-F7F2-440C-A3AB-03F489204D2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00" name="Rechthoek 399">
                    <a:extLst>
                      <a:ext uri="{FF2B5EF4-FFF2-40B4-BE49-F238E27FC236}">
                        <a16:creationId xmlns:a16="http://schemas.microsoft.com/office/drawing/2014/main" id="{2CC3C63D-43EF-4C04-B159-824E0E8640E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01" name="Rechthoek 400">
                    <a:extLst>
                      <a:ext uri="{FF2B5EF4-FFF2-40B4-BE49-F238E27FC236}">
                        <a16:creationId xmlns:a16="http://schemas.microsoft.com/office/drawing/2014/main" id="{DC7E35BA-D2A9-4763-9034-21B98C246DF9}"/>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02" name="Rechthoek 401">
                    <a:extLst>
                      <a:ext uri="{FF2B5EF4-FFF2-40B4-BE49-F238E27FC236}">
                        <a16:creationId xmlns:a16="http://schemas.microsoft.com/office/drawing/2014/main" id="{0623C1C4-98C7-43AA-A0A9-0E8D2543AFC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03" name="Rechthoek 402">
                    <a:extLst>
                      <a:ext uri="{FF2B5EF4-FFF2-40B4-BE49-F238E27FC236}">
                        <a16:creationId xmlns:a16="http://schemas.microsoft.com/office/drawing/2014/main" id="{EFF7CE12-9099-4FA5-85B2-A6F276ED42D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397" name="Boog 396">
                  <a:extLst>
                    <a:ext uri="{FF2B5EF4-FFF2-40B4-BE49-F238E27FC236}">
                      <a16:creationId xmlns:a16="http://schemas.microsoft.com/office/drawing/2014/main" id="{87AD6758-9577-41C6-BBE4-A4C450C45E3F}"/>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sp>
            <p:nvSpPr>
              <p:cNvPr id="393" name="Tekstvak 392">
                <a:extLst>
                  <a:ext uri="{FF2B5EF4-FFF2-40B4-BE49-F238E27FC236}">
                    <a16:creationId xmlns:a16="http://schemas.microsoft.com/office/drawing/2014/main" id="{C0EE8A38-6E84-4067-A74C-B7349A1451F9}"/>
                  </a:ext>
                </a:extLst>
              </p:cNvPr>
              <p:cNvSpPr txBox="1"/>
              <p:nvPr userDrawn="1"/>
            </p:nvSpPr>
            <p:spPr>
              <a:xfrm>
                <a:off x="-2245455" y="3460544"/>
                <a:ext cx="896116" cy="134709"/>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Layout</a:t>
                </a:r>
              </a:p>
            </p:txBody>
          </p:sp>
          <p:sp>
            <p:nvSpPr>
              <p:cNvPr id="394" name="Tekstvak 393">
                <a:extLst>
                  <a:ext uri="{FF2B5EF4-FFF2-40B4-BE49-F238E27FC236}">
                    <a16:creationId xmlns:a16="http://schemas.microsoft.com/office/drawing/2014/main" id="{012BD446-CA6B-441C-84D9-4EA4BE3B8B7B}"/>
                  </a:ext>
                </a:extLst>
              </p:cNvPr>
              <p:cNvSpPr txBox="1"/>
              <p:nvPr userDrawn="1"/>
            </p:nvSpPr>
            <p:spPr>
              <a:xfrm>
                <a:off x="-2258884" y="3712980"/>
                <a:ext cx="909545" cy="126416"/>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395" name="Vrije vorm: vorm 394">
                <a:extLst>
                  <a:ext uri="{FF2B5EF4-FFF2-40B4-BE49-F238E27FC236}">
                    <a16:creationId xmlns:a16="http://schemas.microsoft.com/office/drawing/2014/main" id="{5398C972-4BF0-4ABA-897A-66F1F17CBAB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450"/>
                  </a:spcBef>
                  <a:spcAft>
                    <a:spcPts val="450"/>
                  </a:spcAft>
                </a:pPr>
                <a:endParaRPr lang="en-US" sz="1200" cap="all" baseline="0" noProof="0">
                  <a:latin typeface="Calibri" panose="020F0502020204030204" pitchFamily="34" charset="0"/>
                  <a:cs typeface="Calibri" panose="020F0502020204030204" pitchFamily="34" charset="0"/>
                </a:endParaRPr>
              </a:p>
            </p:txBody>
          </p:sp>
        </p:grpSp>
      </p:grpSp>
      <p:sp>
        <p:nvSpPr>
          <p:cNvPr id="131" name="Tijdelijke aanduiding voor dianummer 5">
            <a:extLst>
              <a:ext uri="{FF2B5EF4-FFF2-40B4-BE49-F238E27FC236}">
                <a16:creationId xmlns:a16="http://schemas.microsoft.com/office/drawing/2014/main" id="{D94B6A4D-1CB3-460A-BA03-A72623AB5CBC}"/>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132" name="INSTRUCTION">
            <a:extLst>
              <a:ext uri="{FF2B5EF4-FFF2-40B4-BE49-F238E27FC236}">
                <a16:creationId xmlns:a16="http://schemas.microsoft.com/office/drawing/2014/main" id="{D80A901D-A9AA-4D5F-A4D4-19858697A873}"/>
              </a:ext>
            </a:extLst>
          </p:cNvPr>
          <p:cNvGrpSpPr/>
          <p:nvPr userDrawn="1"/>
        </p:nvGrpSpPr>
        <p:grpSpPr>
          <a:xfrm>
            <a:off x="4384" y="5274908"/>
            <a:ext cx="2795966" cy="1183043"/>
            <a:chOff x="5846" y="7033211"/>
            <a:chExt cx="3727954" cy="1577390"/>
          </a:xfrm>
        </p:grpSpPr>
        <p:sp>
          <p:nvSpPr>
            <p:cNvPr id="133" name="Rechthoek 132">
              <a:extLst>
                <a:ext uri="{FF2B5EF4-FFF2-40B4-BE49-F238E27FC236}">
                  <a16:creationId xmlns:a16="http://schemas.microsoft.com/office/drawing/2014/main" id="{5B176A8D-2F61-484D-8DFE-2574438B740C}"/>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134" name="Ovaal 133">
              <a:extLst>
                <a:ext uri="{FF2B5EF4-FFF2-40B4-BE49-F238E27FC236}">
                  <a16:creationId xmlns:a16="http://schemas.microsoft.com/office/drawing/2014/main" id="{80CC85D0-9DFB-446A-85AB-E8A76D00AC61}"/>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5" name="Rechthoek 134">
              <a:extLst>
                <a:ext uri="{FF2B5EF4-FFF2-40B4-BE49-F238E27FC236}">
                  <a16:creationId xmlns:a16="http://schemas.microsoft.com/office/drawing/2014/main" id="{D7B65F41-AACB-404F-9AED-042487075C55}"/>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6" name="Ovaal 135">
              <a:extLst>
                <a:ext uri="{FF2B5EF4-FFF2-40B4-BE49-F238E27FC236}">
                  <a16:creationId xmlns:a16="http://schemas.microsoft.com/office/drawing/2014/main" id="{47E08A31-74C0-4DF6-A6A5-59FC1E9CE975}"/>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8" name="Rechthoek 137">
              <a:extLst>
                <a:ext uri="{FF2B5EF4-FFF2-40B4-BE49-F238E27FC236}">
                  <a16:creationId xmlns:a16="http://schemas.microsoft.com/office/drawing/2014/main" id="{EDC962C8-3BFA-40D2-9514-07E2A69E5243}"/>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139" name="Groep 138">
              <a:extLst>
                <a:ext uri="{FF2B5EF4-FFF2-40B4-BE49-F238E27FC236}">
                  <a16:creationId xmlns:a16="http://schemas.microsoft.com/office/drawing/2014/main" id="{D5724006-7A2A-43FB-8984-8C49D0E08F1C}"/>
                </a:ext>
              </a:extLst>
            </p:cNvPr>
            <p:cNvGrpSpPr/>
            <p:nvPr userDrawn="1"/>
          </p:nvGrpSpPr>
          <p:grpSpPr>
            <a:xfrm>
              <a:off x="2939884" y="7739834"/>
              <a:ext cx="681133" cy="750023"/>
              <a:chOff x="-910573" y="4987990"/>
              <a:chExt cx="681133" cy="750023"/>
            </a:xfrm>
          </p:grpSpPr>
          <p:grpSp>
            <p:nvGrpSpPr>
              <p:cNvPr id="140" name="Groep 139">
                <a:extLst>
                  <a:ext uri="{FF2B5EF4-FFF2-40B4-BE49-F238E27FC236}">
                    <a16:creationId xmlns:a16="http://schemas.microsoft.com/office/drawing/2014/main" id="{CC0BDE74-7B2A-4A45-9A1B-E2A272E7D730}"/>
                  </a:ext>
                </a:extLst>
              </p:cNvPr>
              <p:cNvGrpSpPr/>
              <p:nvPr userDrawn="1"/>
            </p:nvGrpSpPr>
            <p:grpSpPr>
              <a:xfrm>
                <a:off x="-713542" y="4987990"/>
                <a:ext cx="287071" cy="379107"/>
                <a:chOff x="-4050578" y="288410"/>
                <a:chExt cx="322125" cy="379107"/>
              </a:xfrm>
            </p:grpSpPr>
            <p:sp>
              <p:nvSpPr>
                <p:cNvPr id="143" name="Rechthoek met één afgeknipte en afgeronde hoek 47">
                  <a:extLst>
                    <a:ext uri="{FF2B5EF4-FFF2-40B4-BE49-F238E27FC236}">
                      <a16:creationId xmlns:a16="http://schemas.microsoft.com/office/drawing/2014/main" id="{B01C5F34-ECD3-4EE3-B600-BE7D36B9D1B6}"/>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4" name="Rechthoekige driehoek 143">
                  <a:extLst>
                    <a:ext uri="{FF2B5EF4-FFF2-40B4-BE49-F238E27FC236}">
                      <a16:creationId xmlns:a16="http://schemas.microsoft.com/office/drawing/2014/main" id="{A2F8004B-A72A-4406-B5EE-129373C612D1}"/>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5" name="Rechthoek 144">
                  <a:extLst>
                    <a:ext uri="{FF2B5EF4-FFF2-40B4-BE49-F238E27FC236}">
                      <a16:creationId xmlns:a16="http://schemas.microsoft.com/office/drawing/2014/main" id="{7CADF0DC-71D0-48EF-9D72-A6BF09E720D4}"/>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6" name="Rechthoek 145">
                  <a:extLst>
                    <a:ext uri="{FF2B5EF4-FFF2-40B4-BE49-F238E27FC236}">
                      <a16:creationId xmlns:a16="http://schemas.microsoft.com/office/drawing/2014/main" id="{821B2E8F-2545-470C-B77F-58EF673988CE}"/>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42" name="Rechthoek 141">
                <a:extLst>
                  <a:ext uri="{FF2B5EF4-FFF2-40B4-BE49-F238E27FC236}">
                    <a16:creationId xmlns:a16="http://schemas.microsoft.com/office/drawing/2014/main" id="{AEDC48AE-A5A3-4914-8C7F-B683F82BAB8A}"/>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162018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Image (M)">
    <p:spTree>
      <p:nvGrpSpPr>
        <p:cNvPr id="1" name=""/>
        <p:cNvGrpSpPr/>
        <p:nvPr/>
      </p:nvGrpSpPr>
      <p:grpSpPr>
        <a:xfrm>
          <a:off x="0" y="0"/>
          <a:ext cx="0" cy="0"/>
          <a:chOff x="0" y="0"/>
          <a:chExt cx="0" cy="0"/>
        </a:xfrm>
      </p:grpSpPr>
      <p:sp>
        <p:nvSpPr>
          <p:cNvPr id="163" name="Tijdelijke aanduiding voor afbeelding 162">
            <a:extLst>
              <a:ext uri="{FF2B5EF4-FFF2-40B4-BE49-F238E27FC236}">
                <a16:creationId xmlns:a16="http://schemas.microsoft.com/office/drawing/2014/main" id="{161B37D8-D926-4307-B46F-30ED83BEE45A}"/>
              </a:ext>
            </a:extLst>
          </p:cNvPr>
          <p:cNvSpPr>
            <a:spLocks noGrp="1"/>
          </p:cNvSpPr>
          <p:nvPr>
            <p:ph type="pic" sz="quarter" idx="14" hasCustomPrompt="1"/>
          </p:nvPr>
        </p:nvSpPr>
        <p:spPr>
          <a:xfrm>
            <a:off x="4572000" y="0"/>
            <a:ext cx="4572000" cy="4523780"/>
          </a:xfrm>
          <a:custGeom>
            <a:avLst/>
            <a:gdLst>
              <a:gd name="connsiteX0" fmla="*/ 0 w 6096000"/>
              <a:gd name="connsiteY0" fmla="*/ 6856018 h 6858000"/>
              <a:gd name="connsiteX1" fmla="*/ 6086475 w 6096000"/>
              <a:gd name="connsiteY1" fmla="*/ 6858000 h 6858000"/>
              <a:gd name="connsiteX2" fmla="*/ 0 w 6096000"/>
              <a:gd name="connsiteY2" fmla="*/ 6858000 h 6858000"/>
              <a:gd name="connsiteX3" fmla="*/ 6096000 w 6096000"/>
              <a:gd name="connsiteY3" fmla="*/ 6022261 h 6858000"/>
              <a:gd name="connsiteX4" fmla="*/ 6096000 w 6096000"/>
              <a:gd name="connsiteY4" fmla="*/ 6858000 h 6858000"/>
              <a:gd name="connsiteX5" fmla="*/ 6086475 w 6096000"/>
              <a:gd name="connsiteY5" fmla="*/ 6858000 h 6858000"/>
              <a:gd name="connsiteX6" fmla="*/ 0 w 6096000"/>
              <a:gd name="connsiteY6" fmla="*/ 0 h 6858000"/>
              <a:gd name="connsiteX7" fmla="*/ 6096000 w 6096000"/>
              <a:gd name="connsiteY7" fmla="*/ 0 h 6858000"/>
              <a:gd name="connsiteX8" fmla="*/ 6096000 w 6096000"/>
              <a:gd name="connsiteY8" fmla="*/ 6022181 h 6858000"/>
              <a:gd name="connsiteX9" fmla="*/ 6075307 w 6096000"/>
              <a:gd name="connsiteY9" fmla="*/ 6022079 h 6858000"/>
              <a:gd name="connsiteX10" fmla="*/ 225301 w 6096000"/>
              <a:gd name="connsiteY10" fmla="*/ 6008306 h 6858000"/>
              <a:gd name="connsiteX11" fmla="*/ 0 w 6096000"/>
              <a:gd name="connsiteY11" fmla="*/ 6007692 h 6858000"/>
              <a:gd name="connsiteX0" fmla="*/ 0 w 6096000"/>
              <a:gd name="connsiteY0" fmla="*/ 6858000 h 6858000"/>
              <a:gd name="connsiteX1" fmla="*/ 6086475 w 6096000"/>
              <a:gd name="connsiteY1" fmla="*/ 6858000 h 6858000"/>
              <a:gd name="connsiteX2" fmla="*/ 0 w 6096000"/>
              <a:gd name="connsiteY2" fmla="*/ 6858000 h 6858000"/>
              <a:gd name="connsiteX3" fmla="*/ 6096000 w 6096000"/>
              <a:gd name="connsiteY3" fmla="*/ 6022261 h 6858000"/>
              <a:gd name="connsiteX4" fmla="*/ 6096000 w 6096000"/>
              <a:gd name="connsiteY4" fmla="*/ 6858000 h 6858000"/>
              <a:gd name="connsiteX5" fmla="*/ 6086475 w 6096000"/>
              <a:gd name="connsiteY5" fmla="*/ 6858000 h 6858000"/>
              <a:gd name="connsiteX6" fmla="*/ 6096000 w 6096000"/>
              <a:gd name="connsiteY6" fmla="*/ 6022261 h 6858000"/>
              <a:gd name="connsiteX7" fmla="*/ 0 w 6096000"/>
              <a:gd name="connsiteY7" fmla="*/ 0 h 6858000"/>
              <a:gd name="connsiteX8" fmla="*/ 6096000 w 6096000"/>
              <a:gd name="connsiteY8" fmla="*/ 0 h 6858000"/>
              <a:gd name="connsiteX9" fmla="*/ 6096000 w 6096000"/>
              <a:gd name="connsiteY9" fmla="*/ 6022181 h 6858000"/>
              <a:gd name="connsiteX10" fmla="*/ 6075307 w 6096000"/>
              <a:gd name="connsiteY10" fmla="*/ 6022079 h 6858000"/>
              <a:gd name="connsiteX11" fmla="*/ 225301 w 6096000"/>
              <a:gd name="connsiteY11" fmla="*/ 6008306 h 6858000"/>
              <a:gd name="connsiteX12" fmla="*/ 0 w 6096000"/>
              <a:gd name="connsiteY12" fmla="*/ 6007692 h 6858000"/>
              <a:gd name="connsiteX13" fmla="*/ 0 w 6096000"/>
              <a:gd name="connsiteY13" fmla="*/ 0 h 6858000"/>
              <a:gd name="connsiteX0" fmla="*/ 6096000 w 6096000"/>
              <a:gd name="connsiteY0" fmla="*/ 6022261 h 6858000"/>
              <a:gd name="connsiteX1" fmla="*/ 6096000 w 6096000"/>
              <a:gd name="connsiteY1" fmla="*/ 6858000 h 6858000"/>
              <a:gd name="connsiteX2" fmla="*/ 6086475 w 6096000"/>
              <a:gd name="connsiteY2" fmla="*/ 6858000 h 6858000"/>
              <a:gd name="connsiteX3" fmla="*/ 6096000 w 6096000"/>
              <a:gd name="connsiteY3" fmla="*/ 6022261 h 6858000"/>
              <a:gd name="connsiteX4" fmla="*/ 0 w 6096000"/>
              <a:gd name="connsiteY4" fmla="*/ 0 h 6858000"/>
              <a:gd name="connsiteX5" fmla="*/ 6096000 w 6096000"/>
              <a:gd name="connsiteY5" fmla="*/ 0 h 6858000"/>
              <a:gd name="connsiteX6" fmla="*/ 6096000 w 6096000"/>
              <a:gd name="connsiteY6" fmla="*/ 6022181 h 6858000"/>
              <a:gd name="connsiteX7" fmla="*/ 6075307 w 6096000"/>
              <a:gd name="connsiteY7" fmla="*/ 6022079 h 6858000"/>
              <a:gd name="connsiteX8" fmla="*/ 225301 w 6096000"/>
              <a:gd name="connsiteY8" fmla="*/ 6008306 h 6858000"/>
              <a:gd name="connsiteX9" fmla="*/ 0 w 6096000"/>
              <a:gd name="connsiteY9" fmla="*/ 6007692 h 6858000"/>
              <a:gd name="connsiteX10" fmla="*/ 0 w 6096000"/>
              <a:gd name="connsiteY10" fmla="*/ 0 h 6858000"/>
              <a:gd name="connsiteX0" fmla="*/ 6096000 w 6096000"/>
              <a:gd name="connsiteY0" fmla="*/ 6022261 h 6858000"/>
              <a:gd name="connsiteX1" fmla="*/ 6096000 w 6096000"/>
              <a:gd name="connsiteY1" fmla="*/ 6858000 h 6858000"/>
              <a:gd name="connsiteX2" fmla="*/ 6096000 w 6096000"/>
              <a:gd name="connsiteY2" fmla="*/ 6022261 h 6858000"/>
              <a:gd name="connsiteX3" fmla="*/ 0 w 6096000"/>
              <a:gd name="connsiteY3" fmla="*/ 0 h 6858000"/>
              <a:gd name="connsiteX4" fmla="*/ 6096000 w 6096000"/>
              <a:gd name="connsiteY4" fmla="*/ 0 h 6858000"/>
              <a:gd name="connsiteX5" fmla="*/ 6096000 w 6096000"/>
              <a:gd name="connsiteY5" fmla="*/ 6022181 h 6858000"/>
              <a:gd name="connsiteX6" fmla="*/ 6075307 w 6096000"/>
              <a:gd name="connsiteY6" fmla="*/ 6022079 h 6858000"/>
              <a:gd name="connsiteX7" fmla="*/ 225301 w 6096000"/>
              <a:gd name="connsiteY7" fmla="*/ 6008306 h 6858000"/>
              <a:gd name="connsiteX8" fmla="*/ 0 w 6096000"/>
              <a:gd name="connsiteY8" fmla="*/ 6007692 h 6858000"/>
              <a:gd name="connsiteX9" fmla="*/ 0 w 6096000"/>
              <a:gd name="connsiteY9" fmla="*/ 0 h 6858000"/>
              <a:gd name="connsiteX0" fmla="*/ 0 w 6096000"/>
              <a:gd name="connsiteY0" fmla="*/ 0 h 6022181"/>
              <a:gd name="connsiteX1" fmla="*/ 6096000 w 6096000"/>
              <a:gd name="connsiteY1" fmla="*/ 0 h 6022181"/>
              <a:gd name="connsiteX2" fmla="*/ 6096000 w 6096000"/>
              <a:gd name="connsiteY2" fmla="*/ 6022181 h 6022181"/>
              <a:gd name="connsiteX3" fmla="*/ 6075307 w 6096000"/>
              <a:gd name="connsiteY3" fmla="*/ 6022079 h 6022181"/>
              <a:gd name="connsiteX4" fmla="*/ 225301 w 6096000"/>
              <a:gd name="connsiteY4" fmla="*/ 6008306 h 6022181"/>
              <a:gd name="connsiteX5" fmla="*/ 0 w 6096000"/>
              <a:gd name="connsiteY5" fmla="*/ 6007692 h 6022181"/>
              <a:gd name="connsiteX6" fmla="*/ 0 w 6096000"/>
              <a:gd name="connsiteY6" fmla="*/ 0 h 602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022181">
                <a:moveTo>
                  <a:pt x="0" y="0"/>
                </a:moveTo>
                <a:lnTo>
                  <a:pt x="6096000" y="0"/>
                </a:lnTo>
                <a:lnTo>
                  <a:pt x="6096000" y="6022181"/>
                </a:lnTo>
                <a:lnTo>
                  <a:pt x="6075307" y="6022079"/>
                </a:lnTo>
                <a:lnTo>
                  <a:pt x="225301" y="6008306"/>
                </a:lnTo>
                <a:lnTo>
                  <a:pt x="0" y="6007692"/>
                </a:lnTo>
                <a:lnTo>
                  <a:pt x="0" y="0"/>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125" i="1">
                <a:solidFill>
                  <a:schemeClr val="tx1">
                    <a:lumMod val="50000"/>
                    <a:lumOff val="50000"/>
                  </a:schemeClr>
                </a:solidFill>
              </a:defRPr>
            </a:lvl1pPr>
          </a:lstStyle>
          <a:p>
            <a:r>
              <a:rPr lang="en-US"/>
              <a:t>Click the icon below </a:t>
            </a:r>
            <a:br>
              <a:rPr lang="en-US"/>
            </a:br>
            <a:r>
              <a:rPr lang="en-US"/>
              <a:t>to add an image.</a:t>
            </a:r>
          </a:p>
        </p:txBody>
      </p:sp>
      <p:sp>
        <p:nvSpPr>
          <p:cNvPr id="138" name="Tekstvak 137">
            <a:extLst>
              <a:ext uri="{FF2B5EF4-FFF2-40B4-BE49-F238E27FC236}">
                <a16:creationId xmlns:a16="http://schemas.microsoft.com/office/drawing/2014/main" id="{79F416B9-C541-4164-BC37-94C1197FF60A}"/>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Text and Image (M)</a:t>
            </a:r>
          </a:p>
        </p:txBody>
      </p:sp>
      <p:sp>
        <p:nvSpPr>
          <p:cNvPr id="141" name="Tijdelijke aanduiding voor verticale tekst 2">
            <a:extLst>
              <a:ext uri="{FF2B5EF4-FFF2-40B4-BE49-F238E27FC236}">
                <a16:creationId xmlns:a16="http://schemas.microsoft.com/office/drawing/2014/main" id="{2B403857-3154-4874-A485-1F673184EC55}"/>
              </a:ext>
            </a:extLst>
          </p:cNvPr>
          <p:cNvSpPr>
            <a:spLocks noGrp="1"/>
          </p:cNvSpPr>
          <p:nvPr>
            <p:ph type="body" orient="vert" idx="1" hasCustomPrompt="1"/>
          </p:nvPr>
        </p:nvSpPr>
        <p:spPr>
          <a:xfrm>
            <a:off x="523875" y="1598846"/>
            <a:ext cx="3769155" cy="2669623"/>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Bullet</a:t>
            </a:r>
          </a:p>
          <a:p>
            <a:pPr lvl="1"/>
            <a:r>
              <a:rPr lang="en-US" noProof="0"/>
              <a:t>Sub-bullet</a:t>
            </a:r>
          </a:p>
          <a:p>
            <a:pPr lvl="2"/>
            <a:r>
              <a:rPr lang="en-US" noProof="0"/>
              <a:t>Default text</a:t>
            </a:r>
          </a:p>
          <a:p>
            <a:pPr lvl="3"/>
            <a:r>
              <a:rPr lang="en-US" noProof="0"/>
              <a:t>Subtitle</a:t>
            </a:r>
          </a:p>
          <a:p>
            <a:pPr lvl="4"/>
            <a:r>
              <a:rPr lang="en-US" noProof="0"/>
              <a:t>Numerical bullet</a:t>
            </a:r>
          </a:p>
          <a:p>
            <a:pPr lvl="5"/>
            <a:r>
              <a:rPr lang="en-US" noProof="0"/>
              <a:t>Bullet</a:t>
            </a:r>
          </a:p>
          <a:p>
            <a:pPr lvl="6"/>
            <a:r>
              <a:rPr lang="en-US" noProof="0"/>
              <a:t>Sub-bullet</a:t>
            </a:r>
          </a:p>
          <a:p>
            <a:pPr lvl="7"/>
            <a:r>
              <a:rPr lang="en-US" noProof="0"/>
              <a:t>Default text</a:t>
            </a:r>
          </a:p>
          <a:p>
            <a:pPr lvl="8"/>
            <a:r>
              <a:rPr lang="en-US" noProof="0"/>
              <a:t>Subtitle</a:t>
            </a:r>
          </a:p>
        </p:txBody>
      </p:sp>
      <p:sp>
        <p:nvSpPr>
          <p:cNvPr id="9" name="Titel 8">
            <a:extLst>
              <a:ext uri="{FF2B5EF4-FFF2-40B4-BE49-F238E27FC236}">
                <a16:creationId xmlns:a16="http://schemas.microsoft.com/office/drawing/2014/main" id="{673017D8-644B-40BF-A0FC-0C1839BE864D}"/>
              </a:ext>
            </a:extLst>
          </p:cNvPr>
          <p:cNvSpPr>
            <a:spLocks noGrp="1"/>
          </p:cNvSpPr>
          <p:nvPr>
            <p:ph type="title" hasCustomPrompt="1"/>
          </p:nvPr>
        </p:nvSpPr>
        <p:spPr>
          <a:xfrm>
            <a:off x="523875" y="435769"/>
            <a:ext cx="3769155" cy="516848"/>
          </a:xfrm>
        </p:spPr>
        <p:txBody>
          <a:bodyPr/>
          <a:lstStyle/>
          <a:p>
            <a:r>
              <a:rPr lang="en-US" noProof="0"/>
              <a:t>Add a slide title, </a:t>
            </a:r>
            <a:br>
              <a:rPr lang="en-US" noProof="0"/>
            </a:br>
            <a:r>
              <a:rPr lang="en-US" noProof="0"/>
              <a:t>max.2 lines</a:t>
            </a:r>
            <a:endParaRPr lang="en-US"/>
          </a:p>
        </p:txBody>
      </p:sp>
      <p:grpSp>
        <p:nvGrpSpPr>
          <p:cNvPr id="279" name="Groep 278">
            <a:extLst>
              <a:ext uri="{FF2B5EF4-FFF2-40B4-BE49-F238E27FC236}">
                <a16:creationId xmlns:a16="http://schemas.microsoft.com/office/drawing/2014/main" id="{A51E244A-AD81-4E78-BC2C-B76B4DB87478}"/>
              </a:ext>
            </a:extLst>
          </p:cNvPr>
          <p:cNvGrpSpPr/>
          <p:nvPr userDrawn="1"/>
        </p:nvGrpSpPr>
        <p:grpSpPr>
          <a:xfrm>
            <a:off x="-2839623" y="0"/>
            <a:ext cx="2694818" cy="3481004"/>
            <a:chOff x="-3786165" y="0"/>
            <a:chExt cx="3593091" cy="4641338"/>
          </a:xfrm>
        </p:grpSpPr>
        <p:sp>
          <p:nvSpPr>
            <p:cNvPr id="280" name="Rechthoek 279">
              <a:extLst>
                <a:ext uri="{FF2B5EF4-FFF2-40B4-BE49-F238E27FC236}">
                  <a16:creationId xmlns:a16="http://schemas.microsoft.com/office/drawing/2014/main" id="{DB871465-6EA9-4F0B-BB4A-EDDFC52A3EA5}"/>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281" name="Ovaal 280">
              <a:extLst>
                <a:ext uri="{FF2B5EF4-FFF2-40B4-BE49-F238E27FC236}">
                  <a16:creationId xmlns:a16="http://schemas.microsoft.com/office/drawing/2014/main" id="{D335486F-2D99-4823-A487-D1348151ACED}"/>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82" name="Rechthoek 281">
              <a:extLst>
                <a:ext uri="{FF2B5EF4-FFF2-40B4-BE49-F238E27FC236}">
                  <a16:creationId xmlns:a16="http://schemas.microsoft.com/office/drawing/2014/main" id="{9E161521-12FA-4555-B72E-3F247E4CE2C2}"/>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sp>
          <p:nvSpPr>
            <p:cNvPr id="283" name="Ovaal 282">
              <a:extLst>
                <a:ext uri="{FF2B5EF4-FFF2-40B4-BE49-F238E27FC236}">
                  <a16:creationId xmlns:a16="http://schemas.microsoft.com/office/drawing/2014/main" id="{480DE4C6-61D9-4EDC-B8BA-1D8AE513536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84" name="Rechthoek 283">
              <a:extLst>
                <a:ext uri="{FF2B5EF4-FFF2-40B4-BE49-F238E27FC236}">
                  <a16:creationId xmlns:a16="http://schemas.microsoft.com/office/drawing/2014/main" id="{CD75B22B-58E9-423A-95EF-59408471BC94}"/>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85" name="Rechthoek 284">
              <a:extLst>
                <a:ext uri="{FF2B5EF4-FFF2-40B4-BE49-F238E27FC236}">
                  <a16:creationId xmlns:a16="http://schemas.microsoft.com/office/drawing/2014/main" id="{2CA3C1AF-3D1C-46EF-9C2D-F2BDA7C2C94C}"/>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286" name="Ovaal 285">
              <a:extLst>
                <a:ext uri="{FF2B5EF4-FFF2-40B4-BE49-F238E27FC236}">
                  <a16:creationId xmlns:a16="http://schemas.microsoft.com/office/drawing/2014/main" id="{2C8F0E86-F8F5-4E8F-B5C6-ACE5D2623B61}"/>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87" name="Rechthoek 286">
              <a:extLst>
                <a:ext uri="{FF2B5EF4-FFF2-40B4-BE49-F238E27FC236}">
                  <a16:creationId xmlns:a16="http://schemas.microsoft.com/office/drawing/2014/main" id="{B036453E-62C5-47E5-B763-96D3759D73E2}"/>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288" name="Ovaal 287">
              <a:extLst>
                <a:ext uri="{FF2B5EF4-FFF2-40B4-BE49-F238E27FC236}">
                  <a16:creationId xmlns:a16="http://schemas.microsoft.com/office/drawing/2014/main" id="{97258B17-D7BF-44D2-A23B-03095BC26CFC}"/>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89" name="Rechthoek 288">
              <a:extLst>
                <a:ext uri="{FF2B5EF4-FFF2-40B4-BE49-F238E27FC236}">
                  <a16:creationId xmlns:a16="http://schemas.microsoft.com/office/drawing/2014/main" id="{4873FDB3-1429-41F8-91B0-3D95A0F7E7FA}"/>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chemeClr val="accent1"/>
                </a:buClr>
                <a:buSzTx/>
                <a:buFont typeface="Arial" panose="020B0604020202020204" pitchFamily="34" charset="0"/>
                <a:buNone/>
                <a:tabLst/>
                <a:defRPr/>
              </a:pPr>
              <a:r>
                <a:rPr lang="en-US" sz="1200" b="1" kern="1200" cap="none" spc="23" baseline="0" noProof="0">
                  <a:solidFill>
                    <a:schemeClr val="tx2">
                      <a:lumMod val="50000"/>
                    </a:schemeClr>
                  </a:solidFill>
                  <a:latin typeface="+mj-lt"/>
                  <a:ea typeface="+mn-ea"/>
                  <a:cs typeface="Calibri" panose="020F0502020204030204" pitchFamily="34" charset="0"/>
                </a:rPr>
                <a:t>Subtitle</a:t>
              </a:r>
            </a:p>
          </p:txBody>
        </p:sp>
        <p:sp>
          <p:nvSpPr>
            <p:cNvPr id="290" name="Ovaal 289">
              <a:extLst>
                <a:ext uri="{FF2B5EF4-FFF2-40B4-BE49-F238E27FC236}">
                  <a16:creationId xmlns:a16="http://schemas.microsoft.com/office/drawing/2014/main" id="{3E908144-D014-4963-BFED-8C20C4652288}"/>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91" name="Rechthoek 290">
              <a:extLst>
                <a:ext uri="{FF2B5EF4-FFF2-40B4-BE49-F238E27FC236}">
                  <a16:creationId xmlns:a16="http://schemas.microsoft.com/office/drawing/2014/main" id="{1D956797-3C3A-4F12-86A9-092EC85AA05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03597" marR="0" lvl="4" indent="-203597" algn="l" defTabSz="539354" rtl="0" eaLnBrk="1" fontAlgn="auto" latinLnBrk="0" hangingPunct="1">
                <a:lnSpc>
                  <a:spcPct val="100000"/>
                </a:lnSpc>
                <a:spcBef>
                  <a:spcPts val="225"/>
                </a:spcBef>
                <a:spcAft>
                  <a:spcPts val="450"/>
                </a:spcAft>
                <a:buClr>
                  <a:srgbClr val="3F3F3F"/>
                </a:buClr>
                <a:buSzTx/>
                <a:buFont typeface="+mj-lt"/>
                <a:buAutoNum type="arabicPeriod"/>
                <a:tabLst/>
                <a:defRPr/>
              </a:pPr>
              <a:r>
                <a:rPr kumimoji="0" lang="en-US" sz="900" b="0" i="0" u="none" strike="noStrike" kern="1200" cap="none" spc="0" normalizeH="0" baseline="0" noProof="0">
                  <a:ln>
                    <a:noFill/>
                  </a:ln>
                  <a:solidFill>
                    <a:schemeClr val="tx2">
                      <a:lumMod val="50000"/>
                    </a:schemeClr>
                  </a:solidFill>
                  <a:effectLst/>
                  <a:uLnTx/>
                  <a:uFillTx/>
                  <a:latin typeface="+mn-lt"/>
                  <a:ea typeface="+mn-ea"/>
                  <a:cs typeface="+mn-cs"/>
                </a:rPr>
                <a:t>Numerical bullet</a:t>
              </a:r>
            </a:p>
          </p:txBody>
        </p:sp>
        <p:sp>
          <p:nvSpPr>
            <p:cNvPr id="292" name="Ovaal 291">
              <a:extLst>
                <a:ext uri="{FF2B5EF4-FFF2-40B4-BE49-F238E27FC236}">
                  <a16:creationId xmlns:a16="http://schemas.microsoft.com/office/drawing/2014/main" id="{89D26F4B-90FB-4FD2-AB1D-5829A634B320}"/>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93" name="Rechthoek 292">
              <a:extLst>
                <a:ext uri="{FF2B5EF4-FFF2-40B4-BE49-F238E27FC236}">
                  <a16:creationId xmlns:a16="http://schemas.microsoft.com/office/drawing/2014/main" id="{0D5AA47A-AA80-440B-9771-5237AE6141E7}"/>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294" name="Ovaal 293">
              <a:extLst>
                <a:ext uri="{FF2B5EF4-FFF2-40B4-BE49-F238E27FC236}">
                  <a16:creationId xmlns:a16="http://schemas.microsoft.com/office/drawing/2014/main" id="{AA866A6C-9AC8-4A1B-976A-19F7D1FFC0F6}"/>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95" name="Rechthoek 294">
              <a:extLst>
                <a:ext uri="{FF2B5EF4-FFF2-40B4-BE49-F238E27FC236}">
                  <a16:creationId xmlns:a16="http://schemas.microsoft.com/office/drawing/2014/main" id="{8E165EDC-593D-420A-A789-36216894B2C7}"/>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296" name="Ovaal 295">
              <a:extLst>
                <a:ext uri="{FF2B5EF4-FFF2-40B4-BE49-F238E27FC236}">
                  <a16:creationId xmlns:a16="http://schemas.microsoft.com/office/drawing/2014/main" id="{CF16DC5A-BC6C-46EF-A87F-BD170AEA2A4E}"/>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97" name="Rechthoek 296">
              <a:extLst>
                <a:ext uri="{FF2B5EF4-FFF2-40B4-BE49-F238E27FC236}">
                  <a16:creationId xmlns:a16="http://schemas.microsoft.com/office/drawing/2014/main" id="{A70CB274-E41B-4F5C-8E2B-69E80A80A98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rgbClr val="04A64B"/>
                </a:buClr>
                <a:buSzTx/>
                <a:buFont typeface="Arial" panose="020B0604020202020204" pitchFamily="34" charset="0"/>
                <a:buNone/>
                <a:tabLst/>
                <a:defRPr/>
              </a:pPr>
              <a:r>
                <a:rPr kumimoji="0" lang="en-US" sz="1200" b="1" i="0" u="none" strike="noStrike" kern="1200" cap="none" spc="23" normalizeH="0" baseline="0" noProof="0">
                  <a:ln>
                    <a:noFill/>
                  </a:ln>
                  <a:solidFill>
                    <a:srgbClr val="3F3F3F">
                      <a:lumMod val="50000"/>
                    </a:srgbClr>
                  </a:solidFill>
                  <a:effectLst/>
                  <a:uLnTx/>
                  <a:uFillTx/>
                  <a:latin typeface="+mn-lt"/>
                  <a:ea typeface="+mn-ea"/>
                  <a:cs typeface="Calibri" panose="020F0502020204030204" pitchFamily="34" charset="0"/>
                </a:rPr>
                <a:t>Subtitle</a:t>
              </a:r>
            </a:p>
          </p:txBody>
        </p:sp>
        <p:sp>
          <p:nvSpPr>
            <p:cNvPr id="298" name="Ovaal 297">
              <a:extLst>
                <a:ext uri="{FF2B5EF4-FFF2-40B4-BE49-F238E27FC236}">
                  <a16:creationId xmlns:a16="http://schemas.microsoft.com/office/drawing/2014/main" id="{C2604A15-AAC3-4042-AB1A-C36465849C14}"/>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99" name="Rechthoek 298">
              <a:extLst>
                <a:ext uri="{FF2B5EF4-FFF2-40B4-BE49-F238E27FC236}">
                  <a16:creationId xmlns:a16="http://schemas.microsoft.com/office/drawing/2014/main" id="{CDBADAC8-B6A4-4015-A7E3-15DFA1906DDB}"/>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grpSp>
          <p:nvGrpSpPr>
            <p:cNvPr id="300" name="VOORBEELD">
              <a:extLst>
                <a:ext uri="{FF2B5EF4-FFF2-40B4-BE49-F238E27FC236}">
                  <a16:creationId xmlns:a16="http://schemas.microsoft.com/office/drawing/2014/main" id="{17C7E980-FFAC-4EDA-9F4D-0AEE7404E33B}"/>
                </a:ext>
              </a:extLst>
            </p:cNvPr>
            <p:cNvGrpSpPr/>
            <p:nvPr userDrawn="1"/>
          </p:nvGrpSpPr>
          <p:grpSpPr>
            <a:xfrm>
              <a:off x="-3605171" y="458674"/>
              <a:ext cx="3234311" cy="558875"/>
              <a:chOff x="-3605171" y="458674"/>
              <a:chExt cx="3234311" cy="558875"/>
            </a:xfrm>
          </p:grpSpPr>
          <p:sp>
            <p:nvSpPr>
              <p:cNvPr id="301" name="Rechthoek 300">
                <a:extLst>
                  <a:ext uri="{FF2B5EF4-FFF2-40B4-BE49-F238E27FC236}">
                    <a16:creationId xmlns:a16="http://schemas.microsoft.com/office/drawing/2014/main" id="{6A4286BC-1C98-46DF-A67F-F22DFF60A55C}"/>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675" b="1" noProof="0">
                    <a:solidFill>
                      <a:srgbClr val="211F26"/>
                    </a:solidFill>
                    <a:latin typeface="Calibri" panose="020F0502020204030204" pitchFamily="34" charset="0"/>
                    <a:cs typeface="Calibri" panose="020F0502020204030204" pitchFamily="34" charset="0"/>
                  </a:rPr>
                  <a:t>Home</a:t>
                </a:r>
              </a:p>
            </p:txBody>
          </p:sp>
          <p:sp>
            <p:nvSpPr>
              <p:cNvPr id="302" name="Rechthoek 301">
                <a:extLst>
                  <a:ext uri="{FF2B5EF4-FFF2-40B4-BE49-F238E27FC236}">
                    <a16:creationId xmlns:a16="http://schemas.microsoft.com/office/drawing/2014/main" id="{0AED1EC3-FEEA-4AAF-8A44-2109EA267B59}"/>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303" name="Groep 302">
                <a:extLst>
                  <a:ext uri="{FF2B5EF4-FFF2-40B4-BE49-F238E27FC236}">
                    <a16:creationId xmlns:a16="http://schemas.microsoft.com/office/drawing/2014/main" id="{292565C1-DE95-4711-A850-41CD6239F6DC}"/>
                  </a:ext>
                </a:extLst>
              </p:cNvPr>
              <p:cNvGrpSpPr/>
              <p:nvPr userDrawn="1"/>
            </p:nvGrpSpPr>
            <p:grpSpPr>
              <a:xfrm>
                <a:off x="-3386247" y="830871"/>
                <a:ext cx="139423" cy="109566"/>
                <a:chOff x="-2866744" y="827071"/>
                <a:chExt cx="168701" cy="132575"/>
              </a:xfrm>
            </p:grpSpPr>
            <p:grpSp>
              <p:nvGrpSpPr>
                <p:cNvPr id="334" name="Groep 333">
                  <a:extLst>
                    <a:ext uri="{FF2B5EF4-FFF2-40B4-BE49-F238E27FC236}">
                      <a16:creationId xmlns:a16="http://schemas.microsoft.com/office/drawing/2014/main" id="{9DA37AA5-646B-45EF-BFB5-20A119E717C3}"/>
                    </a:ext>
                  </a:extLst>
                </p:cNvPr>
                <p:cNvGrpSpPr/>
                <p:nvPr userDrawn="1"/>
              </p:nvGrpSpPr>
              <p:grpSpPr>
                <a:xfrm>
                  <a:off x="-2866744" y="827071"/>
                  <a:ext cx="168701" cy="132575"/>
                  <a:chOff x="-2866744" y="827071"/>
                  <a:chExt cx="168701" cy="132575"/>
                </a:xfrm>
              </p:grpSpPr>
              <p:cxnSp>
                <p:nvCxnSpPr>
                  <p:cNvPr id="336" name="Rechte verbindingslijn 335">
                    <a:extLst>
                      <a:ext uri="{FF2B5EF4-FFF2-40B4-BE49-F238E27FC236}">
                        <a16:creationId xmlns:a16="http://schemas.microsoft.com/office/drawing/2014/main" id="{D3A854E2-DDFD-488E-A9FB-11B97841B1B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37" name="Rechte verbindingslijn 336">
                    <a:extLst>
                      <a:ext uri="{FF2B5EF4-FFF2-40B4-BE49-F238E27FC236}">
                        <a16:creationId xmlns:a16="http://schemas.microsoft.com/office/drawing/2014/main" id="{21620F12-4CE8-4FE1-AC87-CACF135E2E6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38" name="Rechte verbindingslijn 337">
                    <a:extLst>
                      <a:ext uri="{FF2B5EF4-FFF2-40B4-BE49-F238E27FC236}">
                        <a16:creationId xmlns:a16="http://schemas.microsoft.com/office/drawing/2014/main" id="{C713516F-8774-4F49-96B1-05DE34052D4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39" name="Rechte verbindingslijn 338">
                    <a:extLst>
                      <a:ext uri="{FF2B5EF4-FFF2-40B4-BE49-F238E27FC236}">
                        <a16:creationId xmlns:a16="http://schemas.microsoft.com/office/drawing/2014/main" id="{A12736EC-BFB8-47B6-AC9D-FAE51F501917}"/>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40" name="Rechte verbindingslijn 339">
                    <a:extLst>
                      <a:ext uri="{FF2B5EF4-FFF2-40B4-BE49-F238E27FC236}">
                        <a16:creationId xmlns:a16="http://schemas.microsoft.com/office/drawing/2014/main" id="{3DC6DBCC-A06F-4C10-BFE4-63DEA295152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35" name="Pijl: rechts 334">
                  <a:extLst>
                    <a:ext uri="{FF2B5EF4-FFF2-40B4-BE49-F238E27FC236}">
                      <a16:creationId xmlns:a16="http://schemas.microsoft.com/office/drawing/2014/main" id="{1F7CAA00-C662-4DBE-9596-021990B2D037}"/>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304" name="Groep 303">
                <a:extLst>
                  <a:ext uri="{FF2B5EF4-FFF2-40B4-BE49-F238E27FC236}">
                    <a16:creationId xmlns:a16="http://schemas.microsoft.com/office/drawing/2014/main" id="{FD7A8B06-CE7B-47FD-AFF1-F981C56FD744}"/>
                  </a:ext>
                </a:extLst>
              </p:cNvPr>
              <p:cNvGrpSpPr/>
              <p:nvPr userDrawn="1"/>
            </p:nvGrpSpPr>
            <p:grpSpPr>
              <a:xfrm>
                <a:off x="-3605171" y="830871"/>
                <a:ext cx="139423" cy="109566"/>
                <a:chOff x="-2866744" y="518074"/>
                <a:chExt cx="168701" cy="132575"/>
              </a:xfrm>
            </p:grpSpPr>
            <p:grpSp>
              <p:nvGrpSpPr>
                <p:cNvPr id="327" name="Groep 326">
                  <a:extLst>
                    <a:ext uri="{FF2B5EF4-FFF2-40B4-BE49-F238E27FC236}">
                      <a16:creationId xmlns:a16="http://schemas.microsoft.com/office/drawing/2014/main" id="{CD6AA1E2-66EA-4EBA-BA11-05B03002AF8F}"/>
                    </a:ext>
                  </a:extLst>
                </p:cNvPr>
                <p:cNvGrpSpPr/>
                <p:nvPr userDrawn="1"/>
              </p:nvGrpSpPr>
              <p:grpSpPr>
                <a:xfrm>
                  <a:off x="-2866744" y="518074"/>
                  <a:ext cx="168701" cy="132575"/>
                  <a:chOff x="-2866744" y="518074"/>
                  <a:chExt cx="168701" cy="132575"/>
                </a:xfrm>
              </p:grpSpPr>
              <p:cxnSp>
                <p:nvCxnSpPr>
                  <p:cNvPr id="329" name="Rechte verbindingslijn 328">
                    <a:extLst>
                      <a:ext uri="{FF2B5EF4-FFF2-40B4-BE49-F238E27FC236}">
                        <a16:creationId xmlns:a16="http://schemas.microsoft.com/office/drawing/2014/main" id="{D08F8CA0-95CB-4BDA-8375-D8E09750451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30" name="Rechte verbindingslijn 329">
                    <a:extLst>
                      <a:ext uri="{FF2B5EF4-FFF2-40B4-BE49-F238E27FC236}">
                        <a16:creationId xmlns:a16="http://schemas.microsoft.com/office/drawing/2014/main" id="{DA7498E4-0CB4-4DF7-A9DD-0B1D2180B6E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31" name="Rechte verbindingslijn 330">
                    <a:extLst>
                      <a:ext uri="{FF2B5EF4-FFF2-40B4-BE49-F238E27FC236}">
                        <a16:creationId xmlns:a16="http://schemas.microsoft.com/office/drawing/2014/main" id="{362AA146-3FB7-4CEE-AE40-AE148227374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32" name="Rechte verbindingslijn 331">
                    <a:extLst>
                      <a:ext uri="{FF2B5EF4-FFF2-40B4-BE49-F238E27FC236}">
                        <a16:creationId xmlns:a16="http://schemas.microsoft.com/office/drawing/2014/main" id="{80C25C0A-7584-41A6-9579-ED6A317ED8B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33" name="Rechte verbindingslijn 332">
                    <a:extLst>
                      <a:ext uri="{FF2B5EF4-FFF2-40B4-BE49-F238E27FC236}">
                        <a16:creationId xmlns:a16="http://schemas.microsoft.com/office/drawing/2014/main" id="{48AFE46B-5191-4D88-86CF-640A0B409CE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28" name="Pijl: rechts 327">
                  <a:extLst>
                    <a:ext uri="{FF2B5EF4-FFF2-40B4-BE49-F238E27FC236}">
                      <a16:creationId xmlns:a16="http://schemas.microsoft.com/office/drawing/2014/main" id="{1F98388C-0319-4E43-BDE3-D4E8BE2E4FAD}"/>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cxnSp>
            <p:nvCxnSpPr>
              <p:cNvPr id="305" name="Rechte verbindingslijn 304">
                <a:extLst>
                  <a:ext uri="{FF2B5EF4-FFF2-40B4-BE49-F238E27FC236}">
                    <a16:creationId xmlns:a16="http://schemas.microsoft.com/office/drawing/2014/main" id="{2771DF4C-5C90-45F1-976A-DC5DFA2764BA}"/>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306" name="Rechte verbindingslijn 305">
                <a:extLst>
                  <a:ext uri="{FF2B5EF4-FFF2-40B4-BE49-F238E27FC236}">
                    <a16:creationId xmlns:a16="http://schemas.microsoft.com/office/drawing/2014/main" id="{58917413-A9C7-408C-A88C-B31787117204}"/>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307" name="Rechthoek 306">
                <a:extLst>
                  <a:ext uri="{FF2B5EF4-FFF2-40B4-BE49-F238E27FC236}">
                    <a16:creationId xmlns:a16="http://schemas.microsoft.com/office/drawing/2014/main" id="{9B66BA9E-AEE9-4281-8FD6-827E788DD36E}"/>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308" name="Rechthoek 307">
                <a:extLst>
                  <a:ext uri="{FF2B5EF4-FFF2-40B4-BE49-F238E27FC236}">
                    <a16:creationId xmlns:a16="http://schemas.microsoft.com/office/drawing/2014/main" id="{5F0B52D8-813D-44D3-BD54-8B413A368CE3}"/>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309" name="Groep 308">
                <a:extLst>
                  <a:ext uri="{FF2B5EF4-FFF2-40B4-BE49-F238E27FC236}">
                    <a16:creationId xmlns:a16="http://schemas.microsoft.com/office/drawing/2014/main" id="{254BF91E-91EB-4A0C-AAB9-9BE4EB760147}"/>
                  </a:ext>
                </a:extLst>
              </p:cNvPr>
              <p:cNvGrpSpPr/>
              <p:nvPr userDrawn="1"/>
            </p:nvGrpSpPr>
            <p:grpSpPr>
              <a:xfrm>
                <a:off x="-2916763" y="769168"/>
                <a:ext cx="268738" cy="248381"/>
                <a:chOff x="-2916763" y="769168"/>
                <a:chExt cx="268738" cy="248381"/>
              </a:xfrm>
            </p:grpSpPr>
            <p:sp>
              <p:nvSpPr>
                <p:cNvPr id="319" name="Rechthoek 318">
                  <a:extLst>
                    <a:ext uri="{FF2B5EF4-FFF2-40B4-BE49-F238E27FC236}">
                      <a16:creationId xmlns:a16="http://schemas.microsoft.com/office/drawing/2014/main" id="{09E438A6-34C7-41D9-BB83-3B586E56E9C4}"/>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320" name="Groep 319">
                  <a:extLst>
                    <a:ext uri="{FF2B5EF4-FFF2-40B4-BE49-F238E27FC236}">
                      <a16:creationId xmlns:a16="http://schemas.microsoft.com/office/drawing/2014/main" id="{8674260E-4C59-4B36-AAE9-E2FCC88BDC47}"/>
                    </a:ext>
                  </a:extLst>
                </p:cNvPr>
                <p:cNvGrpSpPr/>
                <p:nvPr userDrawn="1"/>
              </p:nvGrpSpPr>
              <p:grpSpPr>
                <a:xfrm>
                  <a:off x="-2866744" y="827071"/>
                  <a:ext cx="168701" cy="132575"/>
                  <a:chOff x="-2866744" y="827071"/>
                  <a:chExt cx="168701" cy="132575"/>
                </a:xfrm>
              </p:grpSpPr>
              <p:cxnSp>
                <p:nvCxnSpPr>
                  <p:cNvPr id="322" name="Rechte verbindingslijn 321">
                    <a:extLst>
                      <a:ext uri="{FF2B5EF4-FFF2-40B4-BE49-F238E27FC236}">
                        <a16:creationId xmlns:a16="http://schemas.microsoft.com/office/drawing/2014/main" id="{D16A919D-50BE-4BBF-A015-7F3D68A5F38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23" name="Rechte verbindingslijn 322">
                    <a:extLst>
                      <a:ext uri="{FF2B5EF4-FFF2-40B4-BE49-F238E27FC236}">
                        <a16:creationId xmlns:a16="http://schemas.microsoft.com/office/drawing/2014/main" id="{31DA9FA7-9DCA-45C5-8344-7895A51CBDC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24" name="Rechte verbindingslijn 323">
                    <a:extLst>
                      <a:ext uri="{FF2B5EF4-FFF2-40B4-BE49-F238E27FC236}">
                        <a16:creationId xmlns:a16="http://schemas.microsoft.com/office/drawing/2014/main" id="{F74CB215-FEB1-4860-A6DC-5A51A158662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5" name="Rechte verbindingslijn 324">
                    <a:extLst>
                      <a:ext uri="{FF2B5EF4-FFF2-40B4-BE49-F238E27FC236}">
                        <a16:creationId xmlns:a16="http://schemas.microsoft.com/office/drawing/2014/main" id="{EF97D2D7-5FC9-482E-941E-0CC5AC33276D}"/>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6" name="Rechte verbindingslijn 325">
                    <a:extLst>
                      <a:ext uri="{FF2B5EF4-FFF2-40B4-BE49-F238E27FC236}">
                        <a16:creationId xmlns:a16="http://schemas.microsoft.com/office/drawing/2014/main" id="{0D8C91E7-8373-4294-8A0B-52A30080011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21" name="Pijl: rechts 320">
                  <a:extLst>
                    <a:ext uri="{FF2B5EF4-FFF2-40B4-BE49-F238E27FC236}">
                      <a16:creationId xmlns:a16="http://schemas.microsoft.com/office/drawing/2014/main" id="{156C8253-7E8B-4171-BAC1-C710197DEAC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310" name="Groep 309">
                <a:extLst>
                  <a:ext uri="{FF2B5EF4-FFF2-40B4-BE49-F238E27FC236}">
                    <a16:creationId xmlns:a16="http://schemas.microsoft.com/office/drawing/2014/main" id="{61C62977-BC36-4AFB-8334-A7CB9EFD869C}"/>
                  </a:ext>
                </a:extLst>
              </p:cNvPr>
              <p:cNvGrpSpPr/>
              <p:nvPr userDrawn="1"/>
            </p:nvGrpSpPr>
            <p:grpSpPr>
              <a:xfrm>
                <a:off x="-2916763" y="460171"/>
                <a:ext cx="268738" cy="248381"/>
                <a:chOff x="-2916763" y="460171"/>
                <a:chExt cx="268738" cy="248381"/>
              </a:xfrm>
            </p:grpSpPr>
            <p:sp>
              <p:nvSpPr>
                <p:cNvPr id="311" name="Rechthoek 310">
                  <a:extLst>
                    <a:ext uri="{FF2B5EF4-FFF2-40B4-BE49-F238E27FC236}">
                      <a16:creationId xmlns:a16="http://schemas.microsoft.com/office/drawing/2014/main" id="{B2F1CD8F-063B-4C4F-A8B4-9F3C0CDF4BAB}"/>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312" name="Groep 311">
                  <a:extLst>
                    <a:ext uri="{FF2B5EF4-FFF2-40B4-BE49-F238E27FC236}">
                      <a16:creationId xmlns:a16="http://schemas.microsoft.com/office/drawing/2014/main" id="{5F4E03EE-B9C1-4BB4-BD01-1BD0E2D62714}"/>
                    </a:ext>
                  </a:extLst>
                </p:cNvPr>
                <p:cNvGrpSpPr/>
                <p:nvPr userDrawn="1"/>
              </p:nvGrpSpPr>
              <p:grpSpPr>
                <a:xfrm>
                  <a:off x="-2866744" y="518074"/>
                  <a:ext cx="168701" cy="132575"/>
                  <a:chOff x="-2866744" y="518074"/>
                  <a:chExt cx="168701" cy="132575"/>
                </a:xfrm>
              </p:grpSpPr>
              <p:cxnSp>
                <p:nvCxnSpPr>
                  <p:cNvPr id="314" name="Rechte verbindingslijn 313">
                    <a:extLst>
                      <a:ext uri="{FF2B5EF4-FFF2-40B4-BE49-F238E27FC236}">
                        <a16:creationId xmlns:a16="http://schemas.microsoft.com/office/drawing/2014/main" id="{AC4F4A23-76D9-4D71-AD2D-78E679E66FB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5" name="Rechte verbindingslijn 314">
                    <a:extLst>
                      <a:ext uri="{FF2B5EF4-FFF2-40B4-BE49-F238E27FC236}">
                        <a16:creationId xmlns:a16="http://schemas.microsoft.com/office/drawing/2014/main" id="{67F48E53-B96A-4F0C-88BB-88FE4110D0C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6" name="Rechte verbindingslijn 315">
                    <a:extLst>
                      <a:ext uri="{FF2B5EF4-FFF2-40B4-BE49-F238E27FC236}">
                        <a16:creationId xmlns:a16="http://schemas.microsoft.com/office/drawing/2014/main" id="{94CD9F2A-6A60-43D7-9268-B706BB267C11}"/>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17" name="Rechte verbindingslijn 316">
                    <a:extLst>
                      <a:ext uri="{FF2B5EF4-FFF2-40B4-BE49-F238E27FC236}">
                        <a16:creationId xmlns:a16="http://schemas.microsoft.com/office/drawing/2014/main" id="{2A83C17B-C7BC-458B-AE14-E4F79DC25AC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32A74AB5-694D-4BD7-AEFC-9B06CFCAD8B3}"/>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13" name="Pijl: rechts 312">
                  <a:extLst>
                    <a:ext uri="{FF2B5EF4-FFF2-40B4-BE49-F238E27FC236}">
                      <a16:creationId xmlns:a16="http://schemas.microsoft.com/office/drawing/2014/main" id="{4C03F82F-0E71-4BED-B80A-BF29DFF5093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grpSp>
      <p:grpSp>
        <p:nvGrpSpPr>
          <p:cNvPr id="341" name="INSTRUCTION">
            <a:extLst>
              <a:ext uri="{FF2B5EF4-FFF2-40B4-BE49-F238E27FC236}">
                <a16:creationId xmlns:a16="http://schemas.microsoft.com/office/drawing/2014/main" id="{47CFFDBF-5498-485B-BBAC-198D3D2772EE}"/>
              </a:ext>
            </a:extLst>
          </p:cNvPr>
          <p:cNvGrpSpPr/>
          <p:nvPr userDrawn="1"/>
        </p:nvGrpSpPr>
        <p:grpSpPr>
          <a:xfrm>
            <a:off x="9283401" y="0"/>
            <a:ext cx="2694818" cy="4452582"/>
            <a:chOff x="-3786165" y="0"/>
            <a:chExt cx="3593091" cy="5936776"/>
          </a:xfrm>
        </p:grpSpPr>
        <p:sp>
          <p:nvSpPr>
            <p:cNvPr id="342" name="Rechthoek 341">
              <a:extLst>
                <a:ext uri="{FF2B5EF4-FFF2-40B4-BE49-F238E27FC236}">
                  <a16:creationId xmlns:a16="http://schemas.microsoft.com/office/drawing/2014/main" id="{B922E1D0-3373-4591-8B9B-42B8F6520E00}"/>
                </a:ext>
              </a:extLst>
            </p:cNvPr>
            <p:cNvSpPr/>
            <p:nvPr userDrawn="1"/>
          </p:nvSpPr>
          <p:spPr>
            <a:xfrm>
              <a:off x="-3786165" y="0"/>
              <a:ext cx="3593091" cy="593677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343" name="Ovaal 342">
              <a:extLst>
                <a:ext uri="{FF2B5EF4-FFF2-40B4-BE49-F238E27FC236}">
                  <a16:creationId xmlns:a16="http://schemas.microsoft.com/office/drawing/2014/main" id="{032AA3F4-91D6-4644-B44F-D5B94E0BD76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44" name="Rechthoek 343">
              <a:extLst>
                <a:ext uri="{FF2B5EF4-FFF2-40B4-BE49-F238E27FC236}">
                  <a16:creationId xmlns:a16="http://schemas.microsoft.com/office/drawing/2014/main" id="{5FD8EDE3-BDF5-4326-965A-53C72EC54666}"/>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345" name="Groep 344">
              <a:extLst>
                <a:ext uri="{FF2B5EF4-FFF2-40B4-BE49-F238E27FC236}">
                  <a16:creationId xmlns:a16="http://schemas.microsoft.com/office/drawing/2014/main" id="{247F843A-EB3C-4AC9-832F-D32E00F3E221}"/>
                </a:ext>
              </a:extLst>
            </p:cNvPr>
            <p:cNvGrpSpPr/>
            <p:nvPr userDrawn="1"/>
          </p:nvGrpSpPr>
          <p:grpSpPr>
            <a:xfrm>
              <a:off x="-3316179" y="1231351"/>
              <a:ext cx="294789" cy="318834"/>
              <a:chOff x="14466489" y="1001522"/>
              <a:chExt cx="290627" cy="314333"/>
            </a:xfrm>
          </p:grpSpPr>
          <p:sp>
            <p:nvSpPr>
              <p:cNvPr id="396" name="Rechthoek 395">
                <a:extLst>
                  <a:ext uri="{FF2B5EF4-FFF2-40B4-BE49-F238E27FC236}">
                    <a16:creationId xmlns:a16="http://schemas.microsoft.com/office/drawing/2014/main" id="{6D6A2156-B649-44F0-B1A0-D7E262AA08E9}"/>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397" name="Ovaal 396">
                <a:extLst>
                  <a:ext uri="{FF2B5EF4-FFF2-40B4-BE49-F238E27FC236}">
                    <a16:creationId xmlns:a16="http://schemas.microsoft.com/office/drawing/2014/main" id="{08A6156C-F337-4576-B890-B2C9DC6F63C0}"/>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00" b="1" noProof="0">
                  <a:solidFill>
                    <a:srgbClr val="211F26"/>
                  </a:solidFill>
                  <a:latin typeface="Calibri" panose="020F0502020204030204" pitchFamily="34" charset="0"/>
                  <a:cs typeface="Calibri" panose="020F0502020204030204" pitchFamily="34" charset="0"/>
                </a:endParaRPr>
              </a:p>
            </p:txBody>
          </p:sp>
          <p:sp>
            <p:nvSpPr>
              <p:cNvPr id="398" name="Vrije vorm: vorm 397">
                <a:extLst>
                  <a:ext uri="{FF2B5EF4-FFF2-40B4-BE49-F238E27FC236}">
                    <a16:creationId xmlns:a16="http://schemas.microsoft.com/office/drawing/2014/main" id="{751CF0D2-EC54-41E0-A7B6-697532AFBE3D}"/>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00" b="1" noProof="0">
                  <a:solidFill>
                    <a:srgbClr val="211F26"/>
                  </a:solidFill>
                  <a:latin typeface="Calibri" panose="020F0502020204030204" pitchFamily="34" charset="0"/>
                  <a:cs typeface="Calibri" panose="020F0502020204030204" pitchFamily="34" charset="0"/>
                </a:endParaRPr>
              </a:p>
            </p:txBody>
          </p:sp>
          <p:sp>
            <p:nvSpPr>
              <p:cNvPr id="399" name="Rechthoek: afgeronde hoeken 398">
                <a:extLst>
                  <a:ext uri="{FF2B5EF4-FFF2-40B4-BE49-F238E27FC236}">
                    <a16:creationId xmlns:a16="http://schemas.microsoft.com/office/drawing/2014/main" id="{0197D5C3-9478-4749-A4DF-526E1524F362}"/>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cxnSp>
            <p:nvCxnSpPr>
              <p:cNvPr id="400" name="Rechte verbindingslijn 399">
                <a:extLst>
                  <a:ext uri="{FF2B5EF4-FFF2-40B4-BE49-F238E27FC236}">
                    <a16:creationId xmlns:a16="http://schemas.microsoft.com/office/drawing/2014/main" id="{3DEA1A47-BFD6-42B1-9E3F-BC8C45FD9933}"/>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401" name="Rechte verbindingslijn 400">
                <a:extLst>
                  <a:ext uri="{FF2B5EF4-FFF2-40B4-BE49-F238E27FC236}">
                    <a16:creationId xmlns:a16="http://schemas.microsoft.com/office/drawing/2014/main" id="{56425161-6FD3-431A-AFDD-B3AAA652927D}"/>
                  </a:ext>
                </a:extLst>
              </p:cNvPr>
              <p:cNvCxnSpPr>
                <a:cxnSpLocks/>
                <a:stCxn id="399"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46" name="Ovaal 345">
              <a:extLst>
                <a:ext uri="{FF2B5EF4-FFF2-40B4-BE49-F238E27FC236}">
                  <a16:creationId xmlns:a16="http://schemas.microsoft.com/office/drawing/2014/main" id="{10753A6A-A9C2-4B82-A69D-5E43098C4D1A}"/>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347" name="Rechthoek 346">
              <a:extLst>
                <a:ext uri="{FF2B5EF4-FFF2-40B4-BE49-F238E27FC236}">
                  <a16:creationId xmlns:a16="http://schemas.microsoft.com/office/drawing/2014/main" id="{AF490F0A-B158-4ED3-9EE2-0B1E0E579849}"/>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348" name="Groep 347">
              <a:extLst>
                <a:ext uri="{FF2B5EF4-FFF2-40B4-BE49-F238E27FC236}">
                  <a16:creationId xmlns:a16="http://schemas.microsoft.com/office/drawing/2014/main" id="{5AF6088B-71CD-4F7B-8EA9-E873DB81AB04}"/>
                </a:ext>
              </a:extLst>
            </p:cNvPr>
            <p:cNvGrpSpPr/>
            <p:nvPr userDrawn="1"/>
          </p:nvGrpSpPr>
          <p:grpSpPr>
            <a:xfrm>
              <a:off x="-3311319" y="2164285"/>
              <a:ext cx="825500" cy="209550"/>
              <a:chOff x="13504624" y="2482850"/>
              <a:chExt cx="825500" cy="209550"/>
            </a:xfrm>
          </p:grpSpPr>
          <p:sp>
            <p:nvSpPr>
              <p:cNvPr id="393" name="Rechthoek 392">
                <a:extLst>
                  <a:ext uri="{FF2B5EF4-FFF2-40B4-BE49-F238E27FC236}">
                    <a16:creationId xmlns:a16="http://schemas.microsoft.com/office/drawing/2014/main" id="{67DEAAD3-CB09-49A6-9052-34C748036B1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Insert</a:t>
                </a:r>
              </a:p>
            </p:txBody>
          </p:sp>
          <p:cxnSp>
            <p:nvCxnSpPr>
              <p:cNvPr id="394" name="Rechte verbindingslijn 393">
                <a:extLst>
                  <a:ext uri="{FF2B5EF4-FFF2-40B4-BE49-F238E27FC236}">
                    <a16:creationId xmlns:a16="http://schemas.microsoft.com/office/drawing/2014/main" id="{4DCB2EB9-20B4-448F-B816-6284D171CE3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5" name="Gelijkbenige driehoek 394">
                <a:extLst>
                  <a:ext uri="{FF2B5EF4-FFF2-40B4-BE49-F238E27FC236}">
                    <a16:creationId xmlns:a16="http://schemas.microsoft.com/office/drawing/2014/main" id="{A794D1CC-4064-4510-A62E-2C02B96D3CEE}"/>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75" b="1" noProof="0">
                  <a:solidFill>
                    <a:srgbClr val="211F26"/>
                  </a:solidFill>
                  <a:latin typeface="Calibri" panose="020F0502020204030204" pitchFamily="34" charset="0"/>
                  <a:cs typeface="Calibri" panose="020F0502020204030204" pitchFamily="34" charset="0"/>
                </a:endParaRPr>
              </a:p>
            </p:txBody>
          </p:sp>
        </p:grpSp>
        <p:sp>
          <p:nvSpPr>
            <p:cNvPr id="349" name="Ovaal 348">
              <a:extLst>
                <a:ext uri="{FF2B5EF4-FFF2-40B4-BE49-F238E27FC236}">
                  <a16:creationId xmlns:a16="http://schemas.microsoft.com/office/drawing/2014/main" id="{377D71D9-901E-4B73-9A26-26E3F031BA2A}"/>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50" name="Rechthoek 349">
              <a:extLst>
                <a:ext uri="{FF2B5EF4-FFF2-40B4-BE49-F238E27FC236}">
                  <a16:creationId xmlns:a16="http://schemas.microsoft.com/office/drawing/2014/main" id="{D179726D-1928-4E0A-B8A2-1125EE1806EB}"/>
                </a:ext>
              </a:extLst>
            </p:cNvPr>
            <p:cNvSpPr/>
            <p:nvPr userDrawn="1"/>
          </p:nvSpPr>
          <p:spPr>
            <a:xfrm>
              <a:off x="-33194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351" name="Ovaal 350">
              <a:extLst>
                <a:ext uri="{FF2B5EF4-FFF2-40B4-BE49-F238E27FC236}">
                  <a16:creationId xmlns:a16="http://schemas.microsoft.com/office/drawing/2014/main" id="{FA573718-2BAA-4A36-8883-427E9A3285E2}"/>
                </a:ext>
              </a:extLst>
            </p:cNvPr>
            <p:cNvSpPr/>
            <p:nvPr userDrawn="1"/>
          </p:nvSpPr>
          <p:spPr>
            <a:xfrm>
              <a:off x="-3603587"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52" name="Rechthoek 351">
              <a:extLst>
                <a:ext uri="{FF2B5EF4-FFF2-40B4-BE49-F238E27FC236}">
                  <a16:creationId xmlns:a16="http://schemas.microsoft.com/office/drawing/2014/main" id="{A4D34876-C081-495D-90A9-54F4ED5FE6A6}"/>
                </a:ext>
              </a:extLst>
            </p:cNvPr>
            <p:cNvSpPr/>
            <p:nvPr userDrawn="1"/>
          </p:nvSpPr>
          <p:spPr>
            <a:xfrm>
              <a:off x="-3319415" y="4145790"/>
              <a:ext cx="2944682" cy="794700"/>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353" name="Groep 352">
              <a:extLst>
                <a:ext uri="{FF2B5EF4-FFF2-40B4-BE49-F238E27FC236}">
                  <a16:creationId xmlns:a16="http://schemas.microsoft.com/office/drawing/2014/main" id="{E4EB2E9C-A1B2-4307-B2E3-E618EC3B90A5}"/>
                </a:ext>
              </a:extLst>
            </p:cNvPr>
            <p:cNvGrpSpPr/>
            <p:nvPr userDrawn="1"/>
          </p:nvGrpSpPr>
          <p:grpSpPr>
            <a:xfrm>
              <a:off x="-3449237" y="5047414"/>
              <a:ext cx="622283" cy="612919"/>
              <a:chOff x="12617641" y="3403239"/>
              <a:chExt cx="752963" cy="741634"/>
            </a:xfrm>
          </p:grpSpPr>
          <p:grpSp>
            <p:nvGrpSpPr>
              <p:cNvPr id="377" name="Groep 376">
                <a:extLst>
                  <a:ext uri="{FF2B5EF4-FFF2-40B4-BE49-F238E27FC236}">
                    <a16:creationId xmlns:a16="http://schemas.microsoft.com/office/drawing/2014/main" id="{35FCE24F-9978-418D-957C-ABF69558D428}"/>
                  </a:ext>
                </a:extLst>
              </p:cNvPr>
              <p:cNvGrpSpPr/>
              <p:nvPr userDrawn="1"/>
            </p:nvGrpSpPr>
            <p:grpSpPr>
              <a:xfrm>
                <a:off x="12771550" y="3403239"/>
                <a:ext cx="467156" cy="448491"/>
                <a:chOff x="12782177" y="3403239"/>
                <a:chExt cx="467156" cy="448491"/>
              </a:xfrm>
            </p:grpSpPr>
            <p:grpSp>
              <p:nvGrpSpPr>
                <p:cNvPr id="380" name="Groep 379">
                  <a:extLst>
                    <a:ext uri="{FF2B5EF4-FFF2-40B4-BE49-F238E27FC236}">
                      <a16:creationId xmlns:a16="http://schemas.microsoft.com/office/drawing/2014/main" id="{8867AC98-44A9-4E8F-AB9B-B9BDBCDD9D49}"/>
                    </a:ext>
                  </a:extLst>
                </p:cNvPr>
                <p:cNvGrpSpPr/>
                <p:nvPr userDrawn="1"/>
              </p:nvGrpSpPr>
              <p:grpSpPr>
                <a:xfrm>
                  <a:off x="12782177" y="3403239"/>
                  <a:ext cx="412972" cy="396132"/>
                  <a:chOff x="13554906" y="3320109"/>
                  <a:chExt cx="443912" cy="425811"/>
                </a:xfrm>
              </p:grpSpPr>
              <p:grpSp>
                <p:nvGrpSpPr>
                  <p:cNvPr id="387" name="Groep 386">
                    <a:extLst>
                      <a:ext uri="{FF2B5EF4-FFF2-40B4-BE49-F238E27FC236}">
                        <a16:creationId xmlns:a16="http://schemas.microsoft.com/office/drawing/2014/main" id="{6A1BAB63-1A54-476A-B494-742E684495CC}"/>
                      </a:ext>
                    </a:extLst>
                  </p:cNvPr>
                  <p:cNvGrpSpPr/>
                  <p:nvPr userDrawn="1"/>
                </p:nvGrpSpPr>
                <p:grpSpPr>
                  <a:xfrm>
                    <a:off x="13554906" y="3320109"/>
                    <a:ext cx="443912" cy="425811"/>
                    <a:chOff x="12909684" y="1276143"/>
                    <a:chExt cx="443912" cy="425811"/>
                  </a:xfrm>
                </p:grpSpPr>
                <p:sp>
                  <p:nvSpPr>
                    <p:cNvPr id="390" name="Rechthoek 389">
                      <a:extLst>
                        <a:ext uri="{FF2B5EF4-FFF2-40B4-BE49-F238E27FC236}">
                          <a16:creationId xmlns:a16="http://schemas.microsoft.com/office/drawing/2014/main" id="{75CCD4D3-4295-4231-B922-7C573BB2B2B4}"/>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391" name="Rechthoek 390">
                      <a:extLst>
                        <a:ext uri="{FF2B5EF4-FFF2-40B4-BE49-F238E27FC236}">
                          <a16:creationId xmlns:a16="http://schemas.microsoft.com/office/drawing/2014/main" id="{8EB64BDC-4CD0-44DC-B4AC-8B0A91ED759A}"/>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392" name="Ovaal 391">
                      <a:extLst>
                        <a:ext uri="{FF2B5EF4-FFF2-40B4-BE49-F238E27FC236}">
                          <a16:creationId xmlns:a16="http://schemas.microsoft.com/office/drawing/2014/main" id="{99408DD2-8160-4F13-A398-5E1D5156832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pic>
                <p:nvPicPr>
                  <p:cNvPr id="388" name="Afbeelding 387">
                    <a:extLst>
                      <a:ext uri="{FF2B5EF4-FFF2-40B4-BE49-F238E27FC236}">
                        <a16:creationId xmlns:a16="http://schemas.microsoft.com/office/drawing/2014/main" id="{DFF12FC3-0A94-4C60-80B6-AA6051DD8362}"/>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389" name="Afbeelding 388">
                    <a:extLst>
                      <a:ext uri="{FF2B5EF4-FFF2-40B4-BE49-F238E27FC236}">
                        <a16:creationId xmlns:a16="http://schemas.microsoft.com/office/drawing/2014/main" id="{9F50BDC1-E98A-4F14-9841-999AF754BA65}"/>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381" name="Groep 380">
                  <a:extLst>
                    <a:ext uri="{FF2B5EF4-FFF2-40B4-BE49-F238E27FC236}">
                      <a16:creationId xmlns:a16="http://schemas.microsoft.com/office/drawing/2014/main" id="{5A7B1FC7-3814-4825-B065-22E69D740E1D}"/>
                    </a:ext>
                  </a:extLst>
                </p:cNvPr>
                <p:cNvGrpSpPr/>
                <p:nvPr userDrawn="1"/>
              </p:nvGrpSpPr>
              <p:grpSpPr>
                <a:xfrm>
                  <a:off x="13103513" y="3705268"/>
                  <a:ext cx="145820" cy="146462"/>
                  <a:chOff x="13096169" y="3602278"/>
                  <a:chExt cx="145820" cy="146462"/>
                </a:xfrm>
              </p:grpSpPr>
              <p:sp>
                <p:nvSpPr>
                  <p:cNvPr id="385" name="Rechthoek 384">
                    <a:extLst>
                      <a:ext uri="{FF2B5EF4-FFF2-40B4-BE49-F238E27FC236}">
                        <a16:creationId xmlns:a16="http://schemas.microsoft.com/office/drawing/2014/main" id="{C8A7541E-AC97-4EB2-B806-078D3E05FE8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86" name="Rechthoek 385">
                    <a:extLst>
                      <a:ext uri="{FF2B5EF4-FFF2-40B4-BE49-F238E27FC236}">
                        <a16:creationId xmlns:a16="http://schemas.microsoft.com/office/drawing/2014/main" id="{E4AE1692-B5E1-4E29-8EFB-C93400E0A67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382" name="Groep 381">
                  <a:extLst>
                    <a:ext uri="{FF2B5EF4-FFF2-40B4-BE49-F238E27FC236}">
                      <a16:creationId xmlns:a16="http://schemas.microsoft.com/office/drawing/2014/main" id="{B9248489-AFF7-495A-B40F-FE72DA6A197D}"/>
                    </a:ext>
                  </a:extLst>
                </p:cNvPr>
                <p:cNvGrpSpPr/>
                <p:nvPr userDrawn="1"/>
              </p:nvGrpSpPr>
              <p:grpSpPr>
                <a:xfrm rot="10800000">
                  <a:off x="13061402" y="3665637"/>
                  <a:ext cx="145820" cy="146462"/>
                  <a:chOff x="13096169" y="3602278"/>
                  <a:chExt cx="145820" cy="146462"/>
                </a:xfrm>
              </p:grpSpPr>
              <p:sp>
                <p:nvSpPr>
                  <p:cNvPr id="383" name="Rechthoek 382">
                    <a:extLst>
                      <a:ext uri="{FF2B5EF4-FFF2-40B4-BE49-F238E27FC236}">
                        <a16:creationId xmlns:a16="http://schemas.microsoft.com/office/drawing/2014/main" id="{187D72F9-D30C-4F84-817E-0FEAF5650A5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84" name="Rechthoek 383">
                    <a:extLst>
                      <a:ext uri="{FF2B5EF4-FFF2-40B4-BE49-F238E27FC236}">
                        <a16:creationId xmlns:a16="http://schemas.microsoft.com/office/drawing/2014/main" id="{2F35D917-796F-421E-908B-5D7857F8B80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sp>
            <p:nvSpPr>
              <p:cNvPr id="378" name="Rechthoek 377">
                <a:extLst>
                  <a:ext uri="{FF2B5EF4-FFF2-40B4-BE49-F238E27FC236}">
                    <a16:creationId xmlns:a16="http://schemas.microsoft.com/office/drawing/2014/main" id="{F04679EF-B1E7-4439-903E-28153EB9179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Crop</a:t>
                </a:r>
              </a:p>
            </p:txBody>
          </p:sp>
          <p:sp>
            <p:nvSpPr>
              <p:cNvPr id="379" name="Gelijkbenige driehoek 378">
                <a:extLst>
                  <a:ext uri="{FF2B5EF4-FFF2-40B4-BE49-F238E27FC236}">
                    <a16:creationId xmlns:a16="http://schemas.microsoft.com/office/drawing/2014/main" id="{0CCEABB5-7A9D-4123-9D66-2458F563771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354" name="Rechthoek 353">
              <a:extLst>
                <a:ext uri="{FF2B5EF4-FFF2-40B4-BE49-F238E27FC236}">
                  <a16:creationId xmlns:a16="http://schemas.microsoft.com/office/drawing/2014/main" id="{3630E2F7-B793-4F71-B3C9-AAA942D03003}"/>
                </a:ext>
              </a:extLst>
            </p:cNvPr>
            <p:cNvSpPr/>
            <p:nvPr userDrawn="1"/>
          </p:nvSpPr>
          <p:spPr>
            <a:xfrm>
              <a:off x="-331683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US" sz="750" b="0" i="1" noProof="0">
                <a:solidFill>
                  <a:srgbClr val="211F26"/>
                </a:solidFill>
                <a:latin typeface="Calibri" panose="020F0502020204030204" pitchFamily="34" charset="0"/>
                <a:cs typeface="Calibri" panose="020F0502020204030204" pitchFamily="34" charset="0"/>
              </a:endParaRPr>
            </a:p>
          </p:txBody>
        </p:sp>
        <p:grpSp>
          <p:nvGrpSpPr>
            <p:cNvPr id="355" name="Groep 354">
              <a:extLst>
                <a:ext uri="{FF2B5EF4-FFF2-40B4-BE49-F238E27FC236}">
                  <a16:creationId xmlns:a16="http://schemas.microsoft.com/office/drawing/2014/main" id="{2131DEAC-9DAD-4EA3-9299-66E66A5EEBE7}"/>
                </a:ext>
              </a:extLst>
            </p:cNvPr>
            <p:cNvGrpSpPr/>
            <p:nvPr userDrawn="1"/>
          </p:nvGrpSpPr>
          <p:grpSpPr>
            <a:xfrm>
              <a:off x="-2485819" y="3399207"/>
              <a:ext cx="1222990" cy="563933"/>
              <a:chOff x="-2485819" y="3399207"/>
              <a:chExt cx="1222990" cy="563933"/>
            </a:xfrm>
          </p:grpSpPr>
          <p:sp>
            <p:nvSpPr>
              <p:cNvPr id="356" name="Rechthoek 355">
                <a:extLst>
                  <a:ext uri="{FF2B5EF4-FFF2-40B4-BE49-F238E27FC236}">
                    <a16:creationId xmlns:a16="http://schemas.microsoft.com/office/drawing/2014/main" id="{90DAD38D-E47F-4CEA-B6B5-D5B17AC1B970}"/>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357" name="Rechthoek 356">
                <a:extLst>
                  <a:ext uri="{FF2B5EF4-FFF2-40B4-BE49-F238E27FC236}">
                    <a16:creationId xmlns:a16="http://schemas.microsoft.com/office/drawing/2014/main" id="{8A056DB3-44D1-4D9A-9C80-3FCDB589566A}"/>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358" name="Groep 357">
                <a:extLst>
                  <a:ext uri="{FF2B5EF4-FFF2-40B4-BE49-F238E27FC236}">
                    <a16:creationId xmlns:a16="http://schemas.microsoft.com/office/drawing/2014/main" id="{2FF534BE-F5D1-40E0-A26F-16BFD2DBDCD1}"/>
                  </a:ext>
                </a:extLst>
              </p:cNvPr>
              <p:cNvGrpSpPr/>
              <p:nvPr userDrawn="1"/>
            </p:nvGrpSpPr>
            <p:grpSpPr>
              <a:xfrm>
                <a:off x="-2403869" y="3460544"/>
                <a:ext cx="155951" cy="131922"/>
                <a:chOff x="12968836" y="3354170"/>
                <a:chExt cx="404806" cy="342433"/>
              </a:xfrm>
            </p:grpSpPr>
            <p:sp>
              <p:nvSpPr>
                <p:cNvPr id="371" name="Rechthoek: afgeronde hoeken 370">
                  <a:extLst>
                    <a:ext uri="{FF2B5EF4-FFF2-40B4-BE49-F238E27FC236}">
                      <a16:creationId xmlns:a16="http://schemas.microsoft.com/office/drawing/2014/main" id="{8B53F1D4-E687-4C0C-A395-6FAE49D14E4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372" name="Rechthoek 371">
                  <a:extLst>
                    <a:ext uri="{FF2B5EF4-FFF2-40B4-BE49-F238E27FC236}">
                      <a16:creationId xmlns:a16="http://schemas.microsoft.com/office/drawing/2014/main" id="{7FCC5BE5-44EB-4F94-A64B-0EED45A0DA1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73" name="Rechthoek 372">
                  <a:extLst>
                    <a:ext uri="{FF2B5EF4-FFF2-40B4-BE49-F238E27FC236}">
                      <a16:creationId xmlns:a16="http://schemas.microsoft.com/office/drawing/2014/main" id="{AAD2B904-3AAB-4DC1-87FC-ABB78DBAE13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74" name="Rechthoek 373">
                  <a:extLst>
                    <a:ext uri="{FF2B5EF4-FFF2-40B4-BE49-F238E27FC236}">
                      <a16:creationId xmlns:a16="http://schemas.microsoft.com/office/drawing/2014/main" id="{5D3E208E-050E-42B6-92DC-09F128EC683B}"/>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75" name="Rechthoek 374">
                  <a:extLst>
                    <a:ext uri="{FF2B5EF4-FFF2-40B4-BE49-F238E27FC236}">
                      <a16:creationId xmlns:a16="http://schemas.microsoft.com/office/drawing/2014/main" id="{FBC5822D-1135-42AD-954E-0C67A69CD4D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76" name="Rechthoek 375">
                  <a:extLst>
                    <a:ext uri="{FF2B5EF4-FFF2-40B4-BE49-F238E27FC236}">
                      <a16:creationId xmlns:a16="http://schemas.microsoft.com/office/drawing/2014/main" id="{6DC03C67-CC74-41C5-86EC-6C5966672CBE}"/>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359" name="Groep 358">
                <a:extLst>
                  <a:ext uri="{FF2B5EF4-FFF2-40B4-BE49-F238E27FC236}">
                    <a16:creationId xmlns:a16="http://schemas.microsoft.com/office/drawing/2014/main" id="{D5DA68F3-9879-41BB-93DD-C0216E70159B}"/>
                  </a:ext>
                </a:extLst>
              </p:cNvPr>
              <p:cNvGrpSpPr/>
              <p:nvPr userDrawn="1"/>
            </p:nvGrpSpPr>
            <p:grpSpPr>
              <a:xfrm>
                <a:off x="-2423424" y="3690208"/>
                <a:ext cx="166739" cy="218963"/>
                <a:chOff x="12940828" y="3950597"/>
                <a:chExt cx="432813" cy="568367"/>
              </a:xfrm>
            </p:grpSpPr>
            <p:grpSp>
              <p:nvGrpSpPr>
                <p:cNvPr id="363" name="Groep 362">
                  <a:extLst>
                    <a:ext uri="{FF2B5EF4-FFF2-40B4-BE49-F238E27FC236}">
                      <a16:creationId xmlns:a16="http://schemas.microsoft.com/office/drawing/2014/main" id="{1C066070-50E3-4E05-BD23-BD96526A69A9}"/>
                    </a:ext>
                  </a:extLst>
                </p:cNvPr>
                <p:cNvGrpSpPr/>
                <p:nvPr userDrawn="1"/>
              </p:nvGrpSpPr>
              <p:grpSpPr>
                <a:xfrm>
                  <a:off x="13000382" y="4006891"/>
                  <a:ext cx="373259" cy="315747"/>
                  <a:chOff x="12968836" y="3354170"/>
                  <a:chExt cx="404806" cy="342433"/>
                </a:xfrm>
              </p:grpSpPr>
              <p:sp>
                <p:nvSpPr>
                  <p:cNvPr id="365" name="Rechthoek: afgeronde hoeken 364">
                    <a:extLst>
                      <a:ext uri="{FF2B5EF4-FFF2-40B4-BE49-F238E27FC236}">
                        <a16:creationId xmlns:a16="http://schemas.microsoft.com/office/drawing/2014/main" id="{679D624F-F30B-4902-8EEF-6E6DCD32FEE6}"/>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366" name="Rechthoek 365">
                    <a:extLst>
                      <a:ext uri="{FF2B5EF4-FFF2-40B4-BE49-F238E27FC236}">
                        <a16:creationId xmlns:a16="http://schemas.microsoft.com/office/drawing/2014/main" id="{920BEB00-3436-4C3D-9F6D-38566487960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67" name="Rechthoek 366">
                    <a:extLst>
                      <a:ext uri="{FF2B5EF4-FFF2-40B4-BE49-F238E27FC236}">
                        <a16:creationId xmlns:a16="http://schemas.microsoft.com/office/drawing/2014/main" id="{121A9ECC-6EB3-4065-AFDC-E62230F7DD3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68" name="Rechthoek 367">
                    <a:extLst>
                      <a:ext uri="{FF2B5EF4-FFF2-40B4-BE49-F238E27FC236}">
                        <a16:creationId xmlns:a16="http://schemas.microsoft.com/office/drawing/2014/main" id="{2B715678-CA47-417C-A21B-06B6E1816F0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69" name="Rechthoek 368">
                    <a:extLst>
                      <a:ext uri="{FF2B5EF4-FFF2-40B4-BE49-F238E27FC236}">
                        <a16:creationId xmlns:a16="http://schemas.microsoft.com/office/drawing/2014/main" id="{26E67627-3C82-4D65-A68A-96B0868E4A7B}"/>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70" name="Rechthoek 369">
                    <a:extLst>
                      <a:ext uri="{FF2B5EF4-FFF2-40B4-BE49-F238E27FC236}">
                        <a16:creationId xmlns:a16="http://schemas.microsoft.com/office/drawing/2014/main" id="{E95C2F88-7FF0-40F3-AB6F-F248D71D8A6D}"/>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364" name="Boog 363">
                  <a:extLst>
                    <a:ext uri="{FF2B5EF4-FFF2-40B4-BE49-F238E27FC236}">
                      <a16:creationId xmlns:a16="http://schemas.microsoft.com/office/drawing/2014/main" id="{9D9085E2-00DB-4370-BA03-7FA5260F4ACF}"/>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sp>
            <p:nvSpPr>
              <p:cNvPr id="360" name="Tekstvak 359">
                <a:extLst>
                  <a:ext uri="{FF2B5EF4-FFF2-40B4-BE49-F238E27FC236}">
                    <a16:creationId xmlns:a16="http://schemas.microsoft.com/office/drawing/2014/main" id="{6DEAAE4D-FF2D-4557-A22D-30F138BDDAB0}"/>
                  </a:ext>
                </a:extLst>
              </p:cNvPr>
              <p:cNvSpPr txBox="1"/>
              <p:nvPr userDrawn="1"/>
            </p:nvSpPr>
            <p:spPr>
              <a:xfrm>
                <a:off x="-2245455" y="3460544"/>
                <a:ext cx="896116" cy="134709"/>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Layout</a:t>
                </a:r>
              </a:p>
            </p:txBody>
          </p:sp>
          <p:sp>
            <p:nvSpPr>
              <p:cNvPr id="361" name="Tekstvak 360">
                <a:extLst>
                  <a:ext uri="{FF2B5EF4-FFF2-40B4-BE49-F238E27FC236}">
                    <a16:creationId xmlns:a16="http://schemas.microsoft.com/office/drawing/2014/main" id="{9E6CC331-9BAF-4D9E-9CB2-305EF60EC4F6}"/>
                  </a:ext>
                </a:extLst>
              </p:cNvPr>
              <p:cNvSpPr txBox="1"/>
              <p:nvPr userDrawn="1"/>
            </p:nvSpPr>
            <p:spPr>
              <a:xfrm>
                <a:off x="-2258884" y="3712980"/>
                <a:ext cx="909545" cy="126416"/>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362" name="Vrije vorm: vorm 361">
                <a:extLst>
                  <a:ext uri="{FF2B5EF4-FFF2-40B4-BE49-F238E27FC236}">
                    <a16:creationId xmlns:a16="http://schemas.microsoft.com/office/drawing/2014/main" id="{D7E7A3AE-BCFC-48F7-9B57-FED51D3DB0E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450"/>
                  </a:spcBef>
                  <a:spcAft>
                    <a:spcPts val="450"/>
                  </a:spcAft>
                </a:pPr>
                <a:endParaRPr lang="en-US" sz="1200" cap="all" baseline="0" noProof="0">
                  <a:latin typeface="Calibri" panose="020F0502020204030204" pitchFamily="34" charset="0"/>
                  <a:cs typeface="Calibri" panose="020F0502020204030204" pitchFamily="34" charset="0"/>
                </a:endParaRPr>
              </a:p>
            </p:txBody>
          </p:sp>
        </p:grpSp>
      </p:grpSp>
      <p:sp>
        <p:nvSpPr>
          <p:cNvPr id="131" name="Tijdelijke aanduiding voor dianummer 5">
            <a:extLst>
              <a:ext uri="{FF2B5EF4-FFF2-40B4-BE49-F238E27FC236}">
                <a16:creationId xmlns:a16="http://schemas.microsoft.com/office/drawing/2014/main" id="{9F60FB02-6816-4C4D-A916-7F7F7BA819E6}"/>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132" name="INSTRUCTION">
            <a:extLst>
              <a:ext uri="{FF2B5EF4-FFF2-40B4-BE49-F238E27FC236}">
                <a16:creationId xmlns:a16="http://schemas.microsoft.com/office/drawing/2014/main" id="{37E4490D-0DDF-4336-B8A9-D00DA8D40F98}"/>
              </a:ext>
            </a:extLst>
          </p:cNvPr>
          <p:cNvGrpSpPr/>
          <p:nvPr userDrawn="1"/>
        </p:nvGrpSpPr>
        <p:grpSpPr>
          <a:xfrm>
            <a:off x="4384" y="5274908"/>
            <a:ext cx="2795966" cy="1183043"/>
            <a:chOff x="5846" y="7033211"/>
            <a:chExt cx="3727954" cy="1577390"/>
          </a:xfrm>
        </p:grpSpPr>
        <p:sp>
          <p:nvSpPr>
            <p:cNvPr id="133" name="Rechthoek 132">
              <a:extLst>
                <a:ext uri="{FF2B5EF4-FFF2-40B4-BE49-F238E27FC236}">
                  <a16:creationId xmlns:a16="http://schemas.microsoft.com/office/drawing/2014/main" id="{DEF1BAC3-CFBC-41EF-9D81-E5D60597BA72}"/>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134" name="Ovaal 133">
              <a:extLst>
                <a:ext uri="{FF2B5EF4-FFF2-40B4-BE49-F238E27FC236}">
                  <a16:creationId xmlns:a16="http://schemas.microsoft.com/office/drawing/2014/main" id="{D269A8EE-0139-472A-8513-7EB12EAFEEBB}"/>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5" name="Rechthoek 134">
              <a:extLst>
                <a:ext uri="{FF2B5EF4-FFF2-40B4-BE49-F238E27FC236}">
                  <a16:creationId xmlns:a16="http://schemas.microsoft.com/office/drawing/2014/main" id="{81C66FBC-1E76-43B7-A0C2-8CC745F57A1E}"/>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6" name="Ovaal 135">
              <a:extLst>
                <a:ext uri="{FF2B5EF4-FFF2-40B4-BE49-F238E27FC236}">
                  <a16:creationId xmlns:a16="http://schemas.microsoft.com/office/drawing/2014/main" id="{72A6903E-26A4-4445-998E-DEE3A1DB9EC2}"/>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9" name="Rechthoek 138">
              <a:extLst>
                <a:ext uri="{FF2B5EF4-FFF2-40B4-BE49-F238E27FC236}">
                  <a16:creationId xmlns:a16="http://schemas.microsoft.com/office/drawing/2014/main" id="{450AA49B-9453-4058-A457-AF5E7B612CAA}"/>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140" name="Groep 139">
              <a:extLst>
                <a:ext uri="{FF2B5EF4-FFF2-40B4-BE49-F238E27FC236}">
                  <a16:creationId xmlns:a16="http://schemas.microsoft.com/office/drawing/2014/main" id="{0D7913EC-AD5A-4D87-8D37-FE68C312363A}"/>
                </a:ext>
              </a:extLst>
            </p:cNvPr>
            <p:cNvGrpSpPr/>
            <p:nvPr userDrawn="1"/>
          </p:nvGrpSpPr>
          <p:grpSpPr>
            <a:xfrm>
              <a:off x="2939884" y="7739834"/>
              <a:ext cx="681133" cy="750023"/>
              <a:chOff x="-910573" y="4987990"/>
              <a:chExt cx="681133" cy="750023"/>
            </a:xfrm>
          </p:grpSpPr>
          <p:grpSp>
            <p:nvGrpSpPr>
              <p:cNvPr id="142" name="Groep 141">
                <a:extLst>
                  <a:ext uri="{FF2B5EF4-FFF2-40B4-BE49-F238E27FC236}">
                    <a16:creationId xmlns:a16="http://schemas.microsoft.com/office/drawing/2014/main" id="{8067F8B2-2F71-4E39-AE0F-135B6993D113}"/>
                  </a:ext>
                </a:extLst>
              </p:cNvPr>
              <p:cNvGrpSpPr/>
              <p:nvPr userDrawn="1"/>
            </p:nvGrpSpPr>
            <p:grpSpPr>
              <a:xfrm>
                <a:off x="-713542" y="4987990"/>
                <a:ext cx="287071" cy="379107"/>
                <a:chOff x="-4050578" y="288410"/>
                <a:chExt cx="322125" cy="379107"/>
              </a:xfrm>
            </p:grpSpPr>
            <p:sp>
              <p:nvSpPr>
                <p:cNvPr id="144" name="Rechthoek met één afgeknipte en afgeronde hoek 47">
                  <a:extLst>
                    <a:ext uri="{FF2B5EF4-FFF2-40B4-BE49-F238E27FC236}">
                      <a16:creationId xmlns:a16="http://schemas.microsoft.com/office/drawing/2014/main" id="{BA228719-53F6-4CB1-89B2-A4AA88BDCF0D}"/>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5" name="Rechthoekige driehoek 144">
                  <a:extLst>
                    <a:ext uri="{FF2B5EF4-FFF2-40B4-BE49-F238E27FC236}">
                      <a16:creationId xmlns:a16="http://schemas.microsoft.com/office/drawing/2014/main" id="{F7CE9C25-8481-4100-94E6-AB6EF528BA02}"/>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6" name="Rechthoek 145">
                  <a:extLst>
                    <a:ext uri="{FF2B5EF4-FFF2-40B4-BE49-F238E27FC236}">
                      <a16:creationId xmlns:a16="http://schemas.microsoft.com/office/drawing/2014/main" id="{93F5E436-5FE3-4221-851D-1F10F8C92085}"/>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7" name="Rechthoek 146">
                  <a:extLst>
                    <a:ext uri="{FF2B5EF4-FFF2-40B4-BE49-F238E27FC236}">
                      <a16:creationId xmlns:a16="http://schemas.microsoft.com/office/drawing/2014/main" id="{B2BB4D2A-8D43-4E2E-A4A4-EE25905E9C03}"/>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43" name="Rechthoek 142">
                <a:extLst>
                  <a:ext uri="{FF2B5EF4-FFF2-40B4-BE49-F238E27FC236}">
                    <a16:creationId xmlns:a16="http://schemas.microsoft.com/office/drawing/2014/main" id="{DAD4C742-504D-4CB6-8EAB-695CE2CF9FD3}"/>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98319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and Image left (M)">
    <p:spTree>
      <p:nvGrpSpPr>
        <p:cNvPr id="1" name=""/>
        <p:cNvGrpSpPr/>
        <p:nvPr/>
      </p:nvGrpSpPr>
      <p:grpSpPr>
        <a:xfrm>
          <a:off x="0" y="0"/>
          <a:ext cx="0" cy="0"/>
          <a:chOff x="0" y="0"/>
          <a:chExt cx="0" cy="0"/>
        </a:xfrm>
      </p:grpSpPr>
      <p:sp>
        <p:nvSpPr>
          <p:cNvPr id="158" name="Tijdelijke aanduiding voor afbeelding 157">
            <a:extLst>
              <a:ext uri="{FF2B5EF4-FFF2-40B4-BE49-F238E27FC236}">
                <a16:creationId xmlns:a16="http://schemas.microsoft.com/office/drawing/2014/main" id="{293EE9CA-425D-4063-B58F-2E9626A359CB}"/>
              </a:ext>
            </a:extLst>
          </p:cNvPr>
          <p:cNvSpPr>
            <a:spLocks noGrp="1"/>
          </p:cNvSpPr>
          <p:nvPr>
            <p:ph type="pic" sz="quarter" idx="14" hasCustomPrompt="1"/>
          </p:nvPr>
        </p:nvSpPr>
        <p:spPr>
          <a:xfrm>
            <a:off x="0" y="1075"/>
            <a:ext cx="4572000" cy="5142425"/>
          </a:xfrm>
          <a:custGeom>
            <a:avLst/>
            <a:gdLst>
              <a:gd name="connsiteX0" fmla="*/ 0 w 6096000"/>
              <a:gd name="connsiteY0" fmla="*/ 6852598 h 6856566"/>
              <a:gd name="connsiteX1" fmla="*/ 6096000 w 6096000"/>
              <a:gd name="connsiteY1" fmla="*/ 6854582 h 6856566"/>
              <a:gd name="connsiteX2" fmla="*/ 6096000 w 6096000"/>
              <a:gd name="connsiteY2" fmla="*/ 6856566 h 6856566"/>
              <a:gd name="connsiteX3" fmla="*/ 0 w 6096000"/>
              <a:gd name="connsiteY3" fmla="*/ 6856566 h 6856566"/>
              <a:gd name="connsiteX4" fmla="*/ 0 w 6096000"/>
              <a:gd name="connsiteY4" fmla="*/ 0 h 6856566"/>
              <a:gd name="connsiteX5" fmla="*/ 6096000 w 6096000"/>
              <a:gd name="connsiteY5" fmla="*/ 0 h 6856566"/>
              <a:gd name="connsiteX6" fmla="*/ 6096000 w 6096000"/>
              <a:gd name="connsiteY6" fmla="*/ 6006258 h 6856566"/>
              <a:gd name="connsiteX7" fmla="*/ 6053921 w 6096000"/>
              <a:gd name="connsiteY7" fmla="*/ 6006144 h 6856566"/>
              <a:gd name="connsiteX8" fmla="*/ 4895852 w 6096000"/>
              <a:gd name="connsiteY8" fmla="*/ 6001697 h 6856566"/>
              <a:gd name="connsiteX9" fmla="*/ 4635502 w 6096000"/>
              <a:gd name="connsiteY9" fmla="*/ 5982647 h 6856566"/>
              <a:gd name="connsiteX10" fmla="*/ 4302127 w 6096000"/>
              <a:gd name="connsiteY10" fmla="*/ 5919147 h 6856566"/>
              <a:gd name="connsiteX11" fmla="*/ 4064003 w 6096000"/>
              <a:gd name="connsiteY11" fmla="*/ 5935021 h 6856566"/>
              <a:gd name="connsiteX12" fmla="*/ 2962278 w 6096000"/>
              <a:gd name="connsiteY12" fmla="*/ 6144571 h 6856566"/>
              <a:gd name="connsiteX13" fmla="*/ 1603378 w 6096000"/>
              <a:gd name="connsiteY13" fmla="*/ 6036621 h 6856566"/>
              <a:gd name="connsiteX14" fmla="*/ 1349378 w 6096000"/>
              <a:gd name="connsiteY14" fmla="*/ 6036621 h 6856566"/>
              <a:gd name="connsiteX15" fmla="*/ 777878 w 6096000"/>
              <a:gd name="connsiteY15" fmla="*/ 6033446 h 6856566"/>
              <a:gd name="connsiteX16" fmla="*/ 257178 w 6096000"/>
              <a:gd name="connsiteY16" fmla="*/ 6033446 h 6856566"/>
              <a:gd name="connsiteX17" fmla="*/ 0 w 6096000"/>
              <a:gd name="connsiteY17" fmla="*/ 6027395 h 685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96000" h="6856566">
                <a:moveTo>
                  <a:pt x="0" y="6852598"/>
                </a:moveTo>
                <a:lnTo>
                  <a:pt x="6096000" y="6854582"/>
                </a:lnTo>
                <a:lnTo>
                  <a:pt x="6096000" y="6856566"/>
                </a:lnTo>
                <a:lnTo>
                  <a:pt x="0" y="6856566"/>
                </a:lnTo>
                <a:close/>
                <a:moveTo>
                  <a:pt x="0" y="0"/>
                </a:moveTo>
                <a:lnTo>
                  <a:pt x="6096000" y="0"/>
                </a:lnTo>
                <a:lnTo>
                  <a:pt x="6096000" y="6006258"/>
                </a:lnTo>
                <a:lnTo>
                  <a:pt x="6053921" y="6006144"/>
                </a:lnTo>
                <a:cubicBezTo>
                  <a:pt x="5367819" y="6004236"/>
                  <a:pt x="4906436" y="6002623"/>
                  <a:pt x="4895852" y="6001697"/>
                </a:cubicBezTo>
                <a:cubicBezTo>
                  <a:pt x="4895191" y="6002358"/>
                  <a:pt x="4691594" y="5992701"/>
                  <a:pt x="4635502" y="5982647"/>
                </a:cubicBezTo>
                <a:cubicBezTo>
                  <a:pt x="4634179" y="5981986"/>
                  <a:pt x="4342873" y="5917031"/>
                  <a:pt x="4302127" y="5919147"/>
                </a:cubicBezTo>
                <a:cubicBezTo>
                  <a:pt x="4302789" y="5918485"/>
                  <a:pt x="4247094" y="5900625"/>
                  <a:pt x="4064003" y="5935021"/>
                </a:cubicBezTo>
                <a:cubicBezTo>
                  <a:pt x="4065987" y="5936344"/>
                  <a:pt x="3021015" y="6142454"/>
                  <a:pt x="2962278" y="6144571"/>
                </a:cubicBezTo>
                <a:cubicBezTo>
                  <a:pt x="2166411" y="6203838"/>
                  <a:pt x="2056345" y="6072604"/>
                  <a:pt x="1603378" y="6036621"/>
                </a:cubicBezTo>
                <a:lnTo>
                  <a:pt x="1349378" y="6036621"/>
                </a:lnTo>
                <a:lnTo>
                  <a:pt x="777878" y="6033446"/>
                </a:lnTo>
                <a:lnTo>
                  <a:pt x="257178" y="6033446"/>
                </a:lnTo>
                <a:lnTo>
                  <a:pt x="0" y="6027395"/>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125" i="1">
                <a:solidFill>
                  <a:schemeClr val="tx1">
                    <a:lumMod val="50000"/>
                    <a:lumOff val="50000"/>
                  </a:schemeClr>
                </a:solidFill>
              </a:defRPr>
            </a:lvl1pPr>
          </a:lstStyle>
          <a:p>
            <a:r>
              <a:rPr lang="en-US"/>
              <a:t>Click the icon below </a:t>
            </a:r>
            <a:br>
              <a:rPr lang="en-US"/>
            </a:br>
            <a:r>
              <a:rPr lang="en-US"/>
              <a:t>to add an image.</a:t>
            </a:r>
          </a:p>
        </p:txBody>
      </p:sp>
      <p:sp>
        <p:nvSpPr>
          <p:cNvPr id="138" name="Tekstvak 137">
            <a:extLst>
              <a:ext uri="{FF2B5EF4-FFF2-40B4-BE49-F238E27FC236}">
                <a16:creationId xmlns:a16="http://schemas.microsoft.com/office/drawing/2014/main" id="{79F416B9-C541-4164-BC37-94C1197FF60A}"/>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Text and Image (M)</a:t>
            </a:r>
          </a:p>
        </p:txBody>
      </p:sp>
      <p:sp>
        <p:nvSpPr>
          <p:cNvPr id="141" name="Tijdelijke aanduiding voor verticale tekst 2">
            <a:extLst>
              <a:ext uri="{FF2B5EF4-FFF2-40B4-BE49-F238E27FC236}">
                <a16:creationId xmlns:a16="http://schemas.microsoft.com/office/drawing/2014/main" id="{2B403857-3154-4874-A485-1F673184EC55}"/>
              </a:ext>
            </a:extLst>
          </p:cNvPr>
          <p:cNvSpPr>
            <a:spLocks noGrp="1"/>
          </p:cNvSpPr>
          <p:nvPr>
            <p:ph type="body" orient="vert" idx="1" hasCustomPrompt="1"/>
          </p:nvPr>
        </p:nvSpPr>
        <p:spPr>
          <a:xfrm>
            <a:off x="4836023" y="1598846"/>
            <a:ext cx="3769155" cy="2669623"/>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Bullet</a:t>
            </a:r>
          </a:p>
          <a:p>
            <a:pPr lvl="1"/>
            <a:r>
              <a:rPr lang="en-US" noProof="0"/>
              <a:t>Sub-bullet</a:t>
            </a:r>
          </a:p>
          <a:p>
            <a:pPr lvl="2"/>
            <a:r>
              <a:rPr lang="en-US" noProof="0"/>
              <a:t>Default text</a:t>
            </a:r>
          </a:p>
          <a:p>
            <a:pPr lvl="3"/>
            <a:r>
              <a:rPr lang="en-US" noProof="0"/>
              <a:t>Subtitle</a:t>
            </a:r>
          </a:p>
          <a:p>
            <a:pPr lvl="4"/>
            <a:r>
              <a:rPr lang="en-US" noProof="0"/>
              <a:t>Numerical bullet</a:t>
            </a:r>
          </a:p>
          <a:p>
            <a:pPr lvl="5"/>
            <a:r>
              <a:rPr lang="en-US" noProof="0"/>
              <a:t>Bullet</a:t>
            </a:r>
          </a:p>
          <a:p>
            <a:pPr lvl="6"/>
            <a:r>
              <a:rPr lang="en-US" noProof="0"/>
              <a:t>Sub-bullet</a:t>
            </a:r>
          </a:p>
          <a:p>
            <a:pPr lvl="7"/>
            <a:r>
              <a:rPr lang="en-US" noProof="0"/>
              <a:t>Default text</a:t>
            </a:r>
          </a:p>
          <a:p>
            <a:pPr lvl="8"/>
            <a:r>
              <a:rPr lang="en-US" noProof="0"/>
              <a:t>Subtitle</a:t>
            </a:r>
          </a:p>
        </p:txBody>
      </p:sp>
      <p:sp>
        <p:nvSpPr>
          <p:cNvPr id="9" name="Titel 8">
            <a:extLst>
              <a:ext uri="{FF2B5EF4-FFF2-40B4-BE49-F238E27FC236}">
                <a16:creationId xmlns:a16="http://schemas.microsoft.com/office/drawing/2014/main" id="{673017D8-644B-40BF-A0FC-0C1839BE864D}"/>
              </a:ext>
            </a:extLst>
          </p:cNvPr>
          <p:cNvSpPr>
            <a:spLocks noGrp="1"/>
          </p:cNvSpPr>
          <p:nvPr>
            <p:ph type="title" hasCustomPrompt="1"/>
          </p:nvPr>
        </p:nvSpPr>
        <p:spPr>
          <a:xfrm>
            <a:off x="4836023" y="435769"/>
            <a:ext cx="3769155" cy="516848"/>
          </a:xfrm>
        </p:spPr>
        <p:txBody>
          <a:bodyPr/>
          <a:lstStyle/>
          <a:p>
            <a:r>
              <a:rPr lang="en-US" noProof="0"/>
              <a:t>Add a slide title, </a:t>
            </a:r>
            <a:br>
              <a:rPr lang="en-US" noProof="0"/>
            </a:br>
            <a:r>
              <a:rPr lang="en-US" noProof="0"/>
              <a:t>max.2 lines</a:t>
            </a:r>
            <a:endParaRPr lang="en-US"/>
          </a:p>
        </p:txBody>
      </p:sp>
      <p:grpSp>
        <p:nvGrpSpPr>
          <p:cNvPr id="12" name="Groep 11">
            <a:extLst>
              <a:ext uri="{FF2B5EF4-FFF2-40B4-BE49-F238E27FC236}">
                <a16:creationId xmlns:a16="http://schemas.microsoft.com/office/drawing/2014/main" id="{8A6E0D38-F0D2-4A5D-BEAD-A3A171CB5AE4}"/>
              </a:ext>
            </a:extLst>
          </p:cNvPr>
          <p:cNvGrpSpPr/>
          <p:nvPr userDrawn="1"/>
        </p:nvGrpSpPr>
        <p:grpSpPr>
          <a:xfrm>
            <a:off x="9285983" y="0"/>
            <a:ext cx="2694818" cy="3481004"/>
            <a:chOff x="-3786165" y="0"/>
            <a:chExt cx="3593091" cy="4641338"/>
          </a:xfrm>
        </p:grpSpPr>
        <p:sp>
          <p:nvSpPr>
            <p:cNvPr id="13" name="Rechthoek 12">
              <a:extLst>
                <a:ext uri="{FF2B5EF4-FFF2-40B4-BE49-F238E27FC236}">
                  <a16:creationId xmlns:a16="http://schemas.microsoft.com/office/drawing/2014/main" id="{2CDA0603-A5B3-4481-9FA5-801EFF118A5F}"/>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14" name="Ovaal 13">
              <a:extLst>
                <a:ext uri="{FF2B5EF4-FFF2-40B4-BE49-F238E27FC236}">
                  <a16:creationId xmlns:a16="http://schemas.microsoft.com/office/drawing/2014/main" id="{2C9F43D7-95E1-49E0-8C49-8C0E2DDC0C6F}"/>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 name="Rechthoek 14">
              <a:extLst>
                <a:ext uri="{FF2B5EF4-FFF2-40B4-BE49-F238E27FC236}">
                  <a16:creationId xmlns:a16="http://schemas.microsoft.com/office/drawing/2014/main" id="{509A27A8-2F10-4170-86D8-FFA27138D9E2}"/>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sp>
          <p:nvSpPr>
            <p:cNvPr id="16" name="Ovaal 15">
              <a:extLst>
                <a:ext uri="{FF2B5EF4-FFF2-40B4-BE49-F238E27FC236}">
                  <a16:creationId xmlns:a16="http://schemas.microsoft.com/office/drawing/2014/main" id="{AB93AE3F-DB53-4C4C-A81D-F59AAA6A2B06}"/>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 name="Rechthoek 16">
              <a:extLst>
                <a:ext uri="{FF2B5EF4-FFF2-40B4-BE49-F238E27FC236}">
                  <a16:creationId xmlns:a16="http://schemas.microsoft.com/office/drawing/2014/main" id="{803B12A8-0FAE-4D83-8F81-B883652D9506}"/>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8" name="Rechthoek 17">
              <a:extLst>
                <a:ext uri="{FF2B5EF4-FFF2-40B4-BE49-F238E27FC236}">
                  <a16:creationId xmlns:a16="http://schemas.microsoft.com/office/drawing/2014/main" id="{31425456-0CF9-4D4D-9C66-65EBBB29ECC6}"/>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19" name="Ovaal 18">
              <a:extLst>
                <a:ext uri="{FF2B5EF4-FFF2-40B4-BE49-F238E27FC236}">
                  <a16:creationId xmlns:a16="http://schemas.microsoft.com/office/drawing/2014/main" id="{C3289E5B-33DD-40C7-9261-610D293EF78D}"/>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0" name="Rechthoek 19">
              <a:extLst>
                <a:ext uri="{FF2B5EF4-FFF2-40B4-BE49-F238E27FC236}">
                  <a16:creationId xmlns:a16="http://schemas.microsoft.com/office/drawing/2014/main" id="{91BA38DB-FDFC-408B-8B6F-0DF2D75E652E}"/>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21" name="Ovaal 20">
              <a:extLst>
                <a:ext uri="{FF2B5EF4-FFF2-40B4-BE49-F238E27FC236}">
                  <a16:creationId xmlns:a16="http://schemas.microsoft.com/office/drawing/2014/main" id="{E9936333-8FB1-4251-9224-E472EF53A243}"/>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2" name="Rechthoek 21">
              <a:extLst>
                <a:ext uri="{FF2B5EF4-FFF2-40B4-BE49-F238E27FC236}">
                  <a16:creationId xmlns:a16="http://schemas.microsoft.com/office/drawing/2014/main" id="{C19EC892-F94D-4485-AB8A-08B546643BE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chemeClr val="accent1"/>
                </a:buClr>
                <a:buSzTx/>
                <a:buFont typeface="Arial" panose="020B0604020202020204" pitchFamily="34" charset="0"/>
                <a:buNone/>
                <a:tabLst/>
                <a:defRPr/>
              </a:pPr>
              <a:r>
                <a:rPr lang="en-US" sz="1200" b="1" kern="1200" cap="none" spc="23" baseline="0" noProof="0">
                  <a:solidFill>
                    <a:schemeClr val="tx2">
                      <a:lumMod val="50000"/>
                    </a:schemeClr>
                  </a:solidFill>
                  <a:latin typeface="+mj-lt"/>
                  <a:ea typeface="+mn-ea"/>
                  <a:cs typeface="Calibri" panose="020F0502020204030204" pitchFamily="34" charset="0"/>
                </a:rPr>
                <a:t>Subtitle</a:t>
              </a:r>
            </a:p>
          </p:txBody>
        </p:sp>
        <p:sp>
          <p:nvSpPr>
            <p:cNvPr id="23" name="Ovaal 22">
              <a:extLst>
                <a:ext uri="{FF2B5EF4-FFF2-40B4-BE49-F238E27FC236}">
                  <a16:creationId xmlns:a16="http://schemas.microsoft.com/office/drawing/2014/main" id="{7635F592-83EE-4117-BC10-12681D0223D8}"/>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4" name="Rechthoek 23">
              <a:extLst>
                <a:ext uri="{FF2B5EF4-FFF2-40B4-BE49-F238E27FC236}">
                  <a16:creationId xmlns:a16="http://schemas.microsoft.com/office/drawing/2014/main" id="{FBEC4154-804E-42E5-B157-81166C9A386B}"/>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03597" marR="0" lvl="4" indent="-203597" algn="l" defTabSz="539354" rtl="0" eaLnBrk="1" fontAlgn="auto" latinLnBrk="0" hangingPunct="1">
                <a:lnSpc>
                  <a:spcPct val="100000"/>
                </a:lnSpc>
                <a:spcBef>
                  <a:spcPts val="225"/>
                </a:spcBef>
                <a:spcAft>
                  <a:spcPts val="450"/>
                </a:spcAft>
                <a:buClr>
                  <a:srgbClr val="3F3F3F"/>
                </a:buClr>
                <a:buSzTx/>
                <a:buFont typeface="+mj-lt"/>
                <a:buAutoNum type="arabicPeriod"/>
                <a:tabLst/>
                <a:defRPr/>
              </a:pPr>
              <a:r>
                <a:rPr kumimoji="0" lang="en-US" sz="900" b="0" i="0" u="none" strike="noStrike" kern="1200" cap="none" spc="0" normalizeH="0" baseline="0" noProof="0">
                  <a:ln>
                    <a:noFill/>
                  </a:ln>
                  <a:solidFill>
                    <a:schemeClr val="tx2">
                      <a:lumMod val="50000"/>
                    </a:schemeClr>
                  </a:solidFill>
                  <a:effectLst/>
                  <a:uLnTx/>
                  <a:uFillTx/>
                  <a:latin typeface="+mn-lt"/>
                  <a:ea typeface="+mn-ea"/>
                  <a:cs typeface="+mn-cs"/>
                </a:rPr>
                <a:t>Numerical bullet</a:t>
              </a:r>
            </a:p>
          </p:txBody>
        </p:sp>
        <p:sp>
          <p:nvSpPr>
            <p:cNvPr id="25" name="Ovaal 24">
              <a:extLst>
                <a:ext uri="{FF2B5EF4-FFF2-40B4-BE49-F238E27FC236}">
                  <a16:creationId xmlns:a16="http://schemas.microsoft.com/office/drawing/2014/main" id="{F78BCB5C-BC6C-4CC9-B6FA-F271B0A17EE2}"/>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 name="Rechthoek 25">
              <a:extLst>
                <a:ext uri="{FF2B5EF4-FFF2-40B4-BE49-F238E27FC236}">
                  <a16:creationId xmlns:a16="http://schemas.microsoft.com/office/drawing/2014/main" id="{5DF97DA8-4209-4EEA-8A99-19D2143ACBF0}"/>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27" name="Ovaal 26">
              <a:extLst>
                <a:ext uri="{FF2B5EF4-FFF2-40B4-BE49-F238E27FC236}">
                  <a16:creationId xmlns:a16="http://schemas.microsoft.com/office/drawing/2014/main" id="{465913F6-38FC-4D4F-A81E-F1CB9E854EF1}"/>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8" name="Rechthoek 27">
              <a:extLst>
                <a:ext uri="{FF2B5EF4-FFF2-40B4-BE49-F238E27FC236}">
                  <a16:creationId xmlns:a16="http://schemas.microsoft.com/office/drawing/2014/main" id="{E55632AC-C267-4359-9525-1D750ADF1E17}"/>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29" name="Ovaal 28">
              <a:extLst>
                <a:ext uri="{FF2B5EF4-FFF2-40B4-BE49-F238E27FC236}">
                  <a16:creationId xmlns:a16="http://schemas.microsoft.com/office/drawing/2014/main" id="{880AB2C5-4B19-4941-B7FE-DE7D80B4D67F}"/>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0" name="Rechthoek 29">
              <a:extLst>
                <a:ext uri="{FF2B5EF4-FFF2-40B4-BE49-F238E27FC236}">
                  <a16:creationId xmlns:a16="http://schemas.microsoft.com/office/drawing/2014/main" id="{42397795-6A72-4553-B310-2A05AC6CC9F9}"/>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rgbClr val="04A64B"/>
                </a:buClr>
                <a:buSzTx/>
                <a:buFont typeface="Arial" panose="020B0604020202020204" pitchFamily="34" charset="0"/>
                <a:buNone/>
                <a:tabLst/>
                <a:defRPr/>
              </a:pPr>
              <a:r>
                <a:rPr kumimoji="0" lang="en-US" sz="1200" b="1" i="0" u="none" strike="noStrike" kern="1200" cap="none" spc="23" normalizeH="0" baseline="0" noProof="0">
                  <a:ln>
                    <a:noFill/>
                  </a:ln>
                  <a:solidFill>
                    <a:srgbClr val="3F3F3F">
                      <a:lumMod val="50000"/>
                    </a:srgbClr>
                  </a:solidFill>
                  <a:effectLst/>
                  <a:uLnTx/>
                  <a:uFillTx/>
                  <a:latin typeface="+mn-lt"/>
                  <a:ea typeface="+mn-ea"/>
                  <a:cs typeface="Calibri" panose="020F0502020204030204" pitchFamily="34" charset="0"/>
                </a:rPr>
                <a:t>Subtitle</a:t>
              </a:r>
            </a:p>
          </p:txBody>
        </p:sp>
        <p:sp>
          <p:nvSpPr>
            <p:cNvPr id="31" name="Ovaal 30">
              <a:extLst>
                <a:ext uri="{FF2B5EF4-FFF2-40B4-BE49-F238E27FC236}">
                  <a16:creationId xmlns:a16="http://schemas.microsoft.com/office/drawing/2014/main" id="{B6E6EA43-1AF7-444B-B9A0-F415D364C79B}"/>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2" name="Rechthoek 31">
              <a:extLst>
                <a:ext uri="{FF2B5EF4-FFF2-40B4-BE49-F238E27FC236}">
                  <a16:creationId xmlns:a16="http://schemas.microsoft.com/office/drawing/2014/main" id="{C1904327-23EC-4BAB-8597-7C13F396045C}"/>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grpSp>
          <p:nvGrpSpPr>
            <p:cNvPr id="33" name="VOORBEELD">
              <a:extLst>
                <a:ext uri="{FF2B5EF4-FFF2-40B4-BE49-F238E27FC236}">
                  <a16:creationId xmlns:a16="http://schemas.microsoft.com/office/drawing/2014/main" id="{F2DD8086-1943-4B13-A74E-7F5418E1BE57}"/>
                </a:ext>
              </a:extLst>
            </p:cNvPr>
            <p:cNvGrpSpPr/>
            <p:nvPr userDrawn="1"/>
          </p:nvGrpSpPr>
          <p:grpSpPr>
            <a:xfrm>
              <a:off x="-3605171" y="458674"/>
              <a:ext cx="3234311" cy="558875"/>
              <a:chOff x="-3605171" y="458674"/>
              <a:chExt cx="3234311" cy="558875"/>
            </a:xfrm>
          </p:grpSpPr>
          <p:sp>
            <p:nvSpPr>
              <p:cNvPr id="34" name="Rechthoek 33">
                <a:extLst>
                  <a:ext uri="{FF2B5EF4-FFF2-40B4-BE49-F238E27FC236}">
                    <a16:creationId xmlns:a16="http://schemas.microsoft.com/office/drawing/2014/main" id="{E426A399-D53D-43EE-A68A-BF2BC5BA3289}"/>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675" b="1" noProof="0">
                    <a:solidFill>
                      <a:srgbClr val="211F26"/>
                    </a:solidFill>
                    <a:latin typeface="Calibri" panose="020F0502020204030204" pitchFamily="34" charset="0"/>
                    <a:cs typeface="Calibri" panose="020F0502020204030204" pitchFamily="34" charset="0"/>
                  </a:rPr>
                  <a:t>Home</a:t>
                </a:r>
              </a:p>
            </p:txBody>
          </p:sp>
          <p:sp>
            <p:nvSpPr>
              <p:cNvPr id="35" name="Rechthoek 34">
                <a:extLst>
                  <a:ext uri="{FF2B5EF4-FFF2-40B4-BE49-F238E27FC236}">
                    <a16:creationId xmlns:a16="http://schemas.microsoft.com/office/drawing/2014/main" id="{2B494499-2745-4439-BC47-C44FB54FCA2F}"/>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36" name="Groep 35">
                <a:extLst>
                  <a:ext uri="{FF2B5EF4-FFF2-40B4-BE49-F238E27FC236}">
                    <a16:creationId xmlns:a16="http://schemas.microsoft.com/office/drawing/2014/main" id="{1DA93B56-D417-4FD9-86C7-2DE0E479E585}"/>
                  </a:ext>
                </a:extLst>
              </p:cNvPr>
              <p:cNvGrpSpPr/>
              <p:nvPr userDrawn="1"/>
            </p:nvGrpSpPr>
            <p:grpSpPr>
              <a:xfrm>
                <a:off x="-3386247" y="830871"/>
                <a:ext cx="139423" cy="109566"/>
                <a:chOff x="-2866744" y="827071"/>
                <a:chExt cx="168701" cy="132575"/>
              </a:xfrm>
            </p:grpSpPr>
            <p:grpSp>
              <p:nvGrpSpPr>
                <p:cNvPr id="67" name="Groep 66">
                  <a:extLst>
                    <a:ext uri="{FF2B5EF4-FFF2-40B4-BE49-F238E27FC236}">
                      <a16:creationId xmlns:a16="http://schemas.microsoft.com/office/drawing/2014/main" id="{7FCB40EB-A404-4E37-BAF4-253179BB32A8}"/>
                    </a:ext>
                  </a:extLst>
                </p:cNvPr>
                <p:cNvGrpSpPr/>
                <p:nvPr userDrawn="1"/>
              </p:nvGrpSpPr>
              <p:grpSpPr>
                <a:xfrm>
                  <a:off x="-2866744" y="827071"/>
                  <a:ext cx="168701" cy="132575"/>
                  <a:chOff x="-2866744" y="827071"/>
                  <a:chExt cx="168701" cy="132575"/>
                </a:xfrm>
              </p:grpSpPr>
              <p:cxnSp>
                <p:nvCxnSpPr>
                  <p:cNvPr id="69" name="Rechte verbindingslijn 68">
                    <a:extLst>
                      <a:ext uri="{FF2B5EF4-FFF2-40B4-BE49-F238E27FC236}">
                        <a16:creationId xmlns:a16="http://schemas.microsoft.com/office/drawing/2014/main" id="{68A1271C-B36C-48D2-A0D5-8AF5C4C09510}"/>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E043D5DB-F3B8-4C32-A693-7211CFAAE253}"/>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4A1BA3DC-2A9E-46A9-BEE3-53B1E2203F97}"/>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212B20DD-F4FB-4CA6-95C6-3DE9C78EFF1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62702FDB-E0D8-4139-BF7B-03494967C61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FF9F11D8-2075-4202-A8A6-8ACE86DF8B63}"/>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37" name="Groep 36">
                <a:extLst>
                  <a:ext uri="{FF2B5EF4-FFF2-40B4-BE49-F238E27FC236}">
                    <a16:creationId xmlns:a16="http://schemas.microsoft.com/office/drawing/2014/main" id="{530105DA-37A1-431C-A9A2-18D128ACFC4A}"/>
                  </a:ext>
                </a:extLst>
              </p:cNvPr>
              <p:cNvGrpSpPr/>
              <p:nvPr userDrawn="1"/>
            </p:nvGrpSpPr>
            <p:grpSpPr>
              <a:xfrm>
                <a:off x="-3605171" y="830871"/>
                <a:ext cx="139423" cy="109566"/>
                <a:chOff x="-2866744" y="518074"/>
                <a:chExt cx="168701" cy="132575"/>
              </a:xfrm>
            </p:grpSpPr>
            <p:grpSp>
              <p:nvGrpSpPr>
                <p:cNvPr id="60" name="Groep 59">
                  <a:extLst>
                    <a:ext uri="{FF2B5EF4-FFF2-40B4-BE49-F238E27FC236}">
                      <a16:creationId xmlns:a16="http://schemas.microsoft.com/office/drawing/2014/main" id="{EE2F059A-30C9-4350-B809-324B8DC8674D}"/>
                    </a:ext>
                  </a:extLst>
                </p:cNvPr>
                <p:cNvGrpSpPr/>
                <p:nvPr userDrawn="1"/>
              </p:nvGrpSpPr>
              <p:grpSpPr>
                <a:xfrm>
                  <a:off x="-2866744" y="518074"/>
                  <a:ext cx="168701" cy="132575"/>
                  <a:chOff x="-2866744" y="518074"/>
                  <a:chExt cx="168701" cy="132575"/>
                </a:xfrm>
              </p:grpSpPr>
              <p:cxnSp>
                <p:nvCxnSpPr>
                  <p:cNvPr id="62" name="Rechte verbindingslijn 61">
                    <a:extLst>
                      <a:ext uri="{FF2B5EF4-FFF2-40B4-BE49-F238E27FC236}">
                        <a16:creationId xmlns:a16="http://schemas.microsoft.com/office/drawing/2014/main" id="{24B1CF9C-FF3F-44A7-B970-3842A7FE230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62420F4E-99C3-4ED8-8A87-A60D0D4FF19E}"/>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8297FA4B-7D58-41AF-9BAC-B2A77D9B13BD}"/>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0B82845B-4831-4B08-A313-199BFAA60D14}"/>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9BEA5624-B2F0-4ADC-A557-85A2BBEBB2B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E1BAB805-E517-4123-90D8-C965A62F7DE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cxnSp>
            <p:nvCxnSpPr>
              <p:cNvPr id="38" name="Rechte verbindingslijn 37">
                <a:extLst>
                  <a:ext uri="{FF2B5EF4-FFF2-40B4-BE49-F238E27FC236}">
                    <a16:creationId xmlns:a16="http://schemas.microsoft.com/office/drawing/2014/main" id="{A7E5FCB2-ADF7-45B5-A2E8-5C5561AC039F}"/>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39" name="Rechte verbindingslijn 38">
                <a:extLst>
                  <a:ext uri="{FF2B5EF4-FFF2-40B4-BE49-F238E27FC236}">
                    <a16:creationId xmlns:a16="http://schemas.microsoft.com/office/drawing/2014/main" id="{C02EDC3E-4953-4B58-B23E-EF4F4F465852}"/>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0" name="Rechthoek 39">
                <a:extLst>
                  <a:ext uri="{FF2B5EF4-FFF2-40B4-BE49-F238E27FC236}">
                    <a16:creationId xmlns:a16="http://schemas.microsoft.com/office/drawing/2014/main" id="{401B94FD-EE3B-4FCC-841E-4A363ACDB9C3}"/>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41" name="Rechthoek 40">
                <a:extLst>
                  <a:ext uri="{FF2B5EF4-FFF2-40B4-BE49-F238E27FC236}">
                    <a16:creationId xmlns:a16="http://schemas.microsoft.com/office/drawing/2014/main" id="{47215249-236C-4CED-AC82-C7F73486FAB3}"/>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42" name="Groep 41">
                <a:extLst>
                  <a:ext uri="{FF2B5EF4-FFF2-40B4-BE49-F238E27FC236}">
                    <a16:creationId xmlns:a16="http://schemas.microsoft.com/office/drawing/2014/main" id="{3621772D-3E98-4643-AAD9-8774F5772099}"/>
                  </a:ext>
                </a:extLst>
              </p:cNvPr>
              <p:cNvGrpSpPr/>
              <p:nvPr userDrawn="1"/>
            </p:nvGrpSpPr>
            <p:grpSpPr>
              <a:xfrm>
                <a:off x="-2916763" y="769168"/>
                <a:ext cx="268738" cy="248381"/>
                <a:chOff x="-2916763" y="769168"/>
                <a:chExt cx="268738" cy="248381"/>
              </a:xfrm>
            </p:grpSpPr>
            <p:sp>
              <p:nvSpPr>
                <p:cNvPr id="52" name="Rechthoek 51">
                  <a:extLst>
                    <a:ext uri="{FF2B5EF4-FFF2-40B4-BE49-F238E27FC236}">
                      <a16:creationId xmlns:a16="http://schemas.microsoft.com/office/drawing/2014/main" id="{2ED37AC7-1A56-4B69-98C0-D6C09B257465}"/>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53" name="Groep 52">
                  <a:extLst>
                    <a:ext uri="{FF2B5EF4-FFF2-40B4-BE49-F238E27FC236}">
                      <a16:creationId xmlns:a16="http://schemas.microsoft.com/office/drawing/2014/main" id="{E32D9B1B-2757-4CE6-AE30-CD398966C665}"/>
                    </a:ext>
                  </a:extLst>
                </p:cNvPr>
                <p:cNvGrpSpPr/>
                <p:nvPr userDrawn="1"/>
              </p:nvGrpSpPr>
              <p:grpSpPr>
                <a:xfrm>
                  <a:off x="-2866744" y="827071"/>
                  <a:ext cx="168701" cy="132575"/>
                  <a:chOff x="-2866744" y="827071"/>
                  <a:chExt cx="168701" cy="132575"/>
                </a:xfrm>
              </p:grpSpPr>
              <p:cxnSp>
                <p:nvCxnSpPr>
                  <p:cNvPr id="55" name="Rechte verbindingslijn 54">
                    <a:extLst>
                      <a:ext uri="{FF2B5EF4-FFF2-40B4-BE49-F238E27FC236}">
                        <a16:creationId xmlns:a16="http://schemas.microsoft.com/office/drawing/2014/main" id="{F0AA0B98-740E-4EBB-8B5F-D19F3CD1D4D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133E3F92-9359-4F47-B910-0D421279AE2B}"/>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7506CD7F-536D-4A82-A474-C703AE607A3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5CD2B0C8-AFF8-4783-A848-7A86D04BCA4C}"/>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DE2A29FD-BC00-44E3-8858-B050370FC33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4" name="Pijl: rechts 53">
                  <a:extLst>
                    <a:ext uri="{FF2B5EF4-FFF2-40B4-BE49-F238E27FC236}">
                      <a16:creationId xmlns:a16="http://schemas.microsoft.com/office/drawing/2014/main" id="{13DD5A06-3019-47CF-AEE2-3D7043832139}"/>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0E653B22-7F78-44A6-AE3A-6F95C878F30B}"/>
                  </a:ext>
                </a:extLst>
              </p:cNvPr>
              <p:cNvGrpSpPr/>
              <p:nvPr userDrawn="1"/>
            </p:nvGrpSpPr>
            <p:grpSpPr>
              <a:xfrm>
                <a:off x="-2916763" y="460171"/>
                <a:ext cx="268738" cy="248381"/>
                <a:chOff x="-2916763" y="460171"/>
                <a:chExt cx="268738" cy="248381"/>
              </a:xfrm>
            </p:grpSpPr>
            <p:sp>
              <p:nvSpPr>
                <p:cNvPr id="44" name="Rechthoek 43">
                  <a:extLst>
                    <a:ext uri="{FF2B5EF4-FFF2-40B4-BE49-F238E27FC236}">
                      <a16:creationId xmlns:a16="http://schemas.microsoft.com/office/drawing/2014/main" id="{25C0036F-351C-4EFF-BF43-5ED1223E011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45" name="Groep 44">
                  <a:extLst>
                    <a:ext uri="{FF2B5EF4-FFF2-40B4-BE49-F238E27FC236}">
                      <a16:creationId xmlns:a16="http://schemas.microsoft.com/office/drawing/2014/main" id="{77A77599-6678-4ABC-8CE5-10C7E2115108}"/>
                    </a:ext>
                  </a:extLst>
                </p:cNvPr>
                <p:cNvGrpSpPr/>
                <p:nvPr userDrawn="1"/>
              </p:nvGrpSpPr>
              <p:grpSpPr>
                <a:xfrm>
                  <a:off x="-2866744" y="518074"/>
                  <a:ext cx="168701" cy="132575"/>
                  <a:chOff x="-2866744" y="518074"/>
                  <a:chExt cx="168701" cy="132575"/>
                </a:xfrm>
              </p:grpSpPr>
              <p:cxnSp>
                <p:nvCxnSpPr>
                  <p:cNvPr id="47" name="Rechte verbindingslijn 46">
                    <a:extLst>
                      <a:ext uri="{FF2B5EF4-FFF2-40B4-BE49-F238E27FC236}">
                        <a16:creationId xmlns:a16="http://schemas.microsoft.com/office/drawing/2014/main" id="{421A2225-F54C-4BCE-9691-945D8AD247B1}"/>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48" name="Rechte verbindingslijn 47">
                    <a:extLst>
                      <a:ext uri="{FF2B5EF4-FFF2-40B4-BE49-F238E27FC236}">
                        <a16:creationId xmlns:a16="http://schemas.microsoft.com/office/drawing/2014/main" id="{7BC9770B-E56A-4B22-99F4-B6D85B71809F}"/>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49" name="Rechte verbindingslijn 48">
                    <a:extLst>
                      <a:ext uri="{FF2B5EF4-FFF2-40B4-BE49-F238E27FC236}">
                        <a16:creationId xmlns:a16="http://schemas.microsoft.com/office/drawing/2014/main" id="{4E562D26-EDDC-4CEB-97F1-817F6B58151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0" name="Rechte verbindingslijn 49">
                    <a:extLst>
                      <a:ext uri="{FF2B5EF4-FFF2-40B4-BE49-F238E27FC236}">
                        <a16:creationId xmlns:a16="http://schemas.microsoft.com/office/drawing/2014/main" id="{4C09D568-7347-4988-AF2A-D009231989D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24BC7B8A-788C-434C-A60E-4E2BDCBE3FD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6" name="Pijl: rechts 45">
                  <a:extLst>
                    <a:ext uri="{FF2B5EF4-FFF2-40B4-BE49-F238E27FC236}">
                      <a16:creationId xmlns:a16="http://schemas.microsoft.com/office/drawing/2014/main" id="{D81F04D4-F535-44E4-B20D-16FF0803088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grpSp>
      <p:grpSp>
        <p:nvGrpSpPr>
          <p:cNvPr id="76" name="INSTRUCTION">
            <a:extLst>
              <a:ext uri="{FF2B5EF4-FFF2-40B4-BE49-F238E27FC236}">
                <a16:creationId xmlns:a16="http://schemas.microsoft.com/office/drawing/2014/main" id="{1652B95C-563F-45BF-A098-03138F1CC05A}"/>
              </a:ext>
            </a:extLst>
          </p:cNvPr>
          <p:cNvGrpSpPr/>
          <p:nvPr userDrawn="1"/>
        </p:nvGrpSpPr>
        <p:grpSpPr>
          <a:xfrm>
            <a:off x="-2839623" y="0"/>
            <a:ext cx="2694818" cy="4452582"/>
            <a:chOff x="-3786165" y="0"/>
            <a:chExt cx="3593091" cy="5936776"/>
          </a:xfrm>
        </p:grpSpPr>
        <p:sp>
          <p:nvSpPr>
            <p:cNvPr id="77" name="Rechthoek 76">
              <a:extLst>
                <a:ext uri="{FF2B5EF4-FFF2-40B4-BE49-F238E27FC236}">
                  <a16:creationId xmlns:a16="http://schemas.microsoft.com/office/drawing/2014/main" id="{16334C26-3837-4780-BAE0-45F97688BE26}"/>
                </a:ext>
              </a:extLst>
            </p:cNvPr>
            <p:cNvSpPr/>
            <p:nvPr userDrawn="1"/>
          </p:nvSpPr>
          <p:spPr>
            <a:xfrm>
              <a:off x="-3786165" y="0"/>
              <a:ext cx="3593091" cy="593677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78" name="Ovaal 77">
              <a:extLst>
                <a:ext uri="{FF2B5EF4-FFF2-40B4-BE49-F238E27FC236}">
                  <a16:creationId xmlns:a16="http://schemas.microsoft.com/office/drawing/2014/main" id="{B797CA41-F4A7-49B4-A25A-CB8BA4B12D46}"/>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9" name="Rechthoek 78">
              <a:extLst>
                <a:ext uri="{FF2B5EF4-FFF2-40B4-BE49-F238E27FC236}">
                  <a16:creationId xmlns:a16="http://schemas.microsoft.com/office/drawing/2014/main" id="{DE2338B6-AB70-4272-B6AA-5A9FBD974A01}"/>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0" name="Groep 79">
              <a:extLst>
                <a:ext uri="{FF2B5EF4-FFF2-40B4-BE49-F238E27FC236}">
                  <a16:creationId xmlns:a16="http://schemas.microsoft.com/office/drawing/2014/main" id="{2FE7B1DD-BD69-4EAD-994A-1EF38FC0AAD8}"/>
                </a:ext>
              </a:extLst>
            </p:cNvPr>
            <p:cNvGrpSpPr/>
            <p:nvPr userDrawn="1"/>
          </p:nvGrpSpPr>
          <p:grpSpPr>
            <a:xfrm>
              <a:off x="-3316179" y="1231351"/>
              <a:ext cx="294789" cy="318834"/>
              <a:chOff x="14466489" y="1001522"/>
              <a:chExt cx="290627" cy="314333"/>
            </a:xfrm>
          </p:grpSpPr>
          <p:sp>
            <p:nvSpPr>
              <p:cNvPr id="131" name="Rechthoek 130">
                <a:extLst>
                  <a:ext uri="{FF2B5EF4-FFF2-40B4-BE49-F238E27FC236}">
                    <a16:creationId xmlns:a16="http://schemas.microsoft.com/office/drawing/2014/main" id="{FB759902-221E-4433-A0A4-BC95CC5B5617}"/>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32" name="Ovaal 131">
                <a:extLst>
                  <a:ext uri="{FF2B5EF4-FFF2-40B4-BE49-F238E27FC236}">
                    <a16:creationId xmlns:a16="http://schemas.microsoft.com/office/drawing/2014/main" id="{F3A95874-F33F-4222-BCED-E9F53936D08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00" b="1" noProof="0">
                  <a:solidFill>
                    <a:srgbClr val="211F26"/>
                  </a:solidFill>
                  <a:latin typeface="Calibri" panose="020F0502020204030204" pitchFamily="34" charset="0"/>
                  <a:cs typeface="Calibri" panose="020F0502020204030204" pitchFamily="34" charset="0"/>
                </a:endParaRPr>
              </a:p>
            </p:txBody>
          </p:sp>
          <p:sp>
            <p:nvSpPr>
              <p:cNvPr id="133" name="Vrije vorm: vorm 132">
                <a:extLst>
                  <a:ext uri="{FF2B5EF4-FFF2-40B4-BE49-F238E27FC236}">
                    <a16:creationId xmlns:a16="http://schemas.microsoft.com/office/drawing/2014/main" id="{B60FE298-9742-479C-8E2B-28282175CC2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00" b="1" noProof="0">
                  <a:solidFill>
                    <a:srgbClr val="211F26"/>
                  </a:solidFill>
                  <a:latin typeface="Calibri" panose="020F0502020204030204" pitchFamily="34" charset="0"/>
                  <a:cs typeface="Calibri" panose="020F0502020204030204" pitchFamily="34" charset="0"/>
                </a:endParaRPr>
              </a:p>
            </p:txBody>
          </p:sp>
          <p:sp>
            <p:nvSpPr>
              <p:cNvPr id="134" name="Rechthoek: afgeronde hoeken 133">
                <a:extLst>
                  <a:ext uri="{FF2B5EF4-FFF2-40B4-BE49-F238E27FC236}">
                    <a16:creationId xmlns:a16="http://schemas.microsoft.com/office/drawing/2014/main" id="{05AAD167-A078-44F6-8E66-647AAB518B4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cxnSp>
            <p:nvCxnSpPr>
              <p:cNvPr id="135" name="Rechte verbindingslijn 134">
                <a:extLst>
                  <a:ext uri="{FF2B5EF4-FFF2-40B4-BE49-F238E27FC236}">
                    <a16:creationId xmlns:a16="http://schemas.microsoft.com/office/drawing/2014/main" id="{59FF15DF-D169-435E-89BB-C5150CC9499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36" name="Rechte verbindingslijn 135">
                <a:extLst>
                  <a:ext uri="{FF2B5EF4-FFF2-40B4-BE49-F238E27FC236}">
                    <a16:creationId xmlns:a16="http://schemas.microsoft.com/office/drawing/2014/main" id="{83A93F45-FFBF-4F47-8841-DD490D652843}"/>
                  </a:ext>
                </a:extLst>
              </p:cNvPr>
              <p:cNvCxnSpPr>
                <a:cxnSpLocks/>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1" name="Ovaal 80">
              <a:extLst>
                <a:ext uri="{FF2B5EF4-FFF2-40B4-BE49-F238E27FC236}">
                  <a16:creationId xmlns:a16="http://schemas.microsoft.com/office/drawing/2014/main" id="{4C783240-E65E-4B7E-86E9-EC9478308254}"/>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2" name="Rechthoek 81">
              <a:extLst>
                <a:ext uri="{FF2B5EF4-FFF2-40B4-BE49-F238E27FC236}">
                  <a16:creationId xmlns:a16="http://schemas.microsoft.com/office/drawing/2014/main" id="{DA7F7AEC-9420-4CB1-8319-00DCEF6B4F39}"/>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3" name="Groep 82">
              <a:extLst>
                <a:ext uri="{FF2B5EF4-FFF2-40B4-BE49-F238E27FC236}">
                  <a16:creationId xmlns:a16="http://schemas.microsoft.com/office/drawing/2014/main" id="{CCFCD201-0D9A-41CB-91DA-A1B747DA015E}"/>
                </a:ext>
              </a:extLst>
            </p:cNvPr>
            <p:cNvGrpSpPr/>
            <p:nvPr userDrawn="1"/>
          </p:nvGrpSpPr>
          <p:grpSpPr>
            <a:xfrm>
              <a:off x="-3311319" y="2164285"/>
              <a:ext cx="825500" cy="209550"/>
              <a:chOff x="13504624" y="2482850"/>
              <a:chExt cx="825500" cy="209550"/>
            </a:xfrm>
          </p:grpSpPr>
          <p:sp>
            <p:nvSpPr>
              <p:cNvPr id="128" name="Rechthoek 127">
                <a:extLst>
                  <a:ext uri="{FF2B5EF4-FFF2-40B4-BE49-F238E27FC236}">
                    <a16:creationId xmlns:a16="http://schemas.microsoft.com/office/drawing/2014/main" id="{3A655D1A-9BFD-4697-9E42-68E208793E1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Insert</a:t>
                </a:r>
              </a:p>
            </p:txBody>
          </p:sp>
          <p:cxnSp>
            <p:nvCxnSpPr>
              <p:cNvPr id="129" name="Rechte verbindingslijn 128">
                <a:extLst>
                  <a:ext uri="{FF2B5EF4-FFF2-40B4-BE49-F238E27FC236}">
                    <a16:creationId xmlns:a16="http://schemas.microsoft.com/office/drawing/2014/main" id="{B76832C9-CBD1-47A6-87E7-CCFC6CFBA42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0" name="Gelijkbenige driehoek 129">
                <a:extLst>
                  <a:ext uri="{FF2B5EF4-FFF2-40B4-BE49-F238E27FC236}">
                    <a16:creationId xmlns:a16="http://schemas.microsoft.com/office/drawing/2014/main" id="{CCBB2F3A-2E3F-458E-8E05-BF2234E352D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75" b="1" noProof="0">
                  <a:solidFill>
                    <a:srgbClr val="211F26"/>
                  </a:solidFill>
                  <a:latin typeface="Calibri" panose="020F0502020204030204" pitchFamily="34" charset="0"/>
                  <a:cs typeface="Calibri" panose="020F0502020204030204" pitchFamily="34" charset="0"/>
                </a:endParaRPr>
              </a:p>
            </p:txBody>
          </p:sp>
        </p:grpSp>
        <p:sp>
          <p:nvSpPr>
            <p:cNvPr id="84" name="Ovaal 83">
              <a:extLst>
                <a:ext uri="{FF2B5EF4-FFF2-40B4-BE49-F238E27FC236}">
                  <a16:creationId xmlns:a16="http://schemas.microsoft.com/office/drawing/2014/main" id="{113E46DD-D5D7-452E-ADBB-13144172F9BB}"/>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5" name="Rechthoek 84">
              <a:extLst>
                <a:ext uri="{FF2B5EF4-FFF2-40B4-BE49-F238E27FC236}">
                  <a16:creationId xmlns:a16="http://schemas.microsoft.com/office/drawing/2014/main" id="{C14BF196-EB18-4BC5-9AE0-C3EC5566C343}"/>
                </a:ext>
              </a:extLst>
            </p:cNvPr>
            <p:cNvSpPr/>
            <p:nvPr userDrawn="1"/>
          </p:nvSpPr>
          <p:spPr>
            <a:xfrm>
              <a:off x="-33194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2081F2DC-D34F-4122-A451-1A1F34D00AAD}"/>
                </a:ext>
              </a:extLst>
            </p:cNvPr>
            <p:cNvSpPr/>
            <p:nvPr userDrawn="1"/>
          </p:nvSpPr>
          <p:spPr>
            <a:xfrm>
              <a:off x="-3603587"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7" name="Rechthoek 86">
              <a:extLst>
                <a:ext uri="{FF2B5EF4-FFF2-40B4-BE49-F238E27FC236}">
                  <a16:creationId xmlns:a16="http://schemas.microsoft.com/office/drawing/2014/main" id="{989CC7A9-FE1D-4389-B8F4-32B83EA8389C}"/>
                </a:ext>
              </a:extLst>
            </p:cNvPr>
            <p:cNvSpPr/>
            <p:nvPr userDrawn="1"/>
          </p:nvSpPr>
          <p:spPr>
            <a:xfrm>
              <a:off x="-3319415" y="4145790"/>
              <a:ext cx="2944682" cy="794700"/>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88" name="Groep 87">
              <a:extLst>
                <a:ext uri="{FF2B5EF4-FFF2-40B4-BE49-F238E27FC236}">
                  <a16:creationId xmlns:a16="http://schemas.microsoft.com/office/drawing/2014/main" id="{75E9BBBE-C90E-4599-A4F3-D51D853852BD}"/>
                </a:ext>
              </a:extLst>
            </p:cNvPr>
            <p:cNvGrpSpPr/>
            <p:nvPr userDrawn="1"/>
          </p:nvGrpSpPr>
          <p:grpSpPr>
            <a:xfrm>
              <a:off x="-3449237" y="5047414"/>
              <a:ext cx="622283" cy="612919"/>
              <a:chOff x="12617641" y="3403239"/>
              <a:chExt cx="752963" cy="741634"/>
            </a:xfrm>
          </p:grpSpPr>
          <p:grpSp>
            <p:nvGrpSpPr>
              <p:cNvPr id="112" name="Groep 111">
                <a:extLst>
                  <a:ext uri="{FF2B5EF4-FFF2-40B4-BE49-F238E27FC236}">
                    <a16:creationId xmlns:a16="http://schemas.microsoft.com/office/drawing/2014/main" id="{577CF330-B1E0-4D77-B078-42284A79B041}"/>
                  </a:ext>
                </a:extLst>
              </p:cNvPr>
              <p:cNvGrpSpPr/>
              <p:nvPr userDrawn="1"/>
            </p:nvGrpSpPr>
            <p:grpSpPr>
              <a:xfrm>
                <a:off x="12771550" y="3403239"/>
                <a:ext cx="467156" cy="448491"/>
                <a:chOff x="12782177" y="3403239"/>
                <a:chExt cx="467156" cy="448491"/>
              </a:xfrm>
            </p:grpSpPr>
            <p:grpSp>
              <p:nvGrpSpPr>
                <p:cNvPr id="115" name="Groep 114">
                  <a:extLst>
                    <a:ext uri="{FF2B5EF4-FFF2-40B4-BE49-F238E27FC236}">
                      <a16:creationId xmlns:a16="http://schemas.microsoft.com/office/drawing/2014/main" id="{BC94F9E3-8BDC-4773-B1AA-BACC5F7A2F32}"/>
                    </a:ext>
                  </a:extLst>
                </p:cNvPr>
                <p:cNvGrpSpPr/>
                <p:nvPr userDrawn="1"/>
              </p:nvGrpSpPr>
              <p:grpSpPr>
                <a:xfrm>
                  <a:off x="12782177" y="3403239"/>
                  <a:ext cx="412972" cy="396132"/>
                  <a:chOff x="13554906" y="3320109"/>
                  <a:chExt cx="443912" cy="425811"/>
                </a:xfrm>
              </p:grpSpPr>
              <p:grpSp>
                <p:nvGrpSpPr>
                  <p:cNvPr id="122" name="Groep 121">
                    <a:extLst>
                      <a:ext uri="{FF2B5EF4-FFF2-40B4-BE49-F238E27FC236}">
                        <a16:creationId xmlns:a16="http://schemas.microsoft.com/office/drawing/2014/main" id="{4F8FCAC4-3699-4232-8944-59C0A85FD9FE}"/>
                      </a:ext>
                    </a:extLst>
                  </p:cNvPr>
                  <p:cNvGrpSpPr/>
                  <p:nvPr userDrawn="1"/>
                </p:nvGrpSpPr>
                <p:grpSpPr>
                  <a:xfrm>
                    <a:off x="13554906" y="3320109"/>
                    <a:ext cx="443912" cy="425811"/>
                    <a:chOff x="12909684" y="1276143"/>
                    <a:chExt cx="443912" cy="425811"/>
                  </a:xfrm>
                </p:grpSpPr>
                <p:sp>
                  <p:nvSpPr>
                    <p:cNvPr id="125" name="Rechthoek 124">
                      <a:extLst>
                        <a:ext uri="{FF2B5EF4-FFF2-40B4-BE49-F238E27FC236}">
                          <a16:creationId xmlns:a16="http://schemas.microsoft.com/office/drawing/2014/main" id="{C5A4687F-053C-4C16-B55F-36747AA50F93}"/>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26" name="Rechthoek 125">
                      <a:extLst>
                        <a:ext uri="{FF2B5EF4-FFF2-40B4-BE49-F238E27FC236}">
                          <a16:creationId xmlns:a16="http://schemas.microsoft.com/office/drawing/2014/main" id="{DA365248-67CF-4B3A-909D-8DAD6925A1B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27" name="Ovaal 126">
                      <a:extLst>
                        <a:ext uri="{FF2B5EF4-FFF2-40B4-BE49-F238E27FC236}">
                          <a16:creationId xmlns:a16="http://schemas.microsoft.com/office/drawing/2014/main" id="{A122774F-B33E-48E8-9A3A-CFD4FF0EA32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pic>
                <p:nvPicPr>
                  <p:cNvPr id="123" name="Afbeelding 122">
                    <a:extLst>
                      <a:ext uri="{FF2B5EF4-FFF2-40B4-BE49-F238E27FC236}">
                        <a16:creationId xmlns:a16="http://schemas.microsoft.com/office/drawing/2014/main" id="{0DDA6C08-3690-4780-914F-C9DE6E97C337}"/>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24" name="Afbeelding 123">
                    <a:extLst>
                      <a:ext uri="{FF2B5EF4-FFF2-40B4-BE49-F238E27FC236}">
                        <a16:creationId xmlns:a16="http://schemas.microsoft.com/office/drawing/2014/main" id="{4559D3A1-8C67-409D-AB79-B96E54CCE92B}"/>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16" name="Groep 115">
                  <a:extLst>
                    <a:ext uri="{FF2B5EF4-FFF2-40B4-BE49-F238E27FC236}">
                      <a16:creationId xmlns:a16="http://schemas.microsoft.com/office/drawing/2014/main" id="{689C294B-D4EA-47C4-9A99-184EF3ADB114}"/>
                    </a:ext>
                  </a:extLst>
                </p:cNvPr>
                <p:cNvGrpSpPr/>
                <p:nvPr userDrawn="1"/>
              </p:nvGrpSpPr>
              <p:grpSpPr>
                <a:xfrm>
                  <a:off x="13103513" y="3705268"/>
                  <a:ext cx="145820" cy="146462"/>
                  <a:chOff x="13096169" y="3602278"/>
                  <a:chExt cx="145820" cy="146462"/>
                </a:xfrm>
              </p:grpSpPr>
              <p:sp>
                <p:nvSpPr>
                  <p:cNvPr id="120" name="Rechthoek 119">
                    <a:extLst>
                      <a:ext uri="{FF2B5EF4-FFF2-40B4-BE49-F238E27FC236}">
                        <a16:creationId xmlns:a16="http://schemas.microsoft.com/office/drawing/2014/main" id="{B67CE5CE-F082-4F54-A92D-99CC48D14D4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21" name="Rechthoek 120">
                    <a:extLst>
                      <a:ext uri="{FF2B5EF4-FFF2-40B4-BE49-F238E27FC236}">
                        <a16:creationId xmlns:a16="http://schemas.microsoft.com/office/drawing/2014/main" id="{7C579B8C-D5FF-4750-8008-D6A27FA3CC7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117" name="Groep 116">
                  <a:extLst>
                    <a:ext uri="{FF2B5EF4-FFF2-40B4-BE49-F238E27FC236}">
                      <a16:creationId xmlns:a16="http://schemas.microsoft.com/office/drawing/2014/main" id="{0B2FE05C-B960-49B8-8555-45CE67FAE374}"/>
                    </a:ext>
                  </a:extLst>
                </p:cNvPr>
                <p:cNvGrpSpPr/>
                <p:nvPr userDrawn="1"/>
              </p:nvGrpSpPr>
              <p:grpSpPr>
                <a:xfrm rot="10800000">
                  <a:off x="13061402" y="3665637"/>
                  <a:ext cx="145820" cy="146462"/>
                  <a:chOff x="13096169" y="3602278"/>
                  <a:chExt cx="145820" cy="146462"/>
                </a:xfrm>
              </p:grpSpPr>
              <p:sp>
                <p:nvSpPr>
                  <p:cNvPr id="118" name="Rechthoek 117">
                    <a:extLst>
                      <a:ext uri="{FF2B5EF4-FFF2-40B4-BE49-F238E27FC236}">
                        <a16:creationId xmlns:a16="http://schemas.microsoft.com/office/drawing/2014/main" id="{4991D9F0-0223-47DA-AACD-972203DFF97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FA4F8AE7-D472-4824-9CA5-A5E20C8EF9B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sp>
            <p:nvSpPr>
              <p:cNvPr id="113" name="Rechthoek 112">
                <a:extLst>
                  <a:ext uri="{FF2B5EF4-FFF2-40B4-BE49-F238E27FC236}">
                    <a16:creationId xmlns:a16="http://schemas.microsoft.com/office/drawing/2014/main" id="{449F3815-6BA3-4693-9FE1-98643F85A53C}"/>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Crop</a:t>
                </a:r>
              </a:p>
            </p:txBody>
          </p:sp>
          <p:sp>
            <p:nvSpPr>
              <p:cNvPr id="114" name="Gelijkbenige driehoek 113">
                <a:extLst>
                  <a:ext uri="{FF2B5EF4-FFF2-40B4-BE49-F238E27FC236}">
                    <a16:creationId xmlns:a16="http://schemas.microsoft.com/office/drawing/2014/main" id="{6BF656CA-0174-445C-B8DF-9BAE96D3ED59}"/>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89" name="Rechthoek 88">
              <a:extLst>
                <a:ext uri="{FF2B5EF4-FFF2-40B4-BE49-F238E27FC236}">
                  <a16:creationId xmlns:a16="http://schemas.microsoft.com/office/drawing/2014/main" id="{155ABF1A-480A-44B4-9452-2A01360F8C31}"/>
                </a:ext>
              </a:extLst>
            </p:cNvPr>
            <p:cNvSpPr/>
            <p:nvPr userDrawn="1"/>
          </p:nvSpPr>
          <p:spPr>
            <a:xfrm>
              <a:off x="-331683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US" sz="750" b="0" i="1" noProof="0">
                <a:solidFill>
                  <a:srgbClr val="211F26"/>
                </a:solidFill>
                <a:latin typeface="Calibri" panose="020F0502020204030204" pitchFamily="34" charset="0"/>
                <a:cs typeface="Calibri" panose="020F0502020204030204" pitchFamily="34" charset="0"/>
              </a:endParaRPr>
            </a:p>
          </p:txBody>
        </p:sp>
        <p:grpSp>
          <p:nvGrpSpPr>
            <p:cNvPr id="90" name="Groep 89">
              <a:extLst>
                <a:ext uri="{FF2B5EF4-FFF2-40B4-BE49-F238E27FC236}">
                  <a16:creationId xmlns:a16="http://schemas.microsoft.com/office/drawing/2014/main" id="{7D4A5AEF-C003-4481-9208-F89D868E5EDB}"/>
                </a:ext>
              </a:extLst>
            </p:cNvPr>
            <p:cNvGrpSpPr/>
            <p:nvPr userDrawn="1"/>
          </p:nvGrpSpPr>
          <p:grpSpPr>
            <a:xfrm>
              <a:off x="-2485819" y="3399207"/>
              <a:ext cx="1222990" cy="563933"/>
              <a:chOff x="-2485819" y="3399207"/>
              <a:chExt cx="1222990" cy="563933"/>
            </a:xfrm>
          </p:grpSpPr>
          <p:sp>
            <p:nvSpPr>
              <p:cNvPr id="91" name="Rechthoek 90">
                <a:extLst>
                  <a:ext uri="{FF2B5EF4-FFF2-40B4-BE49-F238E27FC236}">
                    <a16:creationId xmlns:a16="http://schemas.microsoft.com/office/drawing/2014/main" id="{7B06AB22-2C3E-4CE6-B7A6-5A3E5BCA3687}"/>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92" name="Rechthoek 91">
                <a:extLst>
                  <a:ext uri="{FF2B5EF4-FFF2-40B4-BE49-F238E27FC236}">
                    <a16:creationId xmlns:a16="http://schemas.microsoft.com/office/drawing/2014/main" id="{704EFE6F-978E-420A-AD5E-A760C14CF505}"/>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93" name="Groep 92">
                <a:extLst>
                  <a:ext uri="{FF2B5EF4-FFF2-40B4-BE49-F238E27FC236}">
                    <a16:creationId xmlns:a16="http://schemas.microsoft.com/office/drawing/2014/main" id="{AECE5156-23D6-47D1-A725-44FB6E22F466}"/>
                  </a:ext>
                </a:extLst>
              </p:cNvPr>
              <p:cNvGrpSpPr/>
              <p:nvPr userDrawn="1"/>
            </p:nvGrpSpPr>
            <p:grpSpPr>
              <a:xfrm>
                <a:off x="-2403869" y="3460544"/>
                <a:ext cx="155951" cy="131922"/>
                <a:chOff x="12968836" y="3354170"/>
                <a:chExt cx="404806" cy="342433"/>
              </a:xfrm>
            </p:grpSpPr>
            <p:sp>
              <p:nvSpPr>
                <p:cNvPr id="106" name="Rechthoek: afgeronde hoeken 105">
                  <a:extLst>
                    <a:ext uri="{FF2B5EF4-FFF2-40B4-BE49-F238E27FC236}">
                      <a16:creationId xmlns:a16="http://schemas.microsoft.com/office/drawing/2014/main" id="{AB98CD74-6829-4DA1-A9D7-54AD1DE68F4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3249A512-9F4A-423B-A37B-A9FFA226C52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1A2C92A6-354A-4984-B19A-56DDB262D02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B8419DFA-E8AB-4BDA-92F3-D675D3BF90B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01E5E30F-E498-47D2-B5A0-EEBFA068D6D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8BFFAC8F-F73A-4755-A1F5-E5FB0C9A5C89}"/>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94" name="Groep 93">
                <a:extLst>
                  <a:ext uri="{FF2B5EF4-FFF2-40B4-BE49-F238E27FC236}">
                    <a16:creationId xmlns:a16="http://schemas.microsoft.com/office/drawing/2014/main" id="{CF51A2D2-D72D-420B-BDB5-64D3AA8936D1}"/>
                  </a:ext>
                </a:extLst>
              </p:cNvPr>
              <p:cNvGrpSpPr/>
              <p:nvPr userDrawn="1"/>
            </p:nvGrpSpPr>
            <p:grpSpPr>
              <a:xfrm>
                <a:off x="-2423424" y="3690208"/>
                <a:ext cx="166739" cy="218963"/>
                <a:chOff x="12940828" y="3950597"/>
                <a:chExt cx="432813" cy="568367"/>
              </a:xfrm>
            </p:grpSpPr>
            <p:grpSp>
              <p:nvGrpSpPr>
                <p:cNvPr id="98" name="Groep 97">
                  <a:extLst>
                    <a:ext uri="{FF2B5EF4-FFF2-40B4-BE49-F238E27FC236}">
                      <a16:creationId xmlns:a16="http://schemas.microsoft.com/office/drawing/2014/main" id="{4CF2FCFC-C98F-41A2-AE8B-EF54E98946CE}"/>
                    </a:ext>
                  </a:extLst>
                </p:cNvPr>
                <p:cNvGrpSpPr/>
                <p:nvPr userDrawn="1"/>
              </p:nvGrpSpPr>
              <p:grpSpPr>
                <a:xfrm>
                  <a:off x="13000382" y="4006891"/>
                  <a:ext cx="373259" cy="315747"/>
                  <a:chOff x="12968836" y="3354170"/>
                  <a:chExt cx="404806" cy="342433"/>
                </a:xfrm>
              </p:grpSpPr>
              <p:sp>
                <p:nvSpPr>
                  <p:cNvPr id="100" name="Rechthoek: afgeronde hoeken 99">
                    <a:extLst>
                      <a:ext uri="{FF2B5EF4-FFF2-40B4-BE49-F238E27FC236}">
                        <a16:creationId xmlns:a16="http://schemas.microsoft.com/office/drawing/2014/main" id="{846C82BC-8FBF-4A87-91FA-9D14B363826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18ED0675-A716-4D64-AD81-AD41B8BB4DE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1F6DA8E6-7545-4BB1-AB7D-F39BFC12E33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FA7FFDAB-C996-4359-A355-B379096E58C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92DF4EA7-6997-4525-8F29-81E5BA3771E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B4A80484-A62D-4BE5-9FAC-AAC1831A717D}"/>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99" name="Boog 98">
                  <a:extLst>
                    <a:ext uri="{FF2B5EF4-FFF2-40B4-BE49-F238E27FC236}">
                      <a16:creationId xmlns:a16="http://schemas.microsoft.com/office/drawing/2014/main" id="{C76C97F0-E163-4E2B-8317-19318E14AA6C}"/>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sp>
            <p:nvSpPr>
              <p:cNvPr id="95" name="Tekstvak 94">
                <a:extLst>
                  <a:ext uri="{FF2B5EF4-FFF2-40B4-BE49-F238E27FC236}">
                    <a16:creationId xmlns:a16="http://schemas.microsoft.com/office/drawing/2014/main" id="{CE0AE0DF-F194-4EBC-BAB6-4935A9E79A1D}"/>
                  </a:ext>
                </a:extLst>
              </p:cNvPr>
              <p:cNvSpPr txBox="1"/>
              <p:nvPr userDrawn="1"/>
            </p:nvSpPr>
            <p:spPr>
              <a:xfrm>
                <a:off x="-2245455" y="3460544"/>
                <a:ext cx="896116" cy="134709"/>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Layout</a:t>
                </a:r>
              </a:p>
            </p:txBody>
          </p:sp>
          <p:sp>
            <p:nvSpPr>
              <p:cNvPr id="96" name="Tekstvak 95">
                <a:extLst>
                  <a:ext uri="{FF2B5EF4-FFF2-40B4-BE49-F238E27FC236}">
                    <a16:creationId xmlns:a16="http://schemas.microsoft.com/office/drawing/2014/main" id="{802FFC4E-6889-45CF-8AA4-0630EA553F3A}"/>
                  </a:ext>
                </a:extLst>
              </p:cNvPr>
              <p:cNvSpPr txBox="1"/>
              <p:nvPr userDrawn="1"/>
            </p:nvSpPr>
            <p:spPr>
              <a:xfrm>
                <a:off x="-2258884" y="3712980"/>
                <a:ext cx="909545" cy="126416"/>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97" name="Vrije vorm: vorm 96">
                <a:extLst>
                  <a:ext uri="{FF2B5EF4-FFF2-40B4-BE49-F238E27FC236}">
                    <a16:creationId xmlns:a16="http://schemas.microsoft.com/office/drawing/2014/main" id="{13E35A26-6050-4E82-AB08-023B1E4AFF8A}"/>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450"/>
                  </a:spcBef>
                  <a:spcAft>
                    <a:spcPts val="450"/>
                  </a:spcAft>
                </a:pPr>
                <a:endParaRPr lang="en-US" sz="1200" cap="all" baseline="0" noProof="0">
                  <a:latin typeface="Calibri" panose="020F0502020204030204" pitchFamily="34" charset="0"/>
                  <a:cs typeface="Calibri" panose="020F0502020204030204" pitchFamily="34" charset="0"/>
                </a:endParaRPr>
              </a:p>
            </p:txBody>
          </p:sp>
        </p:grpSp>
      </p:grpSp>
      <p:sp>
        <p:nvSpPr>
          <p:cNvPr id="139" name="Tijdelijke aanduiding voor dianummer 5">
            <a:extLst>
              <a:ext uri="{FF2B5EF4-FFF2-40B4-BE49-F238E27FC236}">
                <a16:creationId xmlns:a16="http://schemas.microsoft.com/office/drawing/2014/main" id="{10CBD056-1B23-4D3B-A4E5-E392453EB2A0}"/>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140" name="INSTRUCTION">
            <a:extLst>
              <a:ext uri="{FF2B5EF4-FFF2-40B4-BE49-F238E27FC236}">
                <a16:creationId xmlns:a16="http://schemas.microsoft.com/office/drawing/2014/main" id="{0DF8D819-E07C-4C21-8867-BD0A3AD34B1A}"/>
              </a:ext>
            </a:extLst>
          </p:cNvPr>
          <p:cNvGrpSpPr/>
          <p:nvPr userDrawn="1"/>
        </p:nvGrpSpPr>
        <p:grpSpPr>
          <a:xfrm>
            <a:off x="4384" y="5274908"/>
            <a:ext cx="2795966" cy="1183043"/>
            <a:chOff x="5846" y="7033211"/>
            <a:chExt cx="3727954" cy="1577390"/>
          </a:xfrm>
        </p:grpSpPr>
        <p:sp>
          <p:nvSpPr>
            <p:cNvPr id="142" name="Rechthoek 141">
              <a:extLst>
                <a:ext uri="{FF2B5EF4-FFF2-40B4-BE49-F238E27FC236}">
                  <a16:creationId xmlns:a16="http://schemas.microsoft.com/office/drawing/2014/main" id="{CF7E9550-0D5B-4A12-B372-9316B66037C0}"/>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143" name="Ovaal 142">
              <a:extLst>
                <a:ext uri="{FF2B5EF4-FFF2-40B4-BE49-F238E27FC236}">
                  <a16:creationId xmlns:a16="http://schemas.microsoft.com/office/drawing/2014/main" id="{1E13991E-1D89-4C46-B8F9-6388EFB526FF}"/>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44" name="Rechthoek 143">
              <a:extLst>
                <a:ext uri="{FF2B5EF4-FFF2-40B4-BE49-F238E27FC236}">
                  <a16:creationId xmlns:a16="http://schemas.microsoft.com/office/drawing/2014/main" id="{EFCA98F4-A7A5-4DFD-A766-5E8754CDB52F}"/>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5" name="Ovaal 144">
              <a:extLst>
                <a:ext uri="{FF2B5EF4-FFF2-40B4-BE49-F238E27FC236}">
                  <a16:creationId xmlns:a16="http://schemas.microsoft.com/office/drawing/2014/main" id="{90A0E4AE-3E9D-479C-A4DE-445D375818D4}"/>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6" name="Rechthoek 145">
              <a:extLst>
                <a:ext uri="{FF2B5EF4-FFF2-40B4-BE49-F238E27FC236}">
                  <a16:creationId xmlns:a16="http://schemas.microsoft.com/office/drawing/2014/main" id="{1E3D6348-6FB8-4D95-B0B8-9FF63E137C4A}"/>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147" name="Groep 146">
              <a:extLst>
                <a:ext uri="{FF2B5EF4-FFF2-40B4-BE49-F238E27FC236}">
                  <a16:creationId xmlns:a16="http://schemas.microsoft.com/office/drawing/2014/main" id="{54DFD7FC-9D53-45CE-A738-FA7A5A979D50}"/>
                </a:ext>
              </a:extLst>
            </p:cNvPr>
            <p:cNvGrpSpPr/>
            <p:nvPr userDrawn="1"/>
          </p:nvGrpSpPr>
          <p:grpSpPr>
            <a:xfrm>
              <a:off x="2939884" y="7739834"/>
              <a:ext cx="681133" cy="750023"/>
              <a:chOff x="-910573" y="4987990"/>
              <a:chExt cx="681133" cy="750023"/>
            </a:xfrm>
          </p:grpSpPr>
          <p:grpSp>
            <p:nvGrpSpPr>
              <p:cNvPr id="148" name="Groep 147">
                <a:extLst>
                  <a:ext uri="{FF2B5EF4-FFF2-40B4-BE49-F238E27FC236}">
                    <a16:creationId xmlns:a16="http://schemas.microsoft.com/office/drawing/2014/main" id="{56AC4B1B-0D2D-4BF2-9F4B-34D16713D291}"/>
                  </a:ext>
                </a:extLst>
              </p:cNvPr>
              <p:cNvGrpSpPr/>
              <p:nvPr userDrawn="1"/>
            </p:nvGrpSpPr>
            <p:grpSpPr>
              <a:xfrm>
                <a:off x="-713542" y="4987990"/>
                <a:ext cx="287071" cy="379107"/>
                <a:chOff x="-4050578" y="288410"/>
                <a:chExt cx="322125" cy="379107"/>
              </a:xfrm>
            </p:grpSpPr>
            <p:sp>
              <p:nvSpPr>
                <p:cNvPr id="150" name="Rechthoek met één afgeknipte en afgeronde hoek 47">
                  <a:extLst>
                    <a:ext uri="{FF2B5EF4-FFF2-40B4-BE49-F238E27FC236}">
                      <a16:creationId xmlns:a16="http://schemas.microsoft.com/office/drawing/2014/main" id="{A369441D-FD9E-474A-911F-67B7AF18EB19}"/>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51" name="Rechthoekige driehoek 150">
                  <a:extLst>
                    <a:ext uri="{FF2B5EF4-FFF2-40B4-BE49-F238E27FC236}">
                      <a16:creationId xmlns:a16="http://schemas.microsoft.com/office/drawing/2014/main" id="{08423E9E-C5D2-444D-B5A9-B1764B80CF73}"/>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52" name="Rechthoek 151">
                  <a:extLst>
                    <a:ext uri="{FF2B5EF4-FFF2-40B4-BE49-F238E27FC236}">
                      <a16:creationId xmlns:a16="http://schemas.microsoft.com/office/drawing/2014/main" id="{1B15C7BD-BAE2-4E31-AF9F-32A9B269B470}"/>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53" name="Rechthoek 152">
                  <a:extLst>
                    <a:ext uri="{FF2B5EF4-FFF2-40B4-BE49-F238E27FC236}">
                      <a16:creationId xmlns:a16="http://schemas.microsoft.com/office/drawing/2014/main" id="{1152ACA7-4588-4658-AEE7-544A756C60E5}"/>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49" name="Rechthoek 148">
                <a:extLst>
                  <a:ext uri="{FF2B5EF4-FFF2-40B4-BE49-F238E27FC236}">
                    <a16:creationId xmlns:a16="http://schemas.microsoft.com/office/drawing/2014/main" id="{13F0BDCC-2584-4B35-8D37-59DE4C8D578B}"/>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12297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Image (L)">
    <p:spTree>
      <p:nvGrpSpPr>
        <p:cNvPr id="1" name=""/>
        <p:cNvGrpSpPr/>
        <p:nvPr/>
      </p:nvGrpSpPr>
      <p:grpSpPr>
        <a:xfrm>
          <a:off x="0" y="0"/>
          <a:ext cx="0" cy="0"/>
          <a:chOff x="0" y="0"/>
          <a:chExt cx="0" cy="0"/>
        </a:xfrm>
      </p:grpSpPr>
      <p:grpSp>
        <p:nvGrpSpPr>
          <p:cNvPr id="86" name="Graphic 41">
            <a:extLst>
              <a:ext uri="{FF2B5EF4-FFF2-40B4-BE49-F238E27FC236}">
                <a16:creationId xmlns:a16="http://schemas.microsoft.com/office/drawing/2014/main" id="{904019C5-55CF-4DF9-8DAD-07F996C76967}"/>
              </a:ext>
            </a:extLst>
          </p:cNvPr>
          <p:cNvGrpSpPr/>
          <p:nvPr userDrawn="1"/>
        </p:nvGrpSpPr>
        <p:grpSpPr>
          <a:xfrm>
            <a:off x="7631620" y="4629635"/>
            <a:ext cx="1005230" cy="343655"/>
            <a:chOff x="6610866" y="4731155"/>
            <a:chExt cx="2143791" cy="729043"/>
          </a:xfrm>
          <a:solidFill>
            <a:schemeClr val="bg1"/>
          </a:solidFill>
        </p:grpSpPr>
        <p:grpSp>
          <p:nvGrpSpPr>
            <p:cNvPr id="87" name="Graphic 41">
              <a:extLst>
                <a:ext uri="{FF2B5EF4-FFF2-40B4-BE49-F238E27FC236}">
                  <a16:creationId xmlns:a16="http://schemas.microsoft.com/office/drawing/2014/main" id="{6B592706-1F40-4714-899C-C6AD7127E9C8}"/>
                </a:ext>
              </a:extLst>
            </p:cNvPr>
            <p:cNvGrpSpPr/>
            <p:nvPr/>
          </p:nvGrpSpPr>
          <p:grpSpPr>
            <a:xfrm>
              <a:off x="6748216" y="5056434"/>
              <a:ext cx="1868805" cy="403764"/>
              <a:chOff x="6748216" y="5056434"/>
              <a:chExt cx="1868805" cy="403764"/>
            </a:xfrm>
            <a:grpFill/>
          </p:grpSpPr>
          <p:sp>
            <p:nvSpPr>
              <p:cNvPr id="89" name="Vrije vorm: vorm 88">
                <a:extLst>
                  <a:ext uri="{FF2B5EF4-FFF2-40B4-BE49-F238E27FC236}">
                    <a16:creationId xmlns:a16="http://schemas.microsoft.com/office/drawing/2014/main" id="{F3FCB713-39D8-4292-AD7A-726ADEB4C0B5}"/>
                  </a:ext>
                </a:extLst>
              </p:cNvPr>
              <p:cNvSpPr/>
              <p:nvPr/>
            </p:nvSpPr>
            <p:spPr>
              <a:xfrm>
                <a:off x="6748216" y="5057267"/>
                <a:ext cx="304990" cy="394169"/>
              </a:xfrm>
              <a:custGeom>
                <a:avLst/>
                <a:gdLst>
                  <a:gd name="connsiteX0" fmla="*/ 89344 w 304990"/>
                  <a:gd name="connsiteY0" fmla="*/ 56889 h 394169"/>
                  <a:gd name="connsiteX1" fmla="*/ 169164 w 304990"/>
                  <a:gd name="connsiteY1" fmla="*/ 118230 h 394169"/>
                  <a:gd name="connsiteX2" fmla="*/ 89344 w 304990"/>
                  <a:gd name="connsiteY2" fmla="*/ 182809 h 394169"/>
                  <a:gd name="connsiteX3" fmla="*/ 89344 w 304990"/>
                  <a:gd name="connsiteY3" fmla="*/ 56889 h 394169"/>
                  <a:gd name="connsiteX4" fmla="*/ 10668 w 304990"/>
                  <a:gd name="connsiteY4" fmla="*/ 292156 h 394169"/>
                  <a:gd name="connsiteX5" fmla="*/ 95 w 304990"/>
                  <a:gd name="connsiteY5" fmla="*/ 394169 h 394169"/>
                  <a:gd name="connsiteX6" fmla="*/ 100298 w 304990"/>
                  <a:gd name="connsiteY6" fmla="*/ 394169 h 394169"/>
                  <a:gd name="connsiteX7" fmla="*/ 89249 w 304990"/>
                  <a:gd name="connsiteY7" fmla="*/ 309016 h 394169"/>
                  <a:gd name="connsiteX8" fmla="*/ 89249 w 304990"/>
                  <a:gd name="connsiteY8" fmla="*/ 237959 h 394169"/>
                  <a:gd name="connsiteX9" fmla="*/ 233458 w 304990"/>
                  <a:gd name="connsiteY9" fmla="*/ 394169 h 394169"/>
                  <a:gd name="connsiteX10" fmla="*/ 304991 w 304990"/>
                  <a:gd name="connsiteY10" fmla="*/ 394169 h 394169"/>
                  <a:gd name="connsiteX11" fmla="*/ 168878 w 304990"/>
                  <a:gd name="connsiteY11" fmla="*/ 217576 h 394169"/>
                  <a:gd name="connsiteX12" fmla="*/ 255080 w 304990"/>
                  <a:gd name="connsiteY12" fmla="*/ 112515 h 394169"/>
                  <a:gd name="connsiteX13" fmla="*/ 100013 w 304990"/>
                  <a:gd name="connsiteY13" fmla="*/ 25 h 394169"/>
                  <a:gd name="connsiteX14" fmla="*/ 0 w 304990"/>
                  <a:gd name="connsiteY14" fmla="*/ 1072 h 394169"/>
                  <a:gd name="connsiteX15" fmla="*/ 10573 w 304990"/>
                  <a:gd name="connsiteY15" fmla="*/ 82511 h 394169"/>
                  <a:gd name="connsiteX16" fmla="*/ 10573 w 304990"/>
                  <a:gd name="connsiteY16" fmla="*/ 292156 h 39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4990" h="394169">
                    <a:moveTo>
                      <a:pt x="89344" y="56889"/>
                    </a:moveTo>
                    <a:cubicBezTo>
                      <a:pt x="142113" y="60699"/>
                      <a:pt x="169164" y="88798"/>
                      <a:pt x="169164" y="118230"/>
                    </a:cubicBezTo>
                    <a:cubicBezTo>
                      <a:pt x="169164" y="178714"/>
                      <a:pt x="107728" y="181095"/>
                      <a:pt x="89344" y="182809"/>
                    </a:cubicBezTo>
                    <a:lnTo>
                      <a:pt x="89344" y="56889"/>
                    </a:lnTo>
                    <a:close/>
                    <a:moveTo>
                      <a:pt x="10668" y="292156"/>
                    </a:moveTo>
                    <a:cubicBezTo>
                      <a:pt x="10668" y="326351"/>
                      <a:pt x="8572" y="355212"/>
                      <a:pt x="95" y="394169"/>
                    </a:cubicBezTo>
                    <a:lnTo>
                      <a:pt x="100298" y="394169"/>
                    </a:lnTo>
                    <a:cubicBezTo>
                      <a:pt x="89726" y="352164"/>
                      <a:pt x="89249" y="339496"/>
                      <a:pt x="89249" y="309016"/>
                    </a:cubicBezTo>
                    <a:lnTo>
                      <a:pt x="89249" y="237959"/>
                    </a:lnTo>
                    <a:cubicBezTo>
                      <a:pt x="170688" y="346258"/>
                      <a:pt x="180404" y="348449"/>
                      <a:pt x="233458" y="394169"/>
                    </a:cubicBezTo>
                    <a:lnTo>
                      <a:pt x="304991" y="394169"/>
                    </a:lnTo>
                    <a:cubicBezTo>
                      <a:pt x="258223" y="337972"/>
                      <a:pt x="204026" y="279583"/>
                      <a:pt x="168878" y="217576"/>
                    </a:cubicBezTo>
                    <a:cubicBezTo>
                      <a:pt x="186785" y="208146"/>
                      <a:pt x="255080" y="197573"/>
                      <a:pt x="255080" y="112515"/>
                    </a:cubicBezTo>
                    <a:cubicBezTo>
                      <a:pt x="255080" y="59461"/>
                      <a:pt x="222790" y="-1404"/>
                      <a:pt x="100013" y="25"/>
                    </a:cubicBezTo>
                    <a:lnTo>
                      <a:pt x="0" y="1072"/>
                    </a:lnTo>
                    <a:cubicBezTo>
                      <a:pt x="4191" y="14693"/>
                      <a:pt x="10573" y="36315"/>
                      <a:pt x="10573" y="82511"/>
                    </a:cubicBezTo>
                    <a:lnTo>
                      <a:pt x="10573" y="292156"/>
                    </a:lnTo>
                    <a:close/>
                  </a:path>
                </a:pathLst>
              </a:custGeom>
              <a:grpFill/>
              <a:ln w="9525" cap="flat">
                <a:noFill/>
                <a:prstDash val="solid"/>
                <a:miter/>
              </a:ln>
            </p:spPr>
            <p:txBody>
              <a:bodyPr rtlCol="0" anchor="ctr"/>
              <a:lstStyle/>
              <a:p>
                <a:endParaRPr lang="en-US" sz="1050"/>
              </a:p>
            </p:txBody>
          </p:sp>
          <p:sp>
            <p:nvSpPr>
              <p:cNvPr id="90" name="Vrije vorm: vorm 89">
                <a:extLst>
                  <a:ext uri="{FF2B5EF4-FFF2-40B4-BE49-F238E27FC236}">
                    <a16:creationId xmlns:a16="http://schemas.microsoft.com/office/drawing/2014/main" id="{BBF04B01-BDC9-400D-9798-51324A989A4C}"/>
                  </a:ext>
                </a:extLst>
              </p:cNvPr>
              <p:cNvSpPr/>
              <p:nvPr/>
            </p:nvSpPr>
            <p:spPr>
              <a:xfrm>
                <a:off x="7048444" y="5170734"/>
                <a:ext cx="218422" cy="289464"/>
              </a:xfrm>
              <a:custGeom>
                <a:avLst/>
                <a:gdLst>
                  <a:gd name="connsiteX0" fmla="*/ 64484 w 218422"/>
                  <a:gd name="connsiteY0" fmla="*/ 114395 h 289464"/>
                  <a:gd name="connsiteX1" fmla="*/ 113538 w 218422"/>
                  <a:gd name="connsiteY1" fmla="*/ 47625 h 289464"/>
                  <a:gd name="connsiteX2" fmla="*/ 156591 w 218422"/>
                  <a:gd name="connsiteY2" fmla="*/ 114395 h 289464"/>
                  <a:gd name="connsiteX3" fmla="*/ 64484 w 218422"/>
                  <a:gd name="connsiteY3" fmla="*/ 114395 h 289464"/>
                  <a:gd name="connsiteX4" fmla="*/ 214027 w 218422"/>
                  <a:gd name="connsiteY4" fmla="*/ 211074 h 289464"/>
                  <a:gd name="connsiteX5" fmla="*/ 150781 w 218422"/>
                  <a:gd name="connsiteY5" fmla="*/ 229743 h 289464"/>
                  <a:gd name="connsiteX6" fmla="*/ 71914 w 218422"/>
                  <a:gd name="connsiteY6" fmla="*/ 158305 h 289464"/>
                  <a:gd name="connsiteX7" fmla="*/ 216980 w 218422"/>
                  <a:gd name="connsiteY7" fmla="*/ 158020 h 289464"/>
                  <a:gd name="connsiteX8" fmla="*/ 216694 w 218422"/>
                  <a:gd name="connsiteY8" fmla="*/ 85725 h 289464"/>
                  <a:gd name="connsiteX9" fmla="*/ 116205 w 218422"/>
                  <a:gd name="connsiteY9" fmla="*/ 0 h 289464"/>
                  <a:gd name="connsiteX10" fmla="*/ 0 w 218422"/>
                  <a:gd name="connsiteY10" fmla="*/ 147733 h 289464"/>
                  <a:gd name="connsiteX11" fmla="*/ 133064 w 218422"/>
                  <a:gd name="connsiteY11" fmla="*/ 289465 h 289464"/>
                  <a:gd name="connsiteX12" fmla="*/ 191167 w 218422"/>
                  <a:gd name="connsiteY12" fmla="*/ 274511 h 289464"/>
                  <a:gd name="connsiteX13" fmla="*/ 214027 w 218422"/>
                  <a:gd name="connsiteY13" fmla="*/ 211074 h 28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8422" h="289464">
                    <a:moveTo>
                      <a:pt x="64484" y="114395"/>
                    </a:moveTo>
                    <a:cubicBezTo>
                      <a:pt x="64484" y="85630"/>
                      <a:pt x="85820" y="47625"/>
                      <a:pt x="113538" y="47625"/>
                    </a:cubicBezTo>
                    <a:cubicBezTo>
                      <a:pt x="136589" y="47625"/>
                      <a:pt x="156591" y="72866"/>
                      <a:pt x="156591" y="114395"/>
                    </a:cubicBezTo>
                    <a:lnTo>
                      <a:pt x="64484" y="114395"/>
                    </a:lnTo>
                    <a:close/>
                    <a:moveTo>
                      <a:pt x="214027" y="211074"/>
                    </a:moveTo>
                    <a:cubicBezTo>
                      <a:pt x="183071" y="225266"/>
                      <a:pt x="172784" y="229743"/>
                      <a:pt x="150781" y="229743"/>
                    </a:cubicBezTo>
                    <a:cubicBezTo>
                      <a:pt x="89821" y="229743"/>
                      <a:pt x="73438" y="177260"/>
                      <a:pt x="71914" y="158305"/>
                    </a:cubicBezTo>
                    <a:lnTo>
                      <a:pt x="216980" y="158020"/>
                    </a:lnTo>
                    <a:cubicBezTo>
                      <a:pt x="216980" y="128111"/>
                      <a:pt x="220409" y="107823"/>
                      <a:pt x="216694" y="85725"/>
                    </a:cubicBezTo>
                    <a:cubicBezTo>
                      <a:pt x="208788" y="33147"/>
                      <a:pt x="161449" y="0"/>
                      <a:pt x="116205" y="0"/>
                    </a:cubicBezTo>
                    <a:cubicBezTo>
                      <a:pt x="51530" y="0"/>
                      <a:pt x="0" y="56293"/>
                      <a:pt x="0" y="147733"/>
                    </a:cubicBezTo>
                    <a:cubicBezTo>
                      <a:pt x="0" y="209741"/>
                      <a:pt x="45339" y="289465"/>
                      <a:pt x="133064" y="289465"/>
                    </a:cubicBezTo>
                    <a:cubicBezTo>
                      <a:pt x="158782" y="289465"/>
                      <a:pt x="174308" y="280321"/>
                      <a:pt x="191167" y="274511"/>
                    </a:cubicBezTo>
                    <a:lnTo>
                      <a:pt x="214027" y="211074"/>
                    </a:lnTo>
                    <a:close/>
                  </a:path>
                </a:pathLst>
              </a:custGeom>
              <a:grpFill/>
              <a:ln w="9525" cap="flat">
                <a:noFill/>
                <a:prstDash val="solid"/>
                <a:miter/>
              </a:ln>
            </p:spPr>
            <p:txBody>
              <a:bodyPr rtlCol="0" anchor="ctr"/>
              <a:lstStyle/>
              <a:p>
                <a:endParaRPr lang="en-US" sz="1050"/>
              </a:p>
            </p:txBody>
          </p:sp>
          <p:sp>
            <p:nvSpPr>
              <p:cNvPr id="91" name="Vrije vorm: vorm 90">
                <a:extLst>
                  <a:ext uri="{FF2B5EF4-FFF2-40B4-BE49-F238E27FC236}">
                    <a16:creationId xmlns:a16="http://schemas.microsoft.com/office/drawing/2014/main" id="{D61FD883-C5BA-43E2-A3EA-090B7CE24734}"/>
                  </a:ext>
                </a:extLst>
              </p:cNvPr>
              <p:cNvSpPr/>
              <p:nvPr/>
            </p:nvSpPr>
            <p:spPr>
              <a:xfrm>
                <a:off x="7288665" y="5056434"/>
                <a:ext cx="188023" cy="395001"/>
              </a:xfrm>
              <a:custGeom>
                <a:avLst/>
                <a:gdLst>
                  <a:gd name="connsiteX0" fmla="*/ 158782 w 188023"/>
                  <a:gd name="connsiteY0" fmla="*/ 169831 h 395001"/>
                  <a:gd name="connsiteX1" fmla="*/ 101822 w 188023"/>
                  <a:gd name="connsiteY1" fmla="*/ 169831 h 395001"/>
                  <a:gd name="connsiteX2" fmla="*/ 101822 w 188023"/>
                  <a:gd name="connsiteY2" fmla="*/ 328232 h 395001"/>
                  <a:gd name="connsiteX3" fmla="*/ 116491 w 188023"/>
                  <a:gd name="connsiteY3" fmla="*/ 393954 h 395001"/>
                  <a:gd name="connsiteX4" fmla="*/ 23717 w 188023"/>
                  <a:gd name="connsiteY4" fmla="*/ 395002 h 395001"/>
                  <a:gd name="connsiteX5" fmla="*/ 38957 w 188023"/>
                  <a:gd name="connsiteY5" fmla="*/ 324041 h 395001"/>
                  <a:gd name="connsiteX6" fmla="*/ 38957 w 188023"/>
                  <a:gd name="connsiteY6" fmla="*/ 169831 h 395001"/>
                  <a:gd name="connsiteX7" fmla="*/ 0 w 188023"/>
                  <a:gd name="connsiteY7" fmla="*/ 168783 h 395001"/>
                  <a:gd name="connsiteX8" fmla="*/ 24479 w 188023"/>
                  <a:gd name="connsiteY8" fmla="*/ 121253 h 395001"/>
                  <a:gd name="connsiteX9" fmla="*/ 38957 w 188023"/>
                  <a:gd name="connsiteY9" fmla="*/ 121158 h 395001"/>
                  <a:gd name="connsiteX10" fmla="*/ 38957 w 188023"/>
                  <a:gd name="connsiteY10" fmla="*/ 104870 h 395001"/>
                  <a:gd name="connsiteX11" fmla="*/ 129349 w 188023"/>
                  <a:gd name="connsiteY11" fmla="*/ 0 h 395001"/>
                  <a:gd name="connsiteX12" fmla="*/ 188023 w 188023"/>
                  <a:gd name="connsiteY12" fmla="*/ 9716 h 395001"/>
                  <a:gd name="connsiteX13" fmla="*/ 177546 w 188023"/>
                  <a:gd name="connsiteY13" fmla="*/ 62770 h 395001"/>
                  <a:gd name="connsiteX14" fmla="*/ 137636 w 188023"/>
                  <a:gd name="connsiteY14" fmla="*/ 47625 h 395001"/>
                  <a:gd name="connsiteX15" fmla="*/ 101917 w 188023"/>
                  <a:gd name="connsiteY15" fmla="*/ 90106 h 395001"/>
                  <a:gd name="connsiteX16" fmla="*/ 101917 w 188023"/>
                  <a:gd name="connsiteY16" fmla="*/ 118967 h 395001"/>
                  <a:gd name="connsiteX17" fmla="*/ 158877 w 188023"/>
                  <a:gd name="connsiteY17" fmla="*/ 118967 h 395001"/>
                  <a:gd name="connsiteX18" fmla="*/ 158877 w 188023"/>
                  <a:gd name="connsiteY18" fmla="*/ 169831 h 39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8023" h="395001">
                    <a:moveTo>
                      <a:pt x="158782" y="169831"/>
                    </a:moveTo>
                    <a:lnTo>
                      <a:pt x="101822" y="169831"/>
                    </a:lnTo>
                    <a:lnTo>
                      <a:pt x="101822" y="328232"/>
                    </a:lnTo>
                    <a:cubicBezTo>
                      <a:pt x="101822" y="366046"/>
                      <a:pt x="108680" y="379190"/>
                      <a:pt x="116491" y="393954"/>
                    </a:cubicBezTo>
                    <a:lnTo>
                      <a:pt x="23717" y="395002"/>
                    </a:lnTo>
                    <a:cubicBezTo>
                      <a:pt x="36290" y="371856"/>
                      <a:pt x="38957" y="352996"/>
                      <a:pt x="38957" y="324041"/>
                    </a:cubicBezTo>
                    <a:lnTo>
                      <a:pt x="38957" y="169831"/>
                    </a:lnTo>
                    <a:lnTo>
                      <a:pt x="0" y="168783"/>
                    </a:lnTo>
                    <a:cubicBezTo>
                      <a:pt x="10192" y="155734"/>
                      <a:pt x="24479" y="121253"/>
                      <a:pt x="24479" y="121253"/>
                    </a:cubicBezTo>
                    <a:lnTo>
                      <a:pt x="38957" y="121158"/>
                    </a:lnTo>
                    <a:lnTo>
                      <a:pt x="38957" y="104870"/>
                    </a:lnTo>
                    <a:cubicBezTo>
                      <a:pt x="38957" y="65246"/>
                      <a:pt x="52006" y="0"/>
                      <a:pt x="129349" y="0"/>
                    </a:cubicBezTo>
                    <a:cubicBezTo>
                      <a:pt x="149352" y="0"/>
                      <a:pt x="173831" y="6572"/>
                      <a:pt x="188023" y="9716"/>
                    </a:cubicBezTo>
                    <a:cubicBezTo>
                      <a:pt x="182785" y="36004"/>
                      <a:pt x="181165" y="37529"/>
                      <a:pt x="177546" y="62770"/>
                    </a:cubicBezTo>
                    <a:cubicBezTo>
                      <a:pt x="171259" y="49625"/>
                      <a:pt x="156019" y="47625"/>
                      <a:pt x="137636" y="47625"/>
                    </a:cubicBezTo>
                    <a:cubicBezTo>
                      <a:pt x="116395" y="47625"/>
                      <a:pt x="101917" y="73819"/>
                      <a:pt x="101917" y="90106"/>
                    </a:cubicBezTo>
                    <a:lnTo>
                      <a:pt x="101917" y="118967"/>
                    </a:lnTo>
                    <a:lnTo>
                      <a:pt x="158877" y="118967"/>
                    </a:lnTo>
                    <a:lnTo>
                      <a:pt x="158877" y="169831"/>
                    </a:lnTo>
                    <a:close/>
                  </a:path>
                </a:pathLst>
              </a:custGeom>
              <a:grpFill/>
              <a:ln w="9525" cap="flat">
                <a:noFill/>
                <a:prstDash val="solid"/>
                <a:miter/>
              </a:ln>
            </p:spPr>
            <p:txBody>
              <a:bodyPr rtlCol="0" anchor="ctr"/>
              <a:lstStyle/>
              <a:p>
                <a:endParaRPr lang="en-US" sz="1050"/>
              </a:p>
            </p:txBody>
          </p:sp>
          <p:sp>
            <p:nvSpPr>
              <p:cNvPr id="92" name="Vrije vorm: vorm 91">
                <a:extLst>
                  <a:ext uri="{FF2B5EF4-FFF2-40B4-BE49-F238E27FC236}">
                    <a16:creationId xmlns:a16="http://schemas.microsoft.com/office/drawing/2014/main" id="{8FA2E55B-4126-426C-B9E1-45FB773181DA}"/>
                  </a:ext>
                </a:extLst>
              </p:cNvPr>
              <p:cNvSpPr/>
              <p:nvPr/>
            </p:nvSpPr>
            <p:spPr>
              <a:xfrm>
                <a:off x="7491261" y="5168829"/>
                <a:ext cx="175355" cy="282511"/>
              </a:xfrm>
              <a:custGeom>
                <a:avLst/>
                <a:gdLst>
                  <a:gd name="connsiteX0" fmla="*/ 86868 w 175355"/>
                  <a:gd name="connsiteY0" fmla="*/ 7144 h 282511"/>
                  <a:gd name="connsiteX1" fmla="*/ 84201 w 175355"/>
                  <a:gd name="connsiteY1" fmla="*/ 44958 h 282511"/>
                  <a:gd name="connsiteX2" fmla="*/ 84201 w 175355"/>
                  <a:gd name="connsiteY2" fmla="*/ 58293 h 282511"/>
                  <a:gd name="connsiteX3" fmla="*/ 147161 w 175355"/>
                  <a:gd name="connsiteY3" fmla="*/ 0 h 282511"/>
                  <a:gd name="connsiteX4" fmla="*/ 175355 w 175355"/>
                  <a:gd name="connsiteY4" fmla="*/ 9716 h 282511"/>
                  <a:gd name="connsiteX5" fmla="*/ 166402 w 175355"/>
                  <a:gd name="connsiteY5" fmla="*/ 73057 h 282511"/>
                  <a:gd name="connsiteX6" fmla="*/ 138875 w 175355"/>
                  <a:gd name="connsiteY6" fmla="*/ 58865 h 282511"/>
                  <a:gd name="connsiteX7" fmla="*/ 84201 w 175355"/>
                  <a:gd name="connsiteY7" fmla="*/ 97536 h 282511"/>
                  <a:gd name="connsiteX8" fmla="*/ 84201 w 175355"/>
                  <a:gd name="connsiteY8" fmla="*/ 217837 h 282511"/>
                  <a:gd name="connsiteX9" fmla="*/ 97917 w 175355"/>
                  <a:gd name="connsiteY9" fmla="*/ 282512 h 282511"/>
                  <a:gd name="connsiteX10" fmla="*/ 0 w 175355"/>
                  <a:gd name="connsiteY10" fmla="*/ 282512 h 282511"/>
                  <a:gd name="connsiteX11" fmla="*/ 13621 w 175355"/>
                  <a:gd name="connsiteY11" fmla="*/ 229934 h 282511"/>
                  <a:gd name="connsiteX12" fmla="*/ 13621 w 175355"/>
                  <a:gd name="connsiteY12" fmla="*/ 55055 h 282511"/>
                  <a:gd name="connsiteX13" fmla="*/ 4667 w 175355"/>
                  <a:gd name="connsiteY13" fmla="*/ 7239 h 282511"/>
                  <a:gd name="connsiteX14" fmla="*/ 86868 w 175355"/>
                  <a:gd name="connsiteY14" fmla="*/ 7239 h 28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5355" h="282511">
                    <a:moveTo>
                      <a:pt x="86868" y="7144"/>
                    </a:moveTo>
                    <a:cubicBezTo>
                      <a:pt x="84201" y="21336"/>
                      <a:pt x="84201" y="27146"/>
                      <a:pt x="84201" y="44958"/>
                    </a:cubicBezTo>
                    <a:lnTo>
                      <a:pt x="84201" y="58293"/>
                    </a:lnTo>
                    <a:cubicBezTo>
                      <a:pt x="111442" y="18288"/>
                      <a:pt x="126016" y="0"/>
                      <a:pt x="147161" y="0"/>
                    </a:cubicBezTo>
                    <a:cubicBezTo>
                      <a:pt x="158686" y="0"/>
                      <a:pt x="166878" y="5525"/>
                      <a:pt x="175355" y="9716"/>
                    </a:cubicBezTo>
                    <a:lnTo>
                      <a:pt x="166402" y="73057"/>
                    </a:lnTo>
                    <a:cubicBezTo>
                      <a:pt x="156496" y="63341"/>
                      <a:pt x="149733" y="58865"/>
                      <a:pt x="138875" y="58865"/>
                    </a:cubicBezTo>
                    <a:cubicBezTo>
                      <a:pt x="109919" y="58865"/>
                      <a:pt x="94774" y="87630"/>
                      <a:pt x="84201" y="97536"/>
                    </a:cubicBezTo>
                    <a:lnTo>
                      <a:pt x="84201" y="217837"/>
                    </a:lnTo>
                    <a:cubicBezTo>
                      <a:pt x="84201" y="257842"/>
                      <a:pt x="88392" y="266700"/>
                      <a:pt x="97917" y="282512"/>
                    </a:cubicBezTo>
                    <a:lnTo>
                      <a:pt x="0" y="282512"/>
                    </a:lnTo>
                    <a:cubicBezTo>
                      <a:pt x="11049" y="265176"/>
                      <a:pt x="13621" y="256222"/>
                      <a:pt x="13621" y="229934"/>
                    </a:cubicBezTo>
                    <a:lnTo>
                      <a:pt x="13621" y="55055"/>
                    </a:lnTo>
                    <a:cubicBezTo>
                      <a:pt x="13621" y="45053"/>
                      <a:pt x="13621" y="33528"/>
                      <a:pt x="4667" y="7239"/>
                    </a:cubicBezTo>
                    <a:lnTo>
                      <a:pt x="86868" y="7239"/>
                    </a:lnTo>
                    <a:close/>
                  </a:path>
                </a:pathLst>
              </a:custGeom>
              <a:grpFill/>
              <a:ln w="9525" cap="flat">
                <a:noFill/>
                <a:prstDash val="solid"/>
                <a:miter/>
              </a:ln>
            </p:spPr>
            <p:txBody>
              <a:bodyPr rtlCol="0" anchor="ctr"/>
              <a:lstStyle/>
              <a:p>
                <a:endParaRPr lang="en-US" sz="1050"/>
              </a:p>
            </p:txBody>
          </p:sp>
          <p:sp>
            <p:nvSpPr>
              <p:cNvPr id="93" name="Vrije vorm: vorm 92">
                <a:extLst>
                  <a:ext uri="{FF2B5EF4-FFF2-40B4-BE49-F238E27FC236}">
                    <a16:creationId xmlns:a16="http://schemas.microsoft.com/office/drawing/2014/main" id="{CDC423DD-2442-43C8-AE59-45B5FF82260A}"/>
                  </a:ext>
                </a:extLst>
              </p:cNvPr>
              <p:cNvSpPr/>
              <p:nvPr/>
            </p:nvSpPr>
            <p:spPr>
              <a:xfrm>
                <a:off x="7686143" y="5170829"/>
                <a:ext cx="216904" cy="286607"/>
              </a:xfrm>
              <a:custGeom>
                <a:avLst/>
                <a:gdLst>
                  <a:gd name="connsiteX0" fmla="*/ 67342 w 216904"/>
                  <a:gd name="connsiteY0" fmla="*/ 114300 h 286607"/>
                  <a:gd name="connsiteX1" fmla="*/ 110585 w 216904"/>
                  <a:gd name="connsiteY1" fmla="*/ 47530 h 286607"/>
                  <a:gd name="connsiteX2" fmla="*/ 150781 w 216904"/>
                  <a:gd name="connsiteY2" fmla="*/ 114300 h 286607"/>
                  <a:gd name="connsiteX3" fmla="*/ 67342 w 216904"/>
                  <a:gd name="connsiteY3" fmla="*/ 114300 h 286607"/>
                  <a:gd name="connsiteX4" fmla="*/ 211169 w 216904"/>
                  <a:gd name="connsiteY4" fmla="*/ 210979 h 286607"/>
                  <a:gd name="connsiteX5" fmla="*/ 153638 w 216904"/>
                  <a:gd name="connsiteY5" fmla="*/ 229648 h 286607"/>
                  <a:gd name="connsiteX6" fmla="*/ 71819 w 216904"/>
                  <a:gd name="connsiteY6" fmla="*/ 158210 h 286607"/>
                  <a:gd name="connsiteX7" fmla="*/ 216884 w 216904"/>
                  <a:gd name="connsiteY7" fmla="*/ 155067 h 286607"/>
                  <a:gd name="connsiteX8" fmla="*/ 213741 w 216904"/>
                  <a:gd name="connsiteY8" fmla="*/ 82772 h 286607"/>
                  <a:gd name="connsiteX9" fmla="*/ 116205 w 216904"/>
                  <a:gd name="connsiteY9" fmla="*/ 0 h 286607"/>
                  <a:gd name="connsiteX10" fmla="*/ 0 w 216904"/>
                  <a:gd name="connsiteY10" fmla="*/ 144875 h 286607"/>
                  <a:gd name="connsiteX11" fmla="*/ 124396 w 216904"/>
                  <a:gd name="connsiteY11" fmla="*/ 286607 h 286607"/>
                  <a:gd name="connsiteX12" fmla="*/ 185357 w 216904"/>
                  <a:gd name="connsiteY12" fmla="*/ 274511 h 286607"/>
                  <a:gd name="connsiteX13" fmla="*/ 211169 w 216904"/>
                  <a:gd name="connsiteY13" fmla="*/ 210979 h 28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904" h="286607">
                    <a:moveTo>
                      <a:pt x="67342" y="114300"/>
                    </a:moveTo>
                    <a:cubicBezTo>
                      <a:pt x="71533" y="67532"/>
                      <a:pt x="91250" y="47530"/>
                      <a:pt x="110585" y="47530"/>
                    </a:cubicBezTo>
                    <a:cubicBezTo>
                      <a:pt x="131921" y="47530"/>
                      <a:pt x="152305" y="64294"/>
                      <a:pt x="150781" y="114300"/>
                    </a:cubicBezTo>
                    <a:lnTo>
                      <a:pt x="67342" y="114300"/>
                    </a:lnTo>
                    <a:close/>
                    <a:moveTo>
                      <a:pt x="211169" y="210979"/>
                    </a:moveTo>
                    <a:cubicBezTo>
                      <a:pt x="180213" y="225171"/>
                      <a:pt x="175736" y="229648"/>
                      <a:pt x="153638" y="229648"/>
                    </a:cubicBezTo>
                    <a:cubicBezTo>
                      <a:pt x="92678" y="229648"/>
                      <a:pt x="73438" y="177165"/>
                      <a:pt x="71819" y="158210"/>
                    </a:cubicBezTo>
                    <a:lnTo>
                      <a:pt x="216884" y="155067"/>
                    </a:lnTo>
                    <a:cubicBezTo>
                      <a:pt x="216884" y="125158"/>
                      <a:pt x="217361" y="104775"/>
                      <a:pt x="213741" y="82772"/>
                    </a:cubicBezTo>
                    <a:cubicBezTo>
                      <a:pt x="205835" y="30194"/>
                      <a:pt x="161354" y="0"/>
                      <a:pt x="116205" y="0"/>
                    </a:cubicBezTo>
                    <a:cubicBezTo>
                      <a:pt x="51530" y="0"/>
                      <a:pt x="0" y="53340"/>
                      <a:pt x="0" y="144875"/>
                    </a:cubicBezTo>
                    <a:cubicBezTo>
                      <a:pt x="0" y="206883"/>
                      <a:pt x="36576" y="286607"/>
                      <a:pt x="124396" y="286607"/>
                    </a:cubicBezTo>
                    <a:cubicBezTo>
                      <a:pt x="150114" y="286607"/>
                      <a:pt x="168497" y="280321"/>
                      <a:pt x="185357" y="274511"/>
                    </a:cubicBezTo>
                    <a:lnTo>
                      <a:pt x="211169" y="210979"/>
                    </a:lnTo>
                    <a:close/>
                  </a:path>
                </a:pathLst>
              </a:custGeom>
              <a:grpFill/>
              <a:ln w="9525" cap="flat">
                <a:noFill/>
                <a:prstDash val="solid"/>
                <a:miter/>
              </a:ln>
            </p:spPr>
            <p:txBody>
              <a:bodyPr rtlCol="0" anchor="ctr"/>
              <a:lstStyle/>
              <a:p>
                <a:endParaRPr lang="en-US" sz="1050"/>
              </a:p>
            </p:txBody>
          </p:sp>
          <p:sp>
            <p:nvSpPr>
              <p:cNvPr id="94" name="Vrije vorm: vorm 93">
                <a:extLst>
                  <a:ext uri="{FF2B5EF4-FFF2-40B4-BE49-F238E27FC236}">
                    <a16:creationId xmlns:a16="http://schemas.microsoft.com/office/drawing/2014/main" id="{AB13B440-6DAF-4577-A2F2-B3828A0FDF9C}"/>
                  </a:ext>
                </a:extLst>
              </p:cNvPr>
              <p:cNvSpPr/>
              <p:nvPr/>
            </p:nvSpPr>
            <p:spPr>
              <a:xfrm>
                <a:off x="7932269" y="5170639"/>
                <a:ext cx="156114" cy="286988"/>
              </a:xfrm>
              <a:custGeom>
                <a:avLst/>
                <a:gdLst>
                  <a:gd name="connsiteX0" fmla="*/ 152876 w 156114"/>
                  <a:gd name="connsiteY0" fmla="*/ 61055 h 286988"/>
                  <a:gd name="connsiteX1" fmla="*/ 110585 w 156114"/>
                  <a:gd name="connsiteY1" fmla="*/ 48482 h 286988"/>
                  <a:gd name="connsiteX2" fmla="*/ 76486 w 156114"/>
                  <a:gd name="connsiteY2" fmla="*/ 73628 h 286988"/>
                  <a:gd name="connsiteX3" fmla="*/ 114586 w 156114"/>
                  <a:gd name="connsiteY3" fmla="*/ 119824 h 286988"/>
                  <a:gd name="connsiteX4" fmla="*/ 156115 w 156114"/>
                  <a:gd name="connsiteY4" fmla="*/ 201835 h 286988"/>
                  <a:gd name="connsiteX5" fmla="*/ 66199 w 156114"/>
                  <a:gd name="connsiteY5" fmla="*/ 286988 h 286988"/>
                  <a:gd name="connsiteX6" fmla="*/ 0 w 156114"/>
                  <a:gd name="connsiteY6" fmla="*/ 274130 h 286988"/>
                  <a:gd name="connsiteX7" fmla="*/ 762 w 156114"/>
                  <a:gd name="connsiteY7" fmla="*/ 208978 h 286988"/>
                  <a:gd name="connsiteX8" fmla="*/ 64103 w 156114"/>
                  <a:gd name="connsiteY8" fmla="*/ 239649 h 286988"/>
                  <a:gd name="connsiteX9" fmla="*/ 92964 w 156114"/>
                  <a:gd name="connsiteY9" fmla="*/ 213931 h 286988"/>
                  <a:gd name="connsiteX10" fmla="*/ 60960 w 156114"/>
                  <a:gd name="connsiteY10" fmla="*/ 168212 h 286988"/>
                  <a:gd name="connsiteX11" fmla="*/ 8382 w 156114"/>
                  <a:gd name="connsiteY11" fmla="*/ 83058 h 286988"/>
                  <a:gd name="connsiteX12" fmla="*/ 100394 w 156114"/>
                  <a:gd name="connsiteY12" fmla="*/ 0 h 286988"/>
                  <a:gd name="connsiteX13" fmla="*/ 152971 w 156114"/>
                  <a:gd name="connsiteY13" fmla="*/ 11525 h 286988"/>
                  <a:gd name="connsiteX14" fmla="*/ 152971 w 156114"/>
                  <a:gd name="connsiteY14" fmla="*/ 61055 h 28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114" h="286988">
                    <a:moveTo>
                      <a:pt x="152876" y="61055"/>
                    </a:moveTo>
                    <a:cubicBezTo>
                      <a:pt x="141351" y="51149"/>
                      <a:pt x="123063" y="48482"/>
                      <a:pt x="110585" y="48482"/>
                    </a:cubicBezTo>
                    <a:cubicBezTo>
                      <a:pt x="94298" y="48482"/>
                      <a:pt x="76486" y="60103"/>
                      <a:pt x="76486" y="73628"/>
                    </a:cubicBezTo>
                    <a:cubicBezTo>
                      <a:pt x="76486" y="94678"/>
                      <a:pt x="94869" y="105061"/>
                      <a:pt x="114586" y="119824"/>
                    </a:cubicBezTo>
                    <a:cubicBezTo>
                      <a:pt x="141827" y="140398"/>
                      <a:pt x="156115" y="163449"/>
                      <a:pt x="156115" y="201835"/>
                    </a:cubicBezTo>
                    <a:cubicBezTo>
                      <a:pt x="156115" y="248603"/>
                      <a:pt x="125063" y="286988"/>
                      <a:pt x="66199" y="286988"/>
                    </a:cubicBezTo>
                    <a:cubicBezTo>
                      <a:pt x="59341" y="286988"/>
                      <a:pt x="33623" y="284131"/>
                      <a:pt x="0" y="274130"/>
                    </a:cubicBezTo>
                    <a:lnTo>
                      <a:pt x="762" y="208978"/>
                    </a:lnTo>
                    <a:cubicBezTo>
                      <a:pt x="26575" y="231839"/>
                      <a:pt x="48292" y="239839"/>
                      <a:pt x="64103" y="239649"/>
                    </a:cubicBezTo>
                    <a:cubicBezTo>
                      <a:pt x="79915" y="239458"/>
                      <a:pt x="92583" y="228791"/>
                      <a:pt x="92964" y="213931"/>
                    </a:cubicBezTo>
                    <a:cubicBezTo>
                      <a:pt x="93345" y="201644"/>
                      <a:pt x="86487" y="190500"/>
                      <a:pt x="60960" y="168212"/>
                    </a:cubicBezTo>
                    <a:cubicBezTo>
                      <a:pt x="44958" y="154210"/>
                      <a:pt x="8382" y="127159"/>
                      <a:pt x="8382" y="83058"/>
                    </a:cubicBezTo>
                    <a:cubicBezTo>
                      <a:pt x="8382" y="52578"/>
                      <a:pt x="34671" y="0"/>
                      <a:pt x="100394" y="0"/>
                    </a:cubicBezTo>
                    <a:cubicBezTo>
                      <a:pt x="121920" y="0"/>
                      <a:pt x="133541" y="4191"/>
                      <a:pt x="152971" y="11525"/>
                    </a:cubicBezTo>
                    <a:lnTo>
                      <a:pt x="152971" y="61055"/>
                    </a:lnTo>
                    <a:close/>
                  </a:path>
                </a:pathLst>
              </a:custGeom>
              <a:grpFill/>
              <a:ln w="9525" cap="flat">
                <a:noFill/>
                <a:prstDash val="solid"/>
                <a:miter/>
              </a:ln>
            </p:spPr>
            <p:txBody>
              <a:bodyPr rtlCol="0" anchor="ctr"/>
              <a:lstStyle/>
              <a:p>
                <a:endParaRPr lang="en-US" sz="1050"/>
              </a:p>
            </p:txBody>
          </p:sp>
          <p:sp>
            <p:nvSpPr>
              <p:cNvPr id="95" name="Vrije vorm: vorm 94">
                <a:extLst>
                  <a:ext uri="{FF2B5EF4-FFF2-40B4-BE49-F238E27FC236}">
                    <a16:creationId xmlns:a16="http://schemas.microsoft.com/office/drawing/2014/main" id="{96D4C30F-8D6E-4038-92CA-529E81D92396}"/>
                  </a:ext>
                </a:extLst>
              </p:cNvPr>
              <p:cNvSpPr/>
              <p:nvPr/>
            </p:nvSpPr>
            <p:spPr>
              <a:xfrm>
                <a:off x="8116958" y="5172163"/>
                <a:ext cx="214883" cy="283940"/>
              </a:xfrm>
              <a:custGeom>
                <a:avLst/>
                <a:gdLst>
                  <a:gd name="connsiteX0" fmla="*/ 200882 w 214883"/>
                  <a:gd name="connsiteY0" fmla="*/ 72676 h 283940"/>
                  <a:gd name="connsiteX1" fmla="*/ 146495 w 214883"/>
                  <a:gd name="connsiteY1" fmla="*/ 46863 h 283940"/>
                  <a:gd name="connsiteX2" fmla="*/ 73819 w 214883"/>
                  <a:gd name="connsiteY2" fmla="*/ 139446 h 283940"/>
                  <a:gd name="connsiteX3" fmla="*/ 156782 w 214883"/>
                  <a:gd name="connsiteY3" fmla="*/ 228790 h 283940"/>
                  <a:gd name="connsiteX4" fmla="*/ 214884 w 214883"/>
                  <a:gd name="connsiteY4" fmla="*/ 211550 h 283940"/>
                  <a:gd name="connsiteX5" fmla="*/ 188024 w 214883"/>
                  <a:gd name="connsiteY5" fmla="*/ 280416 h 283940"/>
                  <a:gd name="connsiteX6" fmla="*/ 127730 w 214883"/>
                  <a:gd name="connsiteY6" fmla="*/ 283940 h 283940"/>
                  <a:gd name="connsiteX7" fmla="*/ 0 w 214883"/>
                  <a:gd name="connsiteY7" fmla="*/ 154686 h 283940"/>
                  <a:gd name="connsiteX8" fmla="*/ 151352 w 214883"/>
                  <a:gd name="connsiteY8" fmla="*/ 0 h 283940"/>
                  <a:gd name="connsiteX9" fmla="*/ 206312 w 214883"/>
                  <a:gd name="connsiteY9" fmla="*/ 8572 h 283940"/>
                  <a:gd name="connsiteX10" fmla="*/ 200882 w 214883"/>
                  <a:gd name="connsiteY10" fmla="*/ 72676 h 28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883" h="283940">
                    <a:moveTo>
                      <a:pt x="200882" y="72676"/>
                    </a:moveTo>
                    <a:cubicBezTo>
                      <a:pt x="195834" y="67437"/>
                      <a:pt x="178689" y="46863"/>
                      <a:pt x="146495" y="46863"/>
                    </a:cubicBezTo>
                    <a:cubicBezTo>
                      <a:pt x="90678" y="46863"/>
                      <a:pt x="73819" y="104775"/>
                      <a:pt x="73819" y="139446"/>
                    </a:cubicBezTo>
                    <a:cubicBezTo>
                      <a:pt x="73819" y="206216"/>
                      <a:pt x="134017" y="228790"/>
                      <a:pt x="156782" y="228790"/>
                    </a:cubicBezTo>
                    <a:cubicBezTo>
                      <a:pt x="180404" y="228790"/>
                      <a:pt x="201454" y="219075"/>
                      <a:pt x="214884" y="211550"/>
                    </a:cubicBezTo>
                    <a:lnTo>
                      <a:pt x="188024" y="280416"/>
                    </a:lnTo>
                    <a:cubicBezTo>
                      <a:pt x="173450" y="283083"/>
                      <a:pt x="147733" y="283940"/>
                      <a:pt x="127730" y="283940"/>
                    </a:cubicBezTo>
                    <a:cubicBezTo>
                      <a:pt x="60293" y="283940"/>
                      <a:pt x="0" y="219075"/>
                      <a:pt x="0" y="154686"/>
                    </a:cubicBezTo>
                    <a:cubicBezTo>
                      <a:pt x="0" y="96298"/>
                      <a:pt x="30671" y="0"/>
                      <a:pt x="151352" y="0"/>
                    </a:cubicBezTo>
                    <a:cubicBezTo>
                      <a:pt x="175546" y="0"/>
                      <a:pt x="192119" y="6001"/>
                      <a:pt x="206312" y="8572"/>
                    </a:cubicBezTo>
                    <a:lnTo>
                      <a:pt x="200882" y="72676"/>
                    </a:lnTo>
                    <a:close/>
                  </a:path>
                </a:pathLst>
              </a:custGeom>
              <a:grpFill/>
              <a:ln w="9525" cap="flat">
                <a:noFill/>
                <a:prstDash val="solid"/>
                <a:miter/>
              </a:ln>
            </p:spPr>
            <p:txBody>
              <a:bodyPr rtlCol="0" anchor="ctr"/>
              <a:lstStyle/>
              <a:p>
                <a:endParaRPr lang="en-US" sz="1050"/>
              </a:p>
            </p:txBody>
          </p:sp>
          <p:sp>
            <p:nvSpPr>
              <p:cNvPr id="96" name="Vrije vorm: vorm 95">
                <a:extLst>
                  <a:ext uri="{FF2B5EF4-FFF2-40B4-BE49-F238E27FC236}">
                    <a16:creationId xmlns:a16="http://schemas.microsoft.com/office/drawing/2014/main" id="{E75611CB-5C81-490A-A72E-0DAA43DFB62D}"/>
                  </a:ext>
                </a:extLst>
              </p:cNvPr>
              <p:cNvSpPr/>
              <p:nvPr/>
            </p:nvSpPr>
            <p:spPr>
              <a:xfrm>
                <a:off x="8354703" y="5169881"/>
                <a:ext cx="262318" cy="288698"/>
              </a:xfrm>
              <a:custGeom>
                <a:avLst/>
                <a:gdLst>
                  <a:gd name="connsiteX0" fmla="*/ 150590 w 262318"/>
                  <a:gd name="connsiteY0" fmla="*/ 240502 h 288698"/>
                  <a:gd name="connsiteX1" fmla="*/ 67913 w 262318"/>
                  <a:gd name="connsiteY1" fmla="*/ 141442 h 288698"/>
                  <a:gd name="connsiteX2" fmla="*/ 108490 w 262318"/>
                  <a:gd name="connsiteY2" fmla="*/ 46002 h 288698"/>
                  <a:gd name="connsiteX3" fmla="*/ 186785 w 262318"/>
                  <a:gd name="connsiteY3" fmla="*/ 145824 h 288698"/>
                  <a:gd name="connsiteX4" fmla="*/ 150590 w 262318"/>
                  <a:gd name="connsiteY4" fmla="*/ 240502 h 288698"/>
                  <a:gd name="connsiteX5" fmla="*/ 110871 w 262318"/>
                  <a:gd name="connsiteY5" fmla="*/ 91 h 288698"/>
                  <a:gd name="connsiteX6" fmla="*/ 0 w 262318"/>
                  <a:gd name="connsiteY6" fmla="*/ 154873 h 288698"/>
                  <a:gd name="connsiteX7" fmla="*/ 128302 w 262318"/>
                  <a:gd name="connsiteY7" fmla="*/ 288699 h 288698"/>
                  <a:gd name="connsiteX8" fmla="*/ 262318 w 262318"/>
                  <a:gd name="connsiteY8" fmla="*/ 134965 h 288698"/>
                  <a:gd name="connsiteX9" fmla="*/ 110871 w 262318"/>
                  <a:gd name="connsiteY9" fmla="*/ 91 h 28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318" h="288698">
                    <a:moveTo>
                      <a:pt x="150590" y="240502"/>
                    </a:moveTo>
                    <a:cubicBezTo>
                      <a:pt x="103822" y="244408"/>
                      <a:pt x="67913" y="181638"/>
                      <a:pt x="67913" y="141442"/>
                    </a:cubicBezTo>
                    <a:cubicBezTo>
                      <a:pt x="67913" y="101247"/>
                      <a:pt x="95917" y="46002"/>
                      <a:pt x="108490" y="46002"/>
                    </a:cubicBezTo>
                    <a:cubicBezTo>
                      <a:pt x="137160" y="46002"/>
                      <a:pt x="186785" y="79244"/>
                      <a:pt x="186785" y="145824"/>
                    </a:cubicBezTo>
                    <a:cubicBezTo>
                      <a:pt x="186785" y="207546"/>
                      <a:pt x="158020" y="234597"/>
                      <a:pt x="150590" y="240502"/>
                    </a:cubicBezTo>
                    <a:close/>
                    <a:moveTo>
                      <a:pt x="110871" y="91"/>
                    </a:moveTo>
                    <a:cubicBezTo>
                      <a:pt x="65627" y="13712"/>
                      <a:pt x="0" y="40287"/>
                      <a:pt x="0" y="154873"/>
                    </a:cubicBezTo>
                    <a:cubicBezTo>
                      <a:pt x="0" y="250504"/>
                      <a:pt x="74676" y="288699"/>
                      <a:pt x="128302" y="288699"/>
                    </a:cubicBezTo>
                    <a:cubicBezTo>
                      <a:pt x="161925" y="288699"/>
                      <a:pt x="262318" y="254790"/>
                      <a:pt x="262318" y="134965"/>
                    </a:cubicBezTo>
                    <a:cubicBezTo>
                      <a:pt x="262414" y="53431"/>
                      <a:pt x="186023" y="-2576"/>
                      <a:pt x="110871" y="91"/>
                    </a:cubicBezTo>
                    <a:close/>
                  </a:path>
                </a:pathLst>
              </a:custGeom>
              <a:grpFill/>
              <a:ln w="9525" cap="flat">
                <a:noFill/>
                <a:prstDash val="solid"/>
                <a:miter/>
              </a:ln>
            </p:spPr>
            <p:txBody>
              <a:bodyPr rtlCol="0" anchor="ctr"/>
              <a:lstStyle/>
              <a:p>
                <a:endParaRPr lang="en-US" sz="1050"/>
              </a:p>
            </p:txBody>
          </p:sp>
        </p:grpSp>
        <p:sp>
          <p:nvSpPr>
            <p:cNvPr id="88" name="Vrije vorm: vorm 87">
              <a:extLst>
                <a:ext uri="{FF2B5EF4-FFF2-40B4-BE49-F238E27FC236}">
                  <a16:creationId xmlns:a16="http://schemas.microsoft.com/office/drawing/2014/main" id="{77C52499-13C4-4881-A116-521814D9D348}"/>
                </a:ext>
              </a:extLst>
            </p:cNvPr>
            <p:cNvSpPr/>
            <p:nvPr/>
          </p:nvSpPr>
          <p:spPr>
            <a:xfrm>
              <a:off x="6610866" y="4731155"/>
              <a:ext cx="2143791" cy="273843"/>
            </a:xfrm>
            <a:custGeom>
              <a:avLst/>
              <a:gdLst>
                <a:gd name="connsiteX0" fmla="*/ 2143792 w 2143791"/>
                <a:gd name="connsiteY0" fmla="*/ 273844 h 273843"/>
                <a:gd name="connsiteX1" fmla="*/ 2120837 w 2143791"/>
                <a:gd name="connsiteY1" fmla="*/ 264224 h 273843"/>
                <a:gd name="connsiteX2" fmla="*/ 2055209 w 2143791"/>
                <a:gd name="connsiteY2" fmla="*/ 239268 h 273843"/>
                <a:gd name="connsiteX3" fmla="*/ 2007965 w 2143791"/>
                <a:gd name="connsiteY3" fmla="*/ 223076 h 273843"/>
                <a:gd name="connsiteX4" fmla="*/ 1951958 w 2143791"/>
                <a:gd name="connsiteY4" fmla="*/ 205169 h 273843"/>
                <a:gd name="connsiteX5" fmla="*/ 1920907 w 2143791"/>
                <a:gd name="connsiteY5" fmla="*/ 195739 h 273843"/>
                <a:gd name="connsiteX6" fmla="*/ 1887760 w 2143791"/>
                <a:gd name="connsiteY6" fmla="*/ 186595 h 273843"/>
                <a:gd name="connsiteX7" fmla="*/ 1852993 w 2143791"/>
                <a:gd name="connsiteY7" fmla="*/ 176975 h 273843"/>
                <a:gd name="connsiteX8" fmla="*/ 1816322 w 2143791"/>
                <a:gd name="connsiteY8" fmla="*/ 167831 h 273843"/>
                <a:gd name="connsiteX9" fmla="*/ 1778127 w 2143791"/>
                <a:gd name="connsiteY9" fmla="*/ 158306 h 273843"/>
                <a:gd name="connsiteX10" fmla="*/ 1738217 w 2143791"/>
                <a:gd name="connsiteY10" fmla="*/ 149638 h 273843"/>
                <a:gd name="connsiteX11" fmla="*/ 1696974 w 2143791"/>
                <a:gd name="connsiteY11" fmla="*/ 140494 h 273843"/>
                <a:gd name="connsiteX12" fmla="*/ 1654207 w 2143791"/>
                <a:gd name="connsiteY12" fmla="*/ 132493 h 273843"/>
                <a:gd name="connsiteX13" fmla="*/ 1610297 w 2143791"/>
                <a:gd name="connsiteY13" fmla="*/ 124111 h 273843"/>
                <a:gd name="connsiteX14" fmla="*/ 1565053 w 2143791"/>
                <a:gd name="connsiteY14" fmla="*/ 116967 h 273843"/>
                <a:gd name="connsiteX15" fmla="*/ 1518857 w 2143791"/>
                <a:gd name="connsiteY15" fmla="*/ 109633 h 273843"/>
                <a:gd name="connsiteX16" fmla="*/ 1471613 w 2143791"/>
                <a:gd name="connsiteY16" fmla="*/ 103632 h 273843"/>
                <a:gd name="connsiteX17" fmla="*/ 1374743 w 2143791"/>
                <a:gd name="connsiteY17" fmla="*/ 92869 h 273843"/>
                <a:gd name="connsiteX18" fmla="*/ 1325309 w 2143791"/>
                <a:gd name="connsiteY18" fmla="*/ 88392 h 273843"/>
                <a:gd name="connsiteX19" fmla="*/ 1275302 w 2143791"/>
                <a:gd name="connsiteY19" fmla="*/ 84868 h 273843"/>
                <a:gd name="connsiteX20" fmla="*/ 1224820 w 2143791"/>
                <a:gd name="connsiteY20" fmla="*/ 82106 h 273843"/>
                <a:gd name="connsiteX21" fmla="*/ 1174052 w 2143791"/>
                <a:gd name="connsiteY21" fmla="*/ 79915 h 273843"/>
                <a:gd name="connsiteX22" fmla="*/ 1071848 w 2143791"/>
                <a:gd name="connsiteY22" fmla="*/ 78010 h 273843"/>
                <a:gd name="connsiteX23" fmla="*/ 969074 w 2143791"/>
                <a:gd name="connsiteY23" fmla="*/ 79915 h 273843"/>
                <a:gd name="connsiteX24" fmla="*/ 918305 w 2143791"/>
                <a:gd name="connsiteY24" fmla="*/ 82106 h 273843"/>
                <a:gd name="connsiteX25" fmla="*/ 868204 w 2143791"/>
                <a:gd name="connsiteY25" fmla="*/ 84868 h 273843"/>
                <a:gd name="connsiteX26" fmla="*/ 818388 w 2143791"/>
                <a:gd name="connsiteY26" fmla="*/ 88392 h 273843"/>
                <a:gd name="connsiteX27" fmla="*/ 768953 w 2143791"/>
                <a:gd name="connsiteY27" fmla="*/ 92773 h 273843"/>
                <a:gd name="connsiteX28" fmla="*/ 672084 w 2143791"/>
                <a:gd name="connsiteY28" fmla="*/ 103632 h 273843"/>
                <a:gd name="connsiteX29" fmla="*/ 624840 w 2143791"/>
                <a:gd name="connsiteY29" fmla="*/ 109633 h 273843"/>
                <a:gd name="connsiteX30" fmla="*/ 578739 w 2143791"/>
                <a:gd name="connsiteY30" fmla="*/ 116967 h 273843"/>
                <a:gd name="connsiteX31" fmla="*/ 533495 w 2143791"/>
                <a:gd name="connsiteY31" fmla="*/ 124111 h 273843"/>
                <a:gd name="connsiteX32" fmla="*/ 489585 w 2143791"/>
                <a:gd name="connsiteY32" fmla="*/ 132493 h 273843"/>
                <a:gd name="connsiteX33" fmla="*/ 446818 w 2143791"/>
                <a:gd name="connsiteY33" fmla="*/ 140494 h 273843"/>
                <a:gd name="connsiteX34" fmla="*/ 405575 w 2143791"/>
                <a:gd name="connsiteY34" fmla="*/ 149638 h 273843"/>
                <a:gd name="connsiteX35" fmla="*/ 365665 w 2143791"/>
                <a:gd name="connsiteY35" fmla="*/ 158306 h 273843"/>
                <a:gd name="connsiteX36" fmla="*/ 327470 w 2143791"/>
                <a:gd name="connsiteY36" fmla="*/ 167831 h 273843"/>
                <a:gd name="connsiteX37" fmla="*/ 290798 w 2143791"/>
                <a:gd name="connsiteY37" fmla="*/ 176975 h 273843"/>
                <a:gd name="connsiteX38" fmla="*/ 256032 w 2143791"/>
                <a:gd name="connsiteY38" fmla="*/ 186595 h 273843"/>
                <a:gd name="connsiteX39" fmla="*/ 222885 w 2143791"/>
                <a:gd name="connsiteY39" fmla="*/ 195739 h 273843"/>
                <a:gd name="connsiteX40" fmla="*/ 191834 w 2143791"/>
                <a:gd name="connsiteY40" fmla="*/ 205169 h 273843"/>
                <a:gd name="connsiteX41" fmla="*/ 135827 w 2143791"/>
                <a:gd name="connsiteY41" fmla="*/ 223076 h 273843"/>
                <a:gd name="connsiteX42" fmla="*/ 88583 w 2143791"/>
                <a:gd name="connsiteY42" fmla="*/ 239268 h 273843"/>
                <a:gd name="connsiteX43" fmla="*/ 22955 w 2143791"/>
                <a:gd name="connsiteY43" fmla="*/ 264128 h 273843"/>
                <a:gd name="connsiteX44" fmla="*/ 0 w 2143791"/>
                <a:gd name="connsiteY44" fmla="*/ 273844 h 273843"/>
                <a:gd name="connsiteX45" fmla="*/ 20955 w 2143791"/>
                <a:gd name="connsiteY45" fmla="*/ 260223 h 273843"/>
                <a:gd name="connsiteX46" fmla="*/ 82391 w 2143791"/>
                <a:gd name="connsiteY46" fmla="*/ 225171 h 273843"/>
                <a:gd name="connsiteX47" fmla="*/ 181547 w 2143791"/>
                <a:gd name="connsiteY47" fmla="*/ 177356 h 273843"/>
                <a:gd name="connsiteX48" fmla="*/ 211741 w 2143791"/>
                <a:gd name="connsiteY48" fmla="*/ 164211 h 273843"/>
                <a:gd name="connsiteX49" fmla="*/ 244031 w 2143791"/>
                <a:gd name="connsiteY49" fmla="*/ 151162 h 273843"/>
                <a:gd name="connsiteX50" fmla="*/ 278225 w 2143791"/>
                <a:gd name="connsiteY50" fmla="*/ 137732 h 273843"/>
                <a:gd name="connsiteX51" fmla="*/ 314516 w 2143791"/>
                <a:gd name="connsiteY51" fmla="*/ 124873 h 273843"/>
                <a:gd name="connsiteX52" fmla="*/ 352425 w 2143791"/>
                <a:gd name="connsiteY52" fmla="*/ 111728 h 273843"/>
                <a:gd name="connsiteX53" fmla="*/ 392240 w 2143791"/>
                <a:gd name="connsiteY53" fmla="*/ 99441 h 273843"/>
                <a:gd name="connsiteX54" fmla="*/ 433578 w 2143791"/>
                <a:gd name="connsiteY54" fmla="*/ 86868 h 273843"/>
                <a:gd name="connsiteX55" fmla="*/ 476631 w 2143791"/>
                <a:gd name="connsiteY55" fmla="*/ 75248 h 273843"/>
                <a:gd name="connsiteX56" fmla="*/ 520922 w 2143791"/>
                <a:gd name="connsiteY56" fmla="*/ 63818 h 273843"/>
                <a:gd name="connsiteX57" fmla="*/ 566738 w 2143791"/>
                <a:gd name="connsiteY57" fmla="*/ 53816 h 273843"/>
                <a:gd name="connsiteX58" fmla="*/ 613601 w 2143791"/>
                <a:gd name="connsiteY58" fmla="*/ 43815 h 273843"/>
                <a:gd name="connsiteX59" fmla="*/ 661702 w 2143791"/>
                <a:gd name="connsiteY59" fmla="*/ 35338 h 273843"/>
                <a:gd name="connsiteX60" fmla="*/ 710756 w 2143791"/>
                <a:gd name="connsiteY60" fmla="*/ 27051 h 273843"/>
                <a:gd name="connsiteX61" fmla="*/ 760762 w 2143791"/>
                <a:gd name="connsiteY61" fmla="*/ 20384 h 273843"/>
                <a:gd name="connsiteX62" fmla="*/ 862965 w 2143791"/>
                <a:gd name="connsiteY62" fmla="*/ 9430 h 273843"/>
                <a:gd name="connsiteX63" fmla="*/ 915162 w 2143791"/>
                <a:gd name="connsiteY63" fmla="*/ 5525 h 273843"/>
                <a:gd name="connsiteX64" fmla="*/ 967359 w 2143791"/>
                <a:gd name="connsiteY64" fmla="*/ 2572 h 273843"/>
                <a:gd name="connsiteX65" fmla="*/ 1071848 w 2143791"/>
                <a:gd name="connsiteY65" fmla="*/ 0 h 273843"/>
                <a:gd name="connsiteX66" fmla="*/ 1176909 w 2143791"/>
                <a:gd name="connsiteY66" fmla="*/ 2667 h 273843"/>
                <a:gd name="connsiteX67" fmla="*/ 1229106 w 2143791"/>
                <a:gd name="connsiteY67" fmla="*/ 5620 h 273843"/>
                <a:gd name="connsiteX68" fmla="*/ 1280922 w 2143791"/>
                <a:gd name="connsiteY68" fmla="*/ 9525 h 273843"/>
                <a:gd name="connsiteX69" fmla="*/ 1382935 w 2143791"/>
                <a:gd name="connsiteY69" fmla="*/ 20479 h 273843"/>
                <a:gd name="connsiteX70" fmla="*/ 1432941 w 2143791"/>
                <a:gd name="connsiteY70" fmla="*/ 27051 h 273843"/>
                <a:gd name="connsiteX71" fmla="*/ 1481995 w 2143791"/>
                <a:gd name="connsiteY71" fmla="*/ 35338 h 273843"/>
                <a:gd name="connsiteX72" fmla="*/ 1530096 w 2143791"/>
                <a:gd name="connsiteY72" fmla="*/ 43720 h 273843"/>
                <a:gd name="connsiteX73" fmla="*/ 1576959 w 2143791"/>
                <a:gd name="connsiteY73" fmla="*/ 53721 h 273843"/>
                <a:gd name="connsiteX74" fmla="*/ 1622774 w 2143791"/>
                <a:gd name="connsiteY74" fmla="*/ 63722 h 273843"/>
                <a:gd name="connsiteX75" fmla="*/ 1667066 w 2143791"/>
                <a:gd name="connsiteY75" fmla="*/ 75152 h 273843"/>
                <a:gd name="connsiteX76" fmla="*/ 1710118 w 2143791"/>
                <a:gd name="connsiteY76" fmla="*/ 86487 h 273843"/>
                <a:gd name="connsiteX77" fmla="*/ 1751457 w 2143791"/>
                <a:gd name="connsiteY77" fmla="*/ 99060 h 273843"/>
                <a:gd name="connsiteX78" fmla="*/ 1791272 w 2143791"/>
                <a:gd name="connsiteY78" fmla="*/ 111347 h 273843"/>
                <a:gd name="connsiteX79" fmla="*/ 1829181 w 2143791"/>
                <a:gd name="connsiteY79" fmla="*/ 124492 h 273843"/>
                <a:gd name="connsiteX80" fmla="*/ 1865471 w 2143791"/>
                <a:gd name="connsiteY80" fmla="*/ 137351 h 273843"/>
                <a:gd name="connsiteX81" fmla="*/ 1899666 w 2143791"/>
                <a:gd name="connsiteY81" fmla="*/ 150781 h 273843"/>
                <a:gd name="connsiteX82" fmla="*/ 1931956 w 2143791"/>
                <a:gd name="connsiteY82" fmla="*/ 163830 h 273843"/>
                <a:gd name="connsiteX83" fmla="*/ 1962150 w 2143791"/>
                <a:gd name="connsiteY83" fmla="*/ 176975 h 273843"/>
                <a:gd name="connsiteX84" fmla="*/ 2016252 w 2143791"/>
                <a:gd name="connsiteY84" fmla="*/ 201930 h 273843"/>
                <a:gd name="connsiteX85" fmla="*/ 2061305 w 2143791"/>
                <a:gd name="connsiteY85" fmla="*/ 224790 h 273843"/>
                <a:gd name="connsiteX86" fmla="*/ 2122742 w 2143791"/>
                <a:gd name="connsiteY86" fmla="*/ 259842 h 273843"/>
                <a:gd name="connsiteX87" fmla="*/ 2143792 w 2143791"/>
                <a:gd name="connsiteY87" fmla="*/ 273844 h 27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143791" h="273843">
                  <a:moveTo>
                    <a:pt x="2143792" y="273844"/>
                  </a:moveTo>
                  <a:cubicBezTo>
                    <a:pt x="2143792" y="273844"/>
                    <a:pt x="2135791" y="270320"/>
                    <a:pt x="2120837" y="264224"/>
                  </a:cubicBezTo>
                  <a:cubicBezTo>
                    <a:pt x="2105787" y="258032"/>
                    <a:pt x="2083594" y="249650"/>
                    <a:pt x="2055209" y="239268"/>
                  </a:cubicBezTo>
                  <a:cubicBezTo>
                    <a:pt x="2040922" y="234315"/>
                    <a:pt x="2025301" y="228410"/>
                    <a:pt x="2007965" y="223076"/>
                  </a:cubicBezTo>
                  <a:cubicBezTo>
                    <a:pt x="1990630" y="217551"/>
                    <a:pt x="1972151" y="210979"/>
                    <a:pt x="1951958" y="205169"/>
                  </a:cubicBezTo>
                  <a:cubicBezTo>
                    <a:pt x="1941957" y="202120"/>
                    <a:pt x="1931575" y="198977"/>
                    <a:pt x="1920907" y="195739"/>
                  </a:cubicBezTo>
                  <a:cubicBezTo>
                    <a:pt x="1910239" y="192595"/>
                    <a:pt x="1899095" y="189738"/>
                    <a:pt x="1887760" y="186595"/>
                  </a:cubicBezTo>
                  <a:cubicBezTo>
                    <a:pt x="1876425" y="183452"/>
                    <a:pt x="1864900" y="180213"/>
                    <a:pt x="1852993" y="176975"/>
                  </a:cubicBezTo>
                  <a:cubicBezTo>
                    <a:pt x="1840992" y="174022"/>
                    <a:pt x="1828800" y="170974"/>
                    <a:pt x="1816322" y="167831"/>
                  </a:cubicBezTo>
                  <a:cubicBezTo>
                    <a:pt x="1803845" y="164687"/>
                    <a:pt x="1791176" y="161544"/>
                    <a:pt x="1778127" y="158306"/>
                  </a:cubicBezTo>
                  <a:cubicBezTo>
                    <a:pt x="1765078" y="155448"/>
                    <a:pt x="1751743" y="152591"/>
                    <a:pt x="1738217" y="149638"/>
                  </a:cubicBezTo>
                  <a:cubicBezTo>
                    <a:pt x="1724692" y="146685"/>
                    <a:pt x="1710976" y="143637"/>
                    <a:pt x="1696974" y="140494"/>
                  </a:cubicBezTo>
                  <a:cubicBezTo>
                    <a:pt x="1682972" y="137827"/>
                    <a:pt x="1668685" y="135160"/>
                    <a:pt x="1654207" y="132493"/>
                  </a:cubicBezTo>
                  <a:cubicBezTo>
                    <a:pt x="1639729" y="129731"/>
                    <a:pt x="1625156" y="126968"/>
                    <a:pt x="1610297" y="124111"/>
                  </a:cubicBezTo>
                  <a:cubicBezTo>
                    <a:pt x="1595438" y="121730"/>
                    <a:pt x="1580293" y="119348"/>
                    <a:pt x="1565053" y="116967"/>
                  </a:cubicBezTo>
                  <a:cubicBezTo>
                    <a:pt x="1549813" y="114586"/>
                    <a:pt x="1534478" y="112109"/>
                    <a:pt x="1518857" y="109633"/>
                  </a:cubicBezTo>
                  <a:cubicBezTo>
                    <a:pt x="1503331" y="107347"/>
                    <a:pt x="1487519" y="105632"/>
                    <a:pt x="1471613" y="103632"/>
                  </a:cubicBezTo>
                  <a:cubicBezTo>
                    <a:pt x="1439799" y="99727"/>
                    <a:pt x="1407605" y="95250"/>
                    <a:pt x="1374743" y="92869"/>
                  </a:cubicBezTo>
                  <a:cubicBezTo>
                    <a:pt x="1358360" y="91440"/>
                    <a:pt x="1341882" y="89916"/>
                    <a:pt x="1325309" y="88392"/>
                  </a:cubicBezTo>
                  <a:cubicBezTo>
                    <a:pt x="1308735" y="86582"/>
                    <a:pt x="1292066" y="85725"/>
                    <a:pt x="1275302" y="84868"/>
                  </a:cubicBezTo>
                  <a:cubicBezTo>
                    <a:pt x="1258538" y="83915"/>
                    <a:pt x="1241679" y="83058"/>
                    <a:pt x="1224820" y="82106"/>
                  </a:cubicBezTo>
                  <a:cubicBezTo>
                    <a:pt x="1207961" y="81248"/>
                    <a:pt x="1191006" y="79915"/>
                    <a:pt x="1174052" y="79915"/>
                  </a:cubicBezTo>
                  <a:cubicBezTo>
                    <a:pt x="1140047" y="79248"/>
                    <a:pt x="1105948" y="78677"/>
                    <a:pt x="1071848" y="78010"/>
                  </a:cubicBezTo>
                  <a:cubicBezTo>
                    <a:pt x="1037558" y="78677"/>
                    <a:pt x="1003268" y="79248"/>
                    <a:pt x="969074" y="79915"/>
                  </a:cubicBezTo>
                  <a:cubicBezTo>
                    <a:pt x="951643" y="79915"/>
                    <a:pt x="935069" y="81344"/>
                    <a:pt x="918305" y="82106"/>
                  </a:cubicBezTo>
                  <a:cubicBezTo>
                    <a:pt x="901541" y="83058"/>
                    <a:pt x="884873" y="83915"/>
                    <a:pt x="868204" y="84868"/>
                  </a:cubicBezTo>
                  <a:cubicBezTo>
                    <a:pt x="851535" y="85725"/>
                    <a:pt x="834962" y="86582"/>
                    <a:pt x="818388" y="88392"/>
                  </a:cubicBezTo>
                  <a:cubicBezTo>
                    <a:pt x="801815" y="89916"/>
                    <a:pt x="785336" y="91345"/>
                    <a:pt x="768953" y="92773"/>
                  </a:cubicBezTo>
                  <a:cubicBezTo>
                    <a:pt x="736092" y="95155"/>
                    <a:pt x="703898" y="99727"/>
                    <a:pt x="672084" y="103632"/>
                  </a:cubicBezTo>
                  <a:cubicBezTo>
                    <a:pt x="656177" y="105632"/>
                    <a:pt x="640366" y="107347"/>
                    <a:pt x="624840" y="109633"/>
                  </a:cubicBezTo>
                  <a:cubicBezTo>
                    <a:pt x="609314" y="112109"/>
                    <a:pt x="593884" y="114586"/>
                    <a:pt x="578739" y="116967"/>
                  </a:cubicBezTo>
                  <a:cubicBezTo>
                    <a:pt x="563499" y="119348"/>
                    <a:pt x="548450" y="121730"/>
                    <a:pt x="533495" y="124111"/>
                  </a:cubicBezTo>
                  <a:cubicBezTo>
                    <a:pt x="518732" y="126968"/>
                    <a:pt x="504063" y="129731"/>
                    <a:pt x="489585" y="132493"/>
                  </a:cubicBezTo>
                  <a:cubicBezTo>
                    <a:pt x="475107" y="135160"/>
                    <a:pt x="460820" y="137922"/>
                    <a:pt x="446818" y="140494"/>
                  </a:cubicBezTo>
                  <a:cubicBezTo>
                    <a:pt x="432911" y="143542"/>
                    <a:pt x="419100" y="146590"/>
                    <a:pt x="405575" y="149638"/>
                  </a:cubicBezTo>
                  <a:cubicBezTo>
                    <a:pt x="392049" y="152591"/>
                    <a:pt x="378714" y="155448"/>
                    <a:pt x="365665" y="158306"/>
                  </a:cubicBezTo>
                  <a:cubicBezTo>
                    <a:pt x="352711" y="161544"/>
                    <a:pt x="339947" y="164783"/>
                    <a:pt x="327470" y="167831"/>
                  </a:cubicBezTo>
                  <a:cubicBezTo>
                    <a:pt x="314992" y="170974"/>
                    <a:pt x="302705" y="173927"/>
                    <a:pt x="290798" y="176975"/>
                  </a:cubicBezTo>
                  <a:cubicBezTo>
                    <a:pt x="278892" y="180308"/>
                    <a:pt x="267367" y="183452"/>
                    <a:pt x="256032" y="186595"/>
                  </a:cubicBezTo>
                  <a:cubicBezTo>
                    <a:pt x="244697" y="189738"/>
                    <a:pt x="233553" y="192500"/>
                    <a:pt x="222885" y="195739"/>
                  </a:cubicBezTo>
                  <a:cubicBezTo>
                    <a:pt x="212217" y="198977"/>
                    <a:pt x="201930" y="202120"/>
                    <a:pt x="191834" y="205169"/>
                  </a:cubicBezTo>
                  <a:cubicBezTo>
                    <a:pt x="171641" y="210979"/>
                    <a:pt x="153162" y="217551"/>
                    <a:pt x="135827" y="223076"/>
                  </a:cubicBezTo>
                  <a:cubicBezTo>
                    <a:pt x="118396" y="228505"/>
                    <a:pt x="102775" y="234315"/>
                    <a:pt x="88583" y="239268"/>
                  </a:cubicBezTo>
                  <a:cubicBezTo>
                    <a:pt x="60198" y="249555"/>
                    <a:pt x="37910" y="257937"/>
                    <a:pt x="22955" y="264128"/>
                  </a:cubicBezTo>
                  <a:cubicBezTo>
                    <a:pt x="8001" y="270415"/>
                    <a:pt x="0" y="273844"/>
                    <a:pt x="0" y="273844"/>
                  </a:cubicBezTo>
                  <a:cubicBezTo>
                    <a:pt x="0" y="273844"/>
                    <a:pt x="7049" y="268796"/>
                    <a:pt x="20955" y="260223"/>
                  </a:cubicBezTo>
                  <a:cubicBezTo>
                    <a:pt x="34862" y="251746"/>
                    <a:pt x="55340" y="239173"/>
                    <a:pt x="82391" y="225171"/>
                  </a:cubicBezTo>
                  <a:cubicBezTo>
                    <a:pt x="109347" y="210979"/>
                    <a:pt x="142399" y="194024"/>
                    <a:pt x="181547" y="177356"/>
                  </a:cubicBezTo>
                  <a:cubicBezTo>
                    <a:pt x="191262" y="173069"/>
                    <a:pt x="201359" y="168688"/>
                    <a:pt x="211741" y="164211"/>
                  </a:cubicBezTo>
                  <a:cubicBezTo>
                    <a:pt x="222123" y="159734"/>
                    <a:pt x="232981" y="155639"/>
                    <a:pt x="244031" y="151162"/>
                  </a:cubicBezTo>
                  <a:cubicBezTo>
                    <a:pt x="255175" y="146780"/>
                    <a:pt x="266605" y="142304"/>
                    <a:pt x="278225" y="137732"/>
                  </a:cubicBezTo>
                  <a:cubicBezTo>
                    <a:pt x="290036" y="133541"/>
                    <a:pt x="302133" y="129254"/>
                    <a:pt x="314516" y="124873"/>
                  </a:cubicBezTo>
                  <a:cubicBezTo>
                    <a:pt x="326898" y="120587"/>
                    <a:pt x="339566" y="116205"/>
                    <a:pt x="352425" y="111728"/>
                  </a:cubicBezTo>
                  <a:cubicBezTo>
                    <a:pt x="365474" y="107728"/>
                    <a:pt x="378714" y="103537"/>
                    <a:pt x="392240" y="99441"/>
                  </a:cubicBezTo>
                  <a:cubicBezTo>
                    <a:pt x="405765" y="95345"/>
                    <a:pt x="419576" y="91154"/>
                    <a:pt x="433578" y="86868"/>
                  </a:cubicBezTo>
                  <a:cubicBezTo>
                    <a:pt x="447675" y="82963"/>
                    <a:pt x="462058" y="79153"/>
                    <a:pt x="476631" y="75248"/>
                  </a:cubicBezTo>
                  <a:cubicBezTo>
                    <a:pt x="491204" y="71438"/>
                    <a:pt x="505968" y="67628"/>
                    <a:pt x="520922" y="63818"/>
                  </a:cubicBezTo>
                  <a:cubicBezTo>
                    <a:pt x="535972" y="60484"/>
                    <a:pt x="551307" y="57150"/>
                    <a:pt x="566738" y="53816"/>
                  </a:cubicBezTo>
                  <a:cubicBezTo>
                    <a:pt x="582168" y="50483"/>
                    <a:pt x="597884" y="47149"/>
                    <a:pt x="613601" y="43815"/>
                  </a:cubicBezTo>
                  <a:cubicBezTo>
                    <a:pt x="629412" y="40672"/>
                    <a:pt x="645509" y="38195"/>
                    <a:pt x="661702" y="35338"/>
                  </a:cubicBezTo>
                  <a:cubicBezTo>
                    <a:pt x="677894" y="32576"/>
                    <a:pt x="694277" y="29813"/>
                    <a:pt x="710756" y="27051"/>
                  </a:cubicBezTo>
                  <a:cubicBezTo>
                    <a:pt x="727234" y="24098"/>
                    <a:pt x="743998" y="22669"/>
                    <a:pt x="760762" y="20384"/>
                  </a:cubicBezTo>
                  <a:cubicBezTo>
                    <a:pt x="794385" y="16478"/>
                    <a:pt x="828199" y="11335"/>
                    <a:pt x="862965" y="9430"/>
                  </a:cubicBezTo>
                  <a:cubicBezTo>
                    <a:pt x="880301" y="8096"/>
                    <a:pt x="897731" y="6858"/>
                    <a:pt x="915162" y="5525"/>
                  </a:cubicBezTo>
                  <a:cubicBezTo>
                    <a:pt x="932593" y="4286"/>
                    <a:pt x="950309" y="2667"/>
                    <a:pt x="967359" y="2572"/>
                  </a:cubicBezTo>
                  <a:cubicBezTo>
                    <a:pt x="1002125" y="1715"/>
                    <a:pt x="1036987" y="857"/>
                    <a:pt x="1071848" y="0"/>
                  </a:cubicBezTo>
                  <a:cubicBezTo>
                    <a:pt x="1106900" y="857"/>
                    <a:pt x="1141952" y="1715"/>
                    <a:pt x="1176909" y="2667"/>
                  </a:cubicBezTo>
                  <a:cubicBezTo>
                    <a:pt x="1194340" y="2762"/>
                    <a:pt x="1211771" y="4382"/>
                    <a:pt x="1229106" y="5620"/>
                  </a:cubicBezTo>
                  <a:cubicBezTo>
                    <a:pt x="1246442" y="6953"/>
                    <a:pt x="1263777" y="8192"/>
                    <a:pt x="1280922" y="9525"/>
                  </a:cubicBezTo>
                  <a:cubicBezTo>
                    <a:pt x="1315403" y="11335"/>
                    <a:pt x="1349312" y="16574"/>
                    <a:pt x="1382935" y="20479"/>
                  </a:cubicBezTo>
                  <a:cubicBezTo>
                    <a:pt x="1399699" y="22765"/>
                    <a:pt x="1416463" y="24194"/>
                    <a:pt x="1432941" y="27051"/>
                  </a:cubicBezTo>
                  <a:cubicBezTo>
                    <a:pt x="1449419" y="29813"/>
                    <a:pt x="1465707" y="32576"/>
                    <a:pt x="1481995" y="35338"/>
                  </a:cubicBezTo>
                  <a:cubicBezTo>
                    <a:pt x="1498187" y="38195"/>
                    <a:pt x="1514285" y="40672"/>
                    <a:pt x="1530096" y="43720"/>
                  </a:cubicBezTo>
                  <a:cubicBezTo>
                    <a:pt x="1545908" y="47149"/>
                    <a:pt x="1561529" y="50483"/>
                    <a:pt x="1576959" y="53721"/>
                  </a:cubicBezTo>
                  <a:cubicBezTo>
                    <a:pt x="1592389" y="57150"/>
                    <a:pt x="1607630" y="60484"/>
                    <a:pt x="1622774" y="63722"/>
                  </a:cubicBezTo>
                  <a:cubicBezTo>
                    <a:pt x="1637729" y="67628"/>
                    <a:pt x="1652492" y="71438"/>
                    <a:pt x="1667066" y="75152"/>
                  </a:cubicBezTo>
                  <a:cubicBezTo>
                    <a:pt x="1681639" y="78962"/>
                    <a:pt x="1695926" y="82772"/>
                    <a:pt x="1710118" y="86487"/>
                  </a:cubicBezTo>
                  <a:cubicBezTo>
                    <a:pt x="1724120" y="90773"/>
                    <a:pt x="1737932" y="94869"/>
                    <a:pt x="1751457" y="99060"/>
                  </a:cubicBezTo>
                  <a:cubicBezTo>
                    <a:pt x="1764983" y="103251"/>
                    <a:pt x="1778222" y="107347"/>
                    <a:pt x="1791272" y="111347"/>
                  </a:cubicBezTo>
                  <a:cubicBezTo>
                    <a:pt x="1804130" y="115824"/>
                    <a:pt x="1816799" y="120206"/>
                    <a:pt x="1829181" y="124492"/>
                  </a:cubicBezTo>
                  <a:cubicBezTo>
                    <a:pt x="1841564" y="128873"/>
                    <a:pt x="1853660" y="133160"/>
                    <a:pt x="1865471" y="137351"/>
                  </a:cubicBezTo>
                  <a:cubicBezTo>
                    <a:pt x="1877187" y="141923"/>
                    <a:pt x="1888522" y="146399"/>
                    <a:pt x="1899666" y="150781"/>
                  </a:cubicBezTo>
                  <a:cubicBezTo>
                    <a:pt x="1910715" y="155258"/>
                    <a:pt x="1921574" y="159353"/>
                    <a:pt x="1931956" y="163830"/>
                  </a:cubicBezTo>
                  <a:cubicBezTo>
                    <a:pt x="1942338" y="168307"/>
                    <a:pt x="1952435" y="172783"/>
                    <a:pt x="1962150" y="176975"/>
                  </a:cubicBezTo>
                  <a:cubicBezTo>
                    <a:pt x="1981676" y="185261"/>
                    <a:pt x="1999774" y="193739"/>
                    <a:pt x="2016252" y="201930"/>
                  </a:cubicBezTo>
                  <a:cubicBezTo>
                    <a:pt x="2032826" y="209741"/>
                    <a:pt x="2047780" y="217837"/>
                    <a:pt x="2061305" y="224790"/>
                  </a:cubicBezTo>
                  <a:cubicBezTo>
                    <a:pt x="2088356" y="238887"/>
                    <a:pt x="2108835" y="251460"/>
                    <a:pt x="2122742" y="259842"/>
                  </a:cubicBezTo>
                  <a:cubicBezTo>
                    <a:pt x="2136648" y="268891"/>
                    <a:pt x="2143792" y="273844"/>
                    <a:pt x="2143792" y="273844"/>
                  </a:cubicBezTo>
                  <a:close/>
                </a:path>
              </a:pathLst>
            </a:custGeom>
            <a:grpFill/>
            <a:ln w="9525" cap="flat">
              <a:noFill/>
              <a:prstDash val="solid"/>
              <a:miter/>
            </a:ln>
          </p:spPr>
          <p:txBody>
            <a:bodyPr rtlCol="0" anchor="ctr"/>
            <a:lstStyle/>
            <a:p>
              <a:endParaRPr lang="en-US" sz="1050"/>
            </a:p>
          </p:txBody>
        </p:sp>
      </p:grpSp>
      <p:sp>
        <p:nvSpPr>
          <p:cNvPr id="98" name="Tijdelijke aanduiding voor afbeelding 97">
            <a:extLst>
              <a:ext uri="{FF2B5EF4-FFF2-40B4-BE49-F238E27FC236}">
                <a16:creationId xmlns:a16="http://schemas.microsoft.com/office/drawing/2014/main" id="{23EECADE-65D3-4635-B6FC-3F44E4FD20CD}"/>
              </a:ext>
            </a:extLst>
          </p:cNvPr>
          <p:cNvSpPr>
            <a:spLocks noGrp="1"/>
          </p:cNvSpPr>
          <p:nvPr>
            <p:ph type="pic" sz="quarter" idx="14" hasCustomPrompt="1"/>
          </p:nvPr>
        </p:nvSpPr>
        <p:spPr>
          <a:xfrm>
            <a:off x="3321294" y="0"/>
            <a:ext cx="5822706" cy="4516636"/>
          </a:xfrm>
          <a:custGeom>
            <a:avLst/>
            <a:gdLst>
              <a:gd name="connsiteX0" fmla="*/ 0 w 7763608"/>
              <a:gd name="connsiteY0" fmla="*/ 6855473 h 6858000"/>
              <a:gd name="connsiteX1" fmla="*/ 7763608 w 7763608"/>
              <a:gd name="connsiteY1" fmla="*/ 6857999 h 6858000"/>
              <a:gd name="connsiteX2" fmla="*/ 7763608 w 7763608"/>
              <a:gd name="connsiteY2" fmla="*/ 6858000 h 6858000"/>
              <a:gd name="connsiteX3" fmla="*/ 0 w 7763608"/>
              <a:gd name="connsiteY3" fmla="*/ 6858000 h 6858000"/>
              <a:gd name="connsiteX4" fmla="*/ 0 w 7763608"/>
              <a:gd name="connsiteY4" fmla="*/ 0 h 6858000"/>
              <a:gd name="connsiteX5" fmla="*/ 7763608 w 7763608"/>
              <a:gd name="connsiteY5" fmla="*/ 0 h 6858000"/>
              <a:gd name="connsiteX6" fmla="*/ 7763608 w 7763608"/>
              <a:gd name="connsiteY6" fmla="*/ 6022181 h 6858000"/>
              <a:gd name="connsiteX7" fmla="*/ 7742915 w 7763608"/>
              <a:gd name="connsiteY7" fmla="*/ 6022079 h 6858000"/>
              <a:gd name="connsiteX8" fmla="*/ 467460 w 7763608"/>
              <a:gd name="connsiteY8" fmla="*/ 6003131 h 6858000"/>
              <a:gd name="connsiteX9" fmla="*/ 207110 w 7763608"/>
              <a:gd name="connsiteY9" fmla="*/ 5984081 h 6858000"/>
              <a:gd name="connsiteX10" fmla="*/ 55207 w 7763608"/>
              <a:gd name="connsiteY10" fmla="*/ 5951290 h 6858000"/>
              <a:gd name="connsiteX11" fmla="*/ 0 w 7763608"/>
              <a:gd name="connsiteY11" fmla="*/ 5940594 h 6858000"/>
              <a:gd name="connsiteX0" fmla="*/ 0 w 7763608"/>
              <a:gd name="connsiteY0" fmla="*/ 6858000 h 6858000"/>
              <a:gd name="connsiteX1" fmla="*/ 7763608 w 7763608"/>
              <a:gd name="connsiteY1" fmla="*/ 6857999 h 6858000"/>
              <a:gd name="connsiteX2" fmla="*/ 7763608 w 7763608"/>
              <a:gd name="connsiteY2" fmla="*/ 6858000 h 6858000"/>
              <a:gd name="connsiteX3" fmla="*/ 0 w 7763608"/>
              <a:gd name="connsiteY3" fmla="*/ 6858000 h 6858000"/>
              <a:gd name="connsiteX4" fmla="*/ 0 w 7763608"/>
              <a:gd name="connsiteY4" fmla="*/ 0 h 6858000"/>
              <a:gd name="connsiteX5" fmla="*/ 7763608 w 7763608"/>
              <a:gd name="connsiteY5" fmla="*/ 0 h 6858000"/>
              <a:gd name="connsiteX6" fmla="*/ 7763608 w 7763608"/>
              <a:gd name="connsiteY6" fmla="*/ 6022181 h 6858000"/>
              <a:gd name="connsiteX7" fmla="*/ 7742915 w 7763608"/>
              <a:gd name="connsiteY7" fmla="*/ 6022079 h 6858000"/>
              <a:gd name="connsiteX8" fmla="*/ 467460 w 7763608"/>
              <a:gd name="connsiteY8" fmla="*/ 6003131 h 6858000"/>
              <a:gd name="connsiteX9" fmla="*/ 207110 w 7763608"/>
              <a:gd name="connsiteY9" fmla="*/ 5984081 h 6858000"/>
              <a:gd name="connsiteX10" fmla="*/ 55207 w 7763608"/>
              <a:gd name="connsiteY10" fmla="*/ 5951290 h 6858000"/>
              <a:gd name="connsiteX11" fmla="*/ 0 w 7763608"/>
              <a:gd name="connsiteY11" fmla="*/ 5940594 h 6858000"/>
              <a:gd name="connsiteX12" fmla="*/ 0 w 7763608"/>
              <a:gd name="connsiteY12" fmla="*/ 0 h 6858000"/>
              <a:gd name="connsiteX0" fmla="*/ 7763608 w 7763608"/>
              <a:gd name="connsiteY0" fmla="*/ 6858000 h 6858000"/>
              <a:gd name="connsiteX1" fmla="*/ 7763608 w 7763608"/>
              <a:gd name="connsiteY1" fmla="*/ 6857999 h 6858000"/>
              <a:gd name="connsiteX2" fmla="*/ 7763608 w 7763608"/>
              <a:gd name="connsiteY2" fmla="*/ 6858000 h 6858000"/>
              <a:gd name="connsiteX3" fmla="*/ 0 w 7763608"/>
              <a:gd name="connsiteY3" fmla="*/ 0 h 6858000"/>
              <a:gd name="connsiteX4" fmla="*/ 7763608 w 7763608"/>
              <a:gd name="connsiteY4" fmla="*/ 0 h 6858000"/>
              <a:gd name="connsiteX5" fmla="*/ 7763608 w 7763608"/>
              <a:gd name="connsiteY5" fmla="*/ 6022181 h 6858000"/>
              <a:gd name="connsiteX6" fmla="*/ 7742915 w 7763608"/>
              <a:gd name="connsiteY6" fmla="*/ 6022079 h 6858000"/>
              <a:gd name="connsiteX7" fmla="*/ 467460 w 7763608"/>
              <a:gd name="connsiteY7" fmla="*/ 6003131 h 6858000"/>
              <a:gd name="connsiteX8" fmla="*/ 207110 w 7763608"/>
              <a:gd name="connsiteY8" fmla="*/ 5984081 h 6858000"/>
              <a:gd name="connsiteX9" fmla="*/ 55207 w 7763608"/>
              <a:gd name="connsiteY9" fmla="*/ 5951290 h 6858000"/>
              <a:gd name="connsiteX10" fmla="*/ 0 w 7763608"/>
              <a:gd name="connsiteY10" fmla="*/ 5940594 h 6858000"/>
              <a:gd name="connsiteX11" fmla="*/ 0 w 7763608"/>
              <a:gd name="connsiteY11" fmla="*/ 0 h 6858000"/>
              <a:gd name="connsiteX0" fmla="*/ 0 w 7763608"/>
              <a:gd name="connsiteY0" fmla="*/ 0 h 6022181"/>
              <a:gd name="connsiteX1" fmla="*/ 7763608 w 7763608"/>
              <a:gd name="connsiteY1" fmla="*/ 0 h 6022181"/>
              <a:gd name="connsiteX2" fmla="*/ 7763608 w 7763608"/>
              <a:gd name="connsiteY2" fmla="*/ 6022181 h 6022181"/>
              <a:gd name="connsiteX3" fmla="*/ 7742915 w 7763608"/>
              <a:gd name="connsiteY3" fmla="*/ 6022079 h 6022181"/>
              <a:gd name="connsiteX4" fmla="*/ 467460 w 7763608"/>
              <a:gd name="connsiteY4" fmla="*/ 6003131 h 6022181"/>
              <a:gd name="connsiteX5" fmla="*/ 207110 w 7763608"/>
              <a:gd name="connsiteY5" fmla="*/ 5984081 h 6022181"/>
              <a:gd name="connsiteX6" fmla="*/ 55207 w 7763608"/>
              <a:gd name="connsiteY6" fmla="*/ 5951290 h 6022181"/>
              <a:gd name="connsiteX7" fmla="*/ 0 w 7763608"/>
              <a:gd name="connsiteY7" fmla="*/ 5940594 h 6022181"/>
              <a:gd name="connsiteX8" fmla="*/ 0 w 7763608"/>
              <a:gd name="connsiteY8" fmla="*/ 0 h 602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63608" h="6022181">
                <a:moveTo>
                  <a:pt x="0" y="0"/>
                </a:moveTo>
                <a:lnTo>
                  <a:pt x="7763608" y="0"/>
                </a:lnTo>
                <a:lnTo>
                  <a:pt x="7763608" y="6022181"/>
                </a:lnTo>
                <a:lnTo>
                  <a:pt x="7742915" y="6022079"/>
                </a:lnTo>
                <a:lnTo>
                  <a:pt x="467460" y="6003131"/>
                </a:lnTo>
                <a:cubicBezTo>
                  <a:pt x="466799" y="6003792"/>
                  <a:pt x="263202" y="5994135"/>
                  <a:pt x="207110" y="5984081"/>
                </a:cubicBezTo>
                <a:cubicBezTo>
                  <a:pt x="206449" y="5983751"/>
                  <a:pt x="133292" y="5967347"/>
                  <a:pt x="55207" y="5951290"/>
                </a:cubicBezTo>
                <a:lnTo>
                  <a:pt x="0" y="5940594"/>
                </a:lnTo>
                <a:lnTo>
                  <a:pt x="0" y="0"/>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125" i="1">
                <a:solidFill>
                  <a:schemeClr val="tx1">
                    <a:lumMod val="50000"/>
                    <a:lumOff val="50000"/>
                  </a:schemeClr>
                </a:solidFill>
              </a:defRPr>
            </a:lvl1pPr>
          </a:lstStyle>
          <a:p>
            <a:r>
              <a:rPr lang="en-US"/>
              <a:t>Click the icon below </a:t>
            </a:r>
            <a:br>
              <a:rPr lang="en-US"/>
            </a:br>
            <a:r>
              <a:rPr lang="en-US"/>
              <a:t>to add an image.</a:t>
            </a:r>
          </a:p>
        </p:txBody>
      </p:sp>
      <p:sp>
        <p:nvSpPr>
          <p:cNvPr id="138" name="Tekstvak 137">
            <a:extLst>
              <a:ext uri="{FF2B5EF4-FFF2-40B4-BE49-F238E27FC236}">
                <a16:creationId xmlns:a16="http://schemas.microsoft.com/office/drawing/2014/main" id="{243E1413-8810-46A3-9902-301D70823F81}"/>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Text and Image (L)</a:t>
            </a:r>
          </a:p>
        </p:txBody>
      </p:sp>
      <p:sp>
        <p:nvSpPr>
          <p:cNvPr id="10" name="Titel 9">
            <a:extLst>
              <a:ext uri="{FF2B5EF4-FFF2-40B4-BE49-F238E27FC236}">
                <a16:creationId xmlns:a16="http://schemas.microsoft.com/office/drawing/2014/main" id="{F18E349A-DE30-44C1-9214-9D2B73F6E5D9}"/>
              </a:ext>
            </a:extLst>
          </p:cNvPr>
          <p:cNvSpPr>
            <a:spLocks noGrp="1"/>
          </p:cNvSpPr>
          <p:nvPr>
            <p:ph type="title" hasCustomPrompt="1"/>
          </p:nvPr>
        </p:nvSpPr>
        <p:spPr>
          <a:xfrm>
            <a:off x="523876" y="435769"/>
            <a:ext cx="2527244" cy="516848"/>
          </a:xfrm>
        </p:spPr>
        <p:txBody>
          <a:bodyPr/>
          <a:lstStyle/>
          <a:p>
            <a:r>
              <a:rPr lang="en-US" noProof="0"/>
              <a:t>Add a slide title, </a:t>
            </a:r>
            <a:br>
              <a:rPr lang="en-US" noProof="0"/>
            </a:br>
            <a:r>
              <a:rPr lang="en-US" noProof="0"/>
              <a:t>max.2 lines</a:t>
            </a:r>
            <a:endParaRPr lang="en-US"/>
          </a:p>
        </p:txBody>
      </p:sp>
      <p:sp>
        <p:nvSpPr>
          <p:cNvPr id="143" name="Tijdelijke aanduiding voor verticale tekst 2">
            <a:extLst>
              <a:ext uri="{FF2B5EF4-FFF2-40B4-BE49-F238E27FC236}">
                <a16:creationId xmlns:a16="http://schemas.microsoft.com/office/drawing/2014/main" id="{F96AB046-783C-4786-992E-8AC8DC67A2D2}"/>
              </a:ext>
            </a:extLst>
          </p:cNvPr>
          <p:cNvSpPr>
            <a:spLocks noGrp="1"/>
          </p:cNvSpPr>
          <p:nvPr>
            <p:ph type="body" orient="vert" idx="1" hasCustomPrompt="1"/>
          </p:nvPr>
        </p:nvSpPr>
        <p:spPr>
          <a:xfrm>
            <a:off x="523876" y="1598846"/>
            <a:ext cx="2527244" cy="2669623"/>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Bullet</a:t>
            </a:r>
          </a:p>
          <a:p>
            <a:pPr lvl="1"/>
            <a:r>
              <a:rPr lang="en-US" noProof="0"/>
              <a:t>Sub-bullet</a:t>
            </a:r>
          </a:p>
          <a:p>
            <a:pPr lvl="2"/>
            <a:r>
              <a:rPr lang="en-US" noProof="0"/>
              <a:t>Default text</a:t>
            </a:r>
          </a:p>
          <a:p>
            <a:pPr lvl="3"/>
            <a:r>
              <a:rPr lang="en-US" noProof="0"/>
              <a:t>Subtitle</a:t>
            </a:r>
          </a:p>
          <a:p>
            <a:pPr lvl="4"/>
            <a:r>
              <a:rPr lang="en-US" noProof="0"/>
              <a:t>Numerical bullet</a:t>
            </a:r>
          </a:p>
          <a:p>
            <a:pPr lvl="5"/>
            <a:r>
              <a:rPr lang="en-US" noProof="0"/>
              <a:t>Bullet</a:t>
            </a:r>
          </a:p>
          <a:p>
            <a:pPr lvl="6"/>
            <a:r>
              <a:rPr lang="en-US" noProof="0"/>
              <a:t>Sub-bullet</a:t>
            </a:r>
          </a:p>
          <a:p>
            <a:pPr lvl="7"/>
            <a:r>
              <a:rPr lang="en-US" noProof="0"/>
              <a:t>Default text</a:t>
            </a:r>
          </a:p>
          <a:p>
            <a:pPr lvl="8"/>
            <a:r>
              <a:rPr lang="en-US" noProof="0"/>
              <a:t>Subtitle</a:t>
            </a:r>
          </a:p>
        </p:txBody>
      </p:sp>
      <p:grpSp>
        <p:nvGrpSpPr>
          <p:cNvPr id="283" name="Groep 282">
            <a:extLst>
              <a:ext uri="{FF2B5EF4-FFF2-40B4-BE49-F238E27FC236}">
                <a16:creationId xmlns:a16="http://schemas.microsoft.com/office/drawing/2014/main" id="{44C01809-D792-4AE9-9444-9802846E12D4}"/>
              </a:ext>
            </a:extLst>
          </p:cNvPr>
          <p:cNvGrpSpPr/>
          <p:nvPr userDrawn="1"/>
        </p:nvGrpSpPr>
        <p:grpSpPr>
          <a:xfrm>
            <a:off x="-2839623" y="0"/>
            <a:ext cx="2694818" cy="3481004"/>
            <a:chOff x="-3786165" y="0"/>
            <a:chExt cx="3593091" cy="4641338"/>
          </a:xfrm>
        </p:grpSpPr>
        <p:sp>
          <p:nvSpPr>
            <p:cNvPr id="284" name="Rechthoek 283">
              <a:extLst>
                <a:ext uri="{FF2B5EF4-FFF2-40B4-BE49-F238E27FC236}">
                  <a16:creationId xmlns:a16="http://schemas.microsoft.com/office/drawing/2014/main" id="{CAE22DD1-FE8C-448C-A3D8-0D910DD078C8}"/>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285" name="Ovaal 284">
              <a:extLst>
                <a:ext uri="{FF2B5EF4-FFF2-40B4-BE49-F238E27FC236}">
                  <a16:creationId xmlns:a16="http://schemas.microsoft.com/office/drawing/2014/main" id="{4039E7AE-3398-457A-B60C-1D7344C6261F}"/>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86" name="Rechthoek 285">
              <a:extLst>
                <a:ext uri="{FF2B5EF4-FFF2-40B4-BE49-F238E27FC236}">
                  <a16:creationId xmlns:a16="http://schemas.microsoft.com/office/drawing/2014/main" id="{F341067F-86DD-4574-AA91-0FB5DDA600F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sp>
          <p:nvSpPr>
            <p:cNvPr id="287" name="Ovaal 286">
              <a:extLst>
                <a:ext uri="{FF2B5EF4-FFF2-40B4-BE49-F238E27FC236}">
                  <a16:creationId xmlns:a16="http://schemas.microsoft.com/office/drawing/2014/main" id="{D92826B9-7A38-4C1F-B335-88943C77125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88" name="Rechthoek 287">
              <a:extLst>
                <a:ext uri="{FF2B5EF4-FFF2-40B4-BE49-F238E27FC236}">
                  <a16:creationId xmlns:a16="http://schemas.microsoft.com/office/drawing/2014/main" id="{F96D906A-1730-435D-B449-BF8ED3EC4A1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89" name="Rechthoek 288">
              <a:extLst>
                <a:ext uri="{FF2B5EF4-FFF2-40B4-BE49-F238E27FC236}">
                  <a16:creationId xmlns:a16="http://schemas.microsoft.com/office/drawing/2014/main" id="{2D87EF77-3775-4E95-9B6C-99C7E6A80371}"/>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290" name="Ovaal 289">
              <a:extLst>
                <a:ext uri="{FF2B5EF4-FFF2-40B4-BE49-F238E27FC236}">
                  <a16:creationId xmlns:a16="http://schemas.microsoft.com/office/drawing/2014/main" id="{D47DC400-CBB1-4AF2-B49A-47FDB144BA6C}"/>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91" name="Rechthoek 290">
              <a:extLst>
                <a:ext uri="{FF2B5EF4-FFF2-40B4-BE49-F238E27FC236}">
                  <a16:creationId xmlns:a16="http://schemas.microsoft.com/office/drawing/2014/main" id="{5E23CDC2-7894-44CC-B0FA-F3C17FB6B8C6}"/>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292" name="Ovaal 291">
              <a:extLst>
                <a:ext uri="{FF2B5EF4-FFF2-40B4-BE49-F238E27FC236}">
                  <a16:creationId xmlns:a16="http://schemas.microsoft.com/office/drawing/2014/main" id="{1C10B141-7917-4C3E-818A-9F87CFFBCC63}"/>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93" name="Rechthoek 292">
              <a:extLst>
                <a:ext uri="{FF2B5EF4-FFF2-40B4-BE49-F238E27FC236}">
                  <a16:creationId xmlns:a16="http://schemas.microsoft.com/office/drawing/2014/main" id="{3FE71C01-576A-4E2C-9733-BFDB18B3E8FA}"/>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chemeClr val="accent1"/>
                </a:buClr>
                <a:buSzTx/>
                <a:buFont typeface="Arial" panose="020B0604020202020204" pitchFamily="34" charset="0"/>
                <a:buNone/>
                <a:tabLst/>
                <a:defRPr/>
              </a:pPr>
              <a:r>
                <a:rPr lang="en-US" sz="1200" b="1" kern="1200" cap="none" spc="23" baseline="0" noProof="0">
                  <a:solidFill>
                    <a:schemeClr val="tx2">
                      <a:lumMod val="50000"/>
                    </a:schemeClr>
                  </a:solidFill>
                  <a:latin typeface="+mj-lt"/>
                  <a:ea typeface="+mn-ea"/>
                  <a:cs typeface="Calibri" panose="020F0502020204030204" pitchFamily="34" charset="0"/>
                </a:rPr>
                <a:t>Subtitle</a:t>
              </a:r>
            </a:p>
          </p:txBody>
        </p:sp>
        <p:sp>
          <p:nvSpPr>
            <p:cNvPr id="294" name="Ovaal 293">
              <a:extLst>
                <a:ext uri="{FF2B5EF4-FFF2-40B4-BE49-F238E27FC236}">
                  <a16:creationId xmlns:a16="http://schemas.microsoft.com/office/drawing/2014/main" id="{E3EF3E53-10A9-4ECC-8758-C34610662528}"/>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95" name="Rechthoek 294">
              <a:extLst>
                <a:ext uri="{FF2B5EF4-FFF2-40B4-BE49-F238E27FC236}">
                  <a16:creationId xmlns:a16="http://schemas.microsoft.com/office/drawing/2014/main" id="{6F457797-4F1B-4181-9D06-15CFD5802265}"/>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03597" marR="0" lvl="4" indent="-203597" algn="l" defTabSz="539354" rtl="0" eaLnBrk="1" fontAlgn="auto" latinLnBrk="0" hangingPunct="1">
                <a:lnSpc>
                  <a:spcPct val="100000"/>
                </a:lnSpc>
                <a:spcBef>
                  <a:spcPts val="225"/>
                </a:spcBef>
                <a:spcAft>
                  <a:spcPts val="450"/>
                </a:spcAft>
                <a:buClr>
                  <a:srgbClr val="3F3F3F"/>
                </a:buClr>
                <a:buSzTx/>
                <a:buFont typeface="+mj-lt"/>
                <a:buAutoNum type="arabicPeriod"/>
                <a:tabLst/>
                <a:defRPr/>
              </a:pPr>
              <a:r>
                <a:rPr kumimoji="0" lang="en-US" sz="900" b="0" i="0" u="none" strike="noStrike" kern="1200" cap="none" spc="0" normalizeH="0" baseline="0" noProof="0">
                  <a:ln>
                    <a:noFill/>
                  </a:ln>
                  <a:solidFill>
                    <a:schemeClr val="tx2">
                      <a:lumMod val="50000"/>
                    </a:schemeClr>
                  </a:solidFill>
                  <a:effectLst/>
                  <a:uLnTx/>
                  <a:uFillTx/>
                  <a:latin typeface="+mn-lt"/>
                  <a:ea typeface="+mn-ea"/>
                  <a:cs typeface="+mn-cs"/>
                </a:rPr>
                <a:t>Numerical bullet</a:t>
              </a:r>
            </a:p>
          </p:txBody>
        </p:sp>
        <p:sp>
          <p:nvSpPr>
            <p:cNvPr id="296" name="Ovaal 295">
              <a:extLst>
                <a:ext uri="{FF2B5EF4-FFF2-40B4-BE49-F238E27FC236}">
                  <a16:creationId xmlns:a16="http://schemas.microsoft.com/office/drawing/2014/main" id="{4C4B229D-5139-468C-A6FB-F97643215C4B}"/>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97" name="Rechthoek 296">
              <a:extLst>
                <a:ext uri="{FF2B5EF4-FFF2-40B4-BE49-F238E27FC236}">
                  <a16:creationId xmlns:a16="http://schemas.microsoft.com/office/drawing/2014/main" id="{D542B76B-7FFC-4712-89D5-899DF85FC0D4}"/>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298" name="Ovaal 297">
              <a:extLst>
                <a:ext uri="{FF2B5EF4-FFF2-40B4-BE49-F238E27FC236}">
                  <a16:creationId xmlns:a16="http://schemas.microsoft.com/office/drawing/2014/main" id="{33DEC040-BFCC-484F-9B95-C32E9B0EE461}"/>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99" name="Rechthoek 298">
              <a:extLst>
                <a:ext uri="{FF2B5EF4-FFF2-40B4-BE49-F238E27FC236}">
                  <a16:creationId xmlns:a16="http://schemas.microsoft.com/office/drawing/2014/main" id="{8D286C13-C0D0-4C96-B539-D7E788D29460}"/>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300" name="Ovaal 299">
              <a:extLst>
                <a:ext uri="{FF2B5EF4-FFF2-40B4-BE49-F238E27FC236}">
                  <a16:creationId xmlns:a16="http://schemas.microsoft.com/office/drawing/2014/main" id="{88CC8F65-ACD4-43C7-AC84-42B42BF8B372}"/>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01" name="Rechthoek 300">
              <a:extLst>
                <a:ext uri="{FF2B5EF4-FFF2-40B4-BE49-F238E27FC236}">
                  <a16:creationId xmlns:a16="http://schemas.microsoft.com/office/drawing/2014/main" id="{885CBA0E-9F6A-4AA7-ADE1-38C926775550}"/>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rgbClr val="04A64B"/>
                </a:buClr>
                <a:buSzTx/>
                <a:buFont typeface="Arial" panose="020B0604020202020204" pitchFamily="34" charset="0"/>
                <a:buNone/>
                <a:tabLst/>
                <a:defRPr/>
              </a:pPr>
              <a:r>
                <a:rPr kumimoji="0" lang="en-US" sz="1200" b="1" i="0" u="none" strike="noStrike" kern="1200" cap="none" spc="23" normalizeH="0" baseline="0" noProof="0">
                  <a:ln>
                    <a:noFill/>
                  </a:ln>
                  <a:solidFill>
                    <a:srgbClr val="3F3F3F">
                      <a:lumMod val="50000"/>
                    </a:srgbClr>
                  </a:solidFill>
                  <a:effectLst/>
                  <a:uLnTx/>
                  <a:uFillTx/>
                  <a:latin typeface="+mn-lt"/>
                  <a:ea typeface="+mn-ea"/>
                  <a:cs typeface="Calibri" panose="020F0502020204030204" pitchFamily="34" charset="0"/>
                </a:rPr>
                <a:t>Subtitle</a:t>
              </a:r>
            </a:p>
          </p:txBody>
        </p:sp>
        <p:sp>
          <p:nvSpPr>
            <p:cNvPr id="302" name="Ovaal 301">
              <a:extLst>
                <a:ext uri="{FF2B5EF4-FFF2-40B4-BE49-F238E27FC236}">
                  <a16:creationId xmlns:a16="http://schemas.microsoft.com/office/drawing/2014/main" id="{962A1342-F91C-449A-92E5-DD981AF945AB}"/>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3" name="Rechthoek 302">
              <a:extLst>
                <a:ext uri="{FF2B5EF4-FFF2-40B4-BE49-F238E27FC236}">
                  <a16:creationId xmlns:a16="http://schemas.microsoft.com/office/drawing/2014/main" id="{E75B2E54-9F7C-4722-BC51-5786862DF3F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grpSp>
          <p:nvGrpSpPr>
            <p:cNvPr id="304" name="VOORBEELD">
              <a:extLst>
                <a:ext uri="{FF2B5EF4-FFF2-40B4-BE49-F238E27FC236}">
                  <a16:creationId xmlns:a16="http://schemas.microsoft.com/office/drawing/2014/main" id="{22C75E79-6E2C-4749-BED1-28310F751813}"/>
                </a:ext>
              </a:extLst>
            </p:cNvPr>
            <p:cNvGrpSpPr/>
            <p:nvPr userDrawn="1"/>
          </p:nvGrpSpPr>
          <p:grpSpPr>
            <a:xfrm>
              <a:off x="-3605171" y="458674"/>
              <a:ext cx="3234311" cy="558875"/>
              <a:chOff x="-3605171" y="458674"/>
              <a:chExt cx="3234311" cy="558875"/>
            </a:xfrm>
          </p:grpSpPr>
          <p:sp>
            <p:nvSpPr>
              <p:cNvPr id="305" name="Rechthoek 304">
                <a:extLst>
                  <a:ext uri="{FF2B5EF4-FFF2-40B4-BE49-F238E27FC236}">
                    <a16:creationId xmlns:a16="http://schemas.microsoft.com/office/drawing/2014/main" id="{79B7C95B-DD5C-4205-A8B9-4C909C8A55E1}"/>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675" b="1" noProof="0">
                    <a:solidFill>
                      <a:srgbClr val="211F26"/>
                    </a:solidFill>
                    <a:latin typeface="Calibri" panose="020F0502020204030204" pitchFamily="34" charset="0"/>
                    <a:cs typeface="Calibri" panose="020F0502020204030204" pitchFamily="34" charset="0"/>
                  </a:rPr>
                  <a:t>Home</a:t>
                </a:r>
              </a:p>
            </p:txBody>
          </p:sp>
          <p:sp>
            <p:nvSpPr>
              <p:cNvPr id="306" name="Rechthoek 305">
                <a:extLst>
                  <a:ext uri="{FF2B5EF4-FFF2-40B4-BE49-F238E27FC236}">
                    <a16:creationId xmlns:a16="http://schemas.microsoft.com/office/drawing/2014/main" id="{87472FAE-2AFE-47B6-B27E-F77F0764E65E}"/>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307" name="Groep 306">
                <a:extLst>
                  <a:ext uri="{FF2B5EF4-FFF2-40B4-BE49-F238E27FC236}">
                    <a16:creationId xmlns:a16="http://schemas.microsoft.com/office/drawing/2014/main" id="{BCF0DF41-8DF8-4A14-B427-482363362434}"/>
                  </a:ext>
                </a:extLst>
              </p:cNvPr>
              <p:cNvGrpSpPr/>
              <p:nvPr userDrawn="1"/>
            </p:nvGrpSpPr>
            <p:grpSpPr>
              <a:xfrm>
                <a:off x="-3386247" y="830871"/>
                <a:ext cx="139423" cy="109566"/>
                <a:chOff x="-2866744" y="827071"/>
                <a:chExt cx="168701" cy="132575"/>
              </a:xfrm>
            </p:grpSpPr>
            <p:grpSp>
              <p:nvGrpSpPr>
                <p:cNvPr id="338" name="Groep 337">
                  <a:extLst>
                    <a:ext uri="{FF2B5EF4-FFF2-40B4-BE49-F238E27FC236}">
                      <a16:creationId xmlns:a16="http://schemas.microsoft.com/office/drawing/2014/main" id="{E2FBF76E-4D7D-48FB-8D90-597EA6D06CA1}"/>
                    </a:ext>
                  </a:extLst>
                </p:cNvPr>
                <p:cNvGrpSpPr/>
                <p:nvPr userDrawn="1"/>
              </p:nvGrpSpPr>
              <p:grpSpPr>
                <a:xfrm>
                  <a:off x="-2866744" y="827071"/>
                  <a:ext cx="168701" cy="132575"/>
                  <a:chOff x="-2866744" y="827071"/>
                  <a:chExt cx="168701" cy="132575"/>
                </a:xfrm>
              </p:grpSpPr>
              <p:cxnSp>
                <p:nvCxnSpPr>
                  <p:cNvPr id="340" name="Rechte verbindingslijn 339">
                    <a:extLst>
                      <a:ext uri="{FF2B5EF4-FFF2-40B4-BE49-F238E27FC236}">
                        <a16:creationId xmlns:a16="http://schemas.microsoft.com/office/drawing/2014/main" id="{076DE480-C0FC-4321-B993-2284DCE958B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41" name="Rechte verbindingslijn 340">
                    <a:extLst>
                      <a:ext uri="{FF2B5EF4-FFF2-40B4-BE49-F238E27FC236}">
                        <a16:creationId xmlns:a16="http://schemas.microsoft.com/office/drawing/2014/main" id="{957BB86E-5DF3-4B47-8760-785B61EEA7B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42" name="Rechte verbindingslijn 341">
                    <a:extLst>
                      <a:ext uri="{FF2B5EF4-FFF2-40B4-BE49-F238E27FC236}">
                        <a16:creationId xmlns:a16="http://schemas.microsoft.com/office/drawing/2014/main" id="{FCC3D634-33DA-4174-8495-DA1DFED1B867}"/>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43" name="Rechte verbindingslijn 342">
                    <a:extLst>
                      <a:ext uri="{FF2B5EF4-FFF2-40B4-BE49-F238E27FC236}">
                        <a16:creationId xmlns:a16="http://schemas.microsoft.com/office/drawing/2014/main" id="{87F29C1D-5538-435D-B3D9-8E0F97C684EE}"/>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44" name="Rechte verbindingslijn 343">
                    <a:extLst>
                      <a:ext uri="{FF2B5EF4-FFF2-40B4-BE49-F238E27FC236}">
                        <a16:creationId xmlns:a16="http://schemas.microsoft.com/office/drawing/2014/main" id="{2979806D-0A7D-4ADD-8B79-D7D10DFEA1B3}"/>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39" name="Pijl: rechts 338">
                  <a:extLst>
                    <a:ext uri="{FF2B5EF4-FFF2-40B4-BE49-F238E27FC236}">
                      <a16:creationId xmlns:a16="http://schemas.microsoft.com/office/drawing/2014/main" id="{D856822B-EA71-42B5-9224-41247EA9026F}"/>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308" name="Groep 307">
                <a:extLst>
                  <a:ext uri="{FF2B5EF4-FFF2-40B4-BE49-F238E27FC236}">
                    <a16:creationId xmlns:a16="http://schemas.microsoft.com/office/drawing/2014/main" id="{C04B3F1A-D9C9-40F5-94DD-74667F00F1B4}"/>
                  </a:ext>
                </a:extLst>
              </p:cNvPr>
              <p:cNvGrpSpPr/>
              <p:nvPr userDrawn="1"/>
            </p:nvGrpSpPr>
            <p:grpSpPr>
              <a:xfrm>
                <a:off x="-3605171" y="830871"/>
                <a:ext cx="139423" cy="109566"/>
                <a:chOff x="-2866744" y="518074"/>
                <a:chExt cx="168701" cy="132575"/>
              </a:xfrm>
            </p:grpSpPr>
            <p:grpSp>
              <p:nvGrpSpPr>
                <p:cNvPr id="331" name="Groep 330">
                  <a:extLst>
                    <a:ext uri="{FF2B5EF4-FFF2-40B4-BE49-F238E27FC236}">
                      <a16:creationId xmlns:a16="http://schemas.microsoft.com/office/drawing/2014/main" id="{E65797B0-24C4-4D5F-ACDE-8683E5F63A95}"/>
                    </a:ext>
                  </a:extLst>
                </p:cNvPr>
                <p:cNvGrpSpPr/>
                <p:nvPr userDrawn="1"/>
              </p:nvGrpSpPr>
              <p:grpSpPr>
                <a:xfrm>
                  <a:off x="-2866744" y="518074"/>
                  <a:ext cx="168701" cy="132575"/>
                  <a:chOff x="-2866744" y="518074"/>
                  <a:chExt cx="168701" cy="132575"/>
                </a:xfrm>
              </p:grpSpPr>
              <p:cxnSp>
                <p:nvCxnSpPr>
                  <p:cNvPr id="333" name="Rechte verbindingslijn 332">
                    <a:extLst>
                      <a:ext uri="{FF2B5EF4-FFF2-40B4-BE49-F238E27FC236}">
                        <a16:creationId xmlns:a16="http://schemas.microsoft.com/office/drawing/2014/main" id="{3B9F4B40-4D4A-4CA3-8F3D-93E449517B8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34" name="Rechte verbindingslijn 333">
                    <a:extLst>
                      <a:ext uri="{FF2B5EF4-FFF2-40B4-BE49-F238E27FC236}">
                        <a16:creationId xmlns:a16="http://schemas.microsoft.com/office/drawing/2014/main" id="{4C6A38F3-15CF-4244-9A94-D1DFE725E79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35" name="Rechte verbindingslijn 334">
                    <a:extLst>
                      <a:ext uri="{FF2B5EF4-FFF2-40B4-BE49-F238E27FC236}">
                        <a16:creationId xmlns:a16="http://schemas.microsoft.com/office/drawing/2014/main" id="{FD76D9E5-27E5-468E-9DD0-C9BF2E654179}"/>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36" name="Rechte verbindingslijn 335">
                    <a:extLst>
                      <a:ext uri="{FF2B5EF4-FFF2-40B4-BE49-F238E27FC236}">
                        <a16:creationId xmlns:a16="http://schemas.microsoft.com/office/drawing/2014/main" id="{53A93AC1-C1EA-480E-BDE8-08665C79511A}"/>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37" name="Rechte verbindingslijn 336">
                    <a:extLst>
                      <a:ext uri="{FF2B5EF4-FFF2-40B4-BE49-F238E27FC236}">
                        <a16:creationId xmlns:a16="http://schemas.microsoft.com/office/drawing/2014/main" id="{F6568B22-E5DD-4230-ADC2-9922BC62846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32" name="Pijl: rechts 331">
                  <a:extLst>
                    <a:ext uri="{FF2B5EF4-FFF2-40B4-BE49-F238E27FC236}">
                      <a16:creationId xmlns:a16="http://schemas.microsoft.com/office/drawing/2014/main" id="{17AD6963-1EAF-461F-879C-59377B5D4E1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cxnSp>
            <p:nvCxnSpPr>
              <p:cNvPr id="309" name="Rechte verbindingslijn 308">
                <a:extLst>
                  <a:ext uri="{FF2B5EF4-FFF2-40B4-BE49-F238E27FC236}">
                    <a16:creationId xmlns:a16="http://schemas.microsoft.com/office/drawing/2014/main" id="{94683465-7550-47D4-8455-4A8188B1074A}"/>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310" name="Rechte verbindingslijn 309">
                <a:extLst>
                  <a:ext uri="{FF2B5EF4-FFF2-40B4-BE49-F238E27FC236}">
                    <a16:creationId xmlns:a16="http://schemas.microsoft.com/office/drawing/2014/main" id="{5FA320FF-18F1-4EFC-81F3-47F8217113A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311" name="Rechthoek 310">
                <a:extLst>
                  <a:ext uri="{FF2B5EF4-FFF2-40B4-BE49-F238E27FC236}">
                    <a16:creationId xmlns:a16="http://schemas.microsoft.com/office/drawing/2014/main" id="{3DA976A1-4724-4338-9936-32C75E6797CA}"/>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312" name="Rechthoek 311">
                <a:extLst>
                  <a:ext uri="{FF2B5EF4-FFF2-40B4-BE49-F238E27FC236}">
                    <a16:creationId xmlns:a16="http://schemas.microsoft.com/office/drawing/2014/main" id="{98B21538-3F73-4AA1-945B-A7D7FC497096}"/>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313" name="Groep 312">
                <a:extLst>
                  <a:ext uri="{FF2B5EF4-FFF2-40B4-BE49-F238E27FC236}">
                    <a16:creationId xmlns:a16="http://schemas.microsoft.com/office/drawing/2014/main" id="{B32A854E-6518-4ECD-8878-46B4383C0A70}"/>
                  </a:ext>
                </a:extLst>
              </p:cNvPr>
              <p:cNvGrpSpPr/>
              <p:nvPr userDrawn="1"/>
            </p:nvGrpSpPr>
            <p:grpSpPr>
              <a:xfrm>
                <a:off x="-2916763" y="769168"/>
                <a:ext cx="268738" cy="248381"/>
                <a:chOff x="-2916763" y="769168"/>
                <a:chExt cx="268738" cy="248381"/>
              </a:xfrm>
            </p:grpSpPr>
            <p:sp>
              <p:nvSpPr>
                <p:cNvPr id="323" name="Rechthoek 322">
                  <a:extLst>
                    <a:ext uri="{FF2B5EF4-FFF2-40B4-BE49-F238E27FC236}">
                      <a16:creationId xmlns:a16="http://schemas.microsoft.com/office/drawing/2014/main" id="{CBF88D9A-8FB5-40FA-8754-AD74CA0414A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324" name="Groep 323">
                  <a:extLst>
                    <a:ext uri="{FF2B5EF4-FFF2-40B4-BE49-F238E27FC236}">
                      <a16:creationId xmlns:a16="http://schemas.microsoft.com/office/drawing/2014/main" id="{4DF9DF84-DC00-4816-AC37-78B37D3E8A5F}"/>
                    </a:ext>
                  </a:extLst>
                </p:cNvPr>
                <p:cNvGrpSpPr/>
                <p:nvPr userDrawn="1"/>
              </p:nvGrpSpPr>
              <p:grpSpPr>
                <a:xfrm>
                  <a:off x="-2866744" y="827071"/>
                  <a:ext cx="168701" cy="132575"/>
                  <a:chOff x="-2866744" y="827071"/>
                  <a:chExt cx="168701" cy="132575"/>
                </a:xfrm>
              </p:grpSpPr>
              <p:cxnSp>
                <p:nvCxnSpPr>
                  <p:cNvPr id="326" name="Rechte verbindingslijn 325">
                    <a:extLst>
                      <a:ext uri="{FF2B5EF4-FFF2-40B4-BE49-F238E27FC236}">
                        <a16:creationId xmlns:a16="http://schemas.microsoft.com/office/drawing/2014/main" id="{EFBA3B6B-5C3F-4EA1-A071-39660816E68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27" name="Rechte verbindingslijn 326">
                    <a:extLst>
                      <a:ext uri="{FF2B5EF4-FFF2-40B4-BE49-F238E27FC236}">
                        <a16:creationId xmlns:a16="http://schemas.microsoft.com/office/drawing/2014/main" id="{8F7CB587-D5FC-488C-9D3E-2FF503D51D60}"/>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2B73BE7C-3A1C-4C38-B82F-D108BD53EFC9}"/>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9" name="Rechte verbindingslijn 328">
                    <a:extLst>
                      <a:ext uri="{FF2B5EF4-FFF2-40B4-BE49-F238E27FC236}">
                        <a16:creationId xmlns:a16="http://schemas.microsoft.com/office/drawing/2014/main" id="{CE1D7B0D-80E1-438E-B4E1-CC2BD18C43A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30" name="Rechte verbindingslijn 329">
                    <a:extLst>
                      <a:ext uri="{FF2B5EF4-FFF2-40B4-BE49-F238E27FC236}">
                        <a16:creationId xmlns:a16="http://schemas.microsoft.com/office/drawing/2014/main" id="{4B01F9E8-33DA-4FE9-9DFB-E54697BE0128}"/>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25" name="Pijl: rechts 324">
                  <a:extLst>
                    <a:ext uri="{FF2B5EF4-FFF2-40B4-BE49-F238E27FC236}">
                      <a16:creationId xmlns:a16="http://schemas.microsoft.com/office/drawing/2014/main" id="{1511157D-A87C-437B-868D-5D5104643D27}"/>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314" name="Groep 313">
                <a:extLst>
                  <a:ext uri="{FF2B5EF4-FFF2-40B4-BE49-F238E27FC236}">
                    <a16:creationId xmlns:a16="http://schemas.microsoft.com/office/drawing/2014/main" id="{4F60F083-F89E-4B98-A74A-4033218C3AE3}"/>
                  </a:ext>
                </a:extLst>
              </p:cNvPr>
              <p:cNvGrpSpPr/>
              <p:nvPr userDrawn="1"/>
            </p:nvGrpSpPr>
            <p:grpSpPr>
              <a:xfrm>
                <a:off x="-2916763" y="460171"/>
                <a:ext cx="268738" cy="248381"/>
                <a:chOff x="-2916763" y="460171"/>
                <a:chExt cx="268738" cy="248381"/>
              </a:xfrm>
            </p:grpSpPr>
            <p:sp>
              <p:nvSpPr>
                <p:cNvPr id="315" name="Rechthoek 314">
                  <a:extLst>
                    <a:ext uri="{FF2B5EF4-FFF2-40B4-BE49-F238E27FC236}">
                      <a16:creationId xmlns:a16="http://schemas.microsoft.com/office/drawing/2014/main" id="{D847D36A-CA89-46B3-85DB-E5F0EC633D4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316" name="Groep 315">
                  <a:extLst>
                    <a:ext uri="{FF2B5EF4-FFF2-40B4-BE49-F238E27FC236}">
                      <a16:creationId xmlns:a16="http://schemas.microsoft.com/office/drawing/2014/main" id="{9A9CA1DD-3A94-44F5-9BFC-A597ECD95AD2}"/>
                    </a:ext>
                  </a:extLst>
                </p:cNvPr>
                <p:cNvGrpSpPr/>
                <p:nvPr userDrawn="1"/>
              </p:nvGrpSpPr>
              <p:grpSpPr>
                <a:xfrm>
                  <a:off x="-2866744" y="518074"/>
                  <a:ext cx="168701" cy="132575"/>
                  <a:chOff x="-2866744" y="518074"/>
                  <a:chExt cx="168701" cy="132575"/>
                </a:xfrm>
              </p:grpSpPr>
              <p:cxnSp>
                <p:nvCxnSpPr>
                  <p:cNvPr id="318" name="Rechte verbindingslijn 317">
                    <a:extLst>
                      <a:ext uri="{FF2B5EF4-FFF2-40B4-BE49-F238E27FC236}">
                        <a16:creationId xmlns:a16="http://schemas.microsoft.com/office/drawing/2014/main" id="{6AD3DB4A-26D8-4571-8F4A-692FE4E92D5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980B4435-6F79-4EC4-9E10-5D7CB176D71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C784FCD2-3D7A-42CD-A37C-5214CF68D5A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A47BCBAE-9B9F-41F5-B8BC-C5A067914EC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22" name="Rechte verbindingslijn 321">
                    <a:extLst>
                      <a:ext uri="{FF2B5EF4-FFF2-40B4-BE49-F238E27FC236}">
                        <a16:creationId xmlns:a16="http://schemas.microsoft.com/office/drawing/2014/main" id="{6566948C-FCE9-4A19-BED2-E875EF0AF76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17" name="Pijl: rechts 316">
                  <a:extLst>
                    <a:ext uri="{FF2B5EF4-FFF2-40B4-BE49-F238E27FC236}">
                      <a16:creationId xmlns:a16="http://schemas.microsoft.com/office/drawing/2014/main" id="{64ECB604-8CE5-482C-B527-4EA46198AAB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grpSp>
      <p:sp>
        <p:nvSpPr>
          <p:cNvPr id="71" name="Tijdelijke aanduiding voor dianummer 5">
            <a:extLst>
              <a:ext uri="{FF2B5EF4-FFF2-40B4-BE49-F238E27FC236}">
                <a16:creationId xmlns:a16="http://schemas.microsoft.com/office/drawing/2014/main" id="{748EBA0A-739D-4172-953B-29574D5804E3}"/>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72" name="INSTRUCTION">
            <a:extLst>
              <a:ext uri="{FF2B5EF4-FFF2-40B4-BE49-F238E27FC236}">
                <a16:creationId xmlns:a16="http://schemas.microsoft.com/office/drawing/2014/main" id="{02C5B614-A434-4A06-ACC4-FEFAFAC65448}"/>
              </a:ext>
            </a:extLst>
          </p:cNvPr>
          <p:cNvGrpSpPr/>
          <p:nvPr userDrawn="1"/>
        </p:nvGrpSpPr>
        <p:grpSpPr>
          <a:xfrm>
            <a:off x="4384" y="5274908"/>
            <a:ext cx="2795966" cy="1183043"/>
            <a:chOff x="5846" y="7033211"/>
            <a:chExt cx="3727954" cy="1577390"/>
          </a:xfrm>
        </p:grpSpPr>
        <p:sp>
          <p:nvSpPr>
            <p:cNvPr id="73" name="Rechthoek 72">
              <a:extLst>
                <a:ext uri="{FF2B5EF4-FFF2-40B4-BE49-F238E27FC236}">
                  <a16:creationId xmlns:a16="http://schemas.microsoft.com/office/drawing/2014/main" id="{967AE5AD-50B9-4734-9E61-7056E85AC105}"/>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74" name="Ovaal 73">
              <a:extLst>
                <a:ext uri="{FF2B5EF4-FFF2-40B4-BE49-F238E27FC236}">
                  <a16:creationId xmlns:a16="http://schemas.microsoft.com/office/drawing/2014/main" id="{D1B49332-1552-4AE2-8456-0D6C7D3F37C3}"/>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5" name="Rechthoek 74">
              <a:extLst>
                <a:ext uri="{FF2B5EF4-FFF2-40B4-BE49-F238E27FC236}">
                  <a16:creationId xmlns:a16="http://schemas.microsoft.com/office/drawing/2014/main" id="{A01614EE-8389-43C3-A396-6B45BA0873F5}"/>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76" name="Ovaal 75">
              <a:extLst>
                <a:ext uri="{FF2B5EF4-FFF2-40B4-BE49-F238E27FC236}">
                  <a16:creationId xmlns:a16="http://schemas.microsoft.com/office/drawing/2014/main" id="{792BCA4A-3B4F-4BF4-917B-071B73348826}"/>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7" name="Rechthoek 76">
              <a:extLst>
                <a:ext uri="{FF2B5EF4-FFF2-40B4-BE49-F238E27FC236}">
                  <a16:creationId xmlns:a16="http://schemas.microsoft.com/office/drawing/2014/main" id="{BB6B2C97-B01C-4823-8C9F-3EC99D416B6D}"/>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78" name="Groep 77">
              <a:extLst>
                <a:ext uri="{FF2B5EF4-FFF2-40B4-BE49-F238E27FC236}">
                  <a16:creationId xmlns:a16="http://schemas.microsoft.com/office/drawing/2014/main" id="{C261799E-5B5C-4240-834F-18A6F004CDCD}"/>
                </a:ext>
              </a:extLst>
            </p:cNvPr>
            <p:cNvGrpSpPr/>
            <p:nvPr userDrawn="1"/>
          </p:nvGrpSpPr>
          <p:grpSpPr>
            <a:xfrm>
              <a:off x="2939884" y="7739834"/>
              <a:ext cx="681133" cy="750023"/>
              <a:chOff x="-910573" y="4987990"/>
              <a:chExt cx="681133" cy="750023"/>
            </a:xfrm>
          </p:grpSpPr>
          <p:grpSp>
            <p:nvGrpSpPr>
              <p:cNvPr id="79" name="Groep 78">
                <a:extLst>
                  <a:ext uri="{FF2B5EF4-FFF2-40B4-BE49-F238E27FC236}">
                    <a16:creationId xmlns:a16="http://schemas.microsoft.com/office/drawing/2014/main" id="{30C93A37-D51A-4CAD-82E1-75ECAED3F11F}"/>
                  </a:ext>
                </a:extLst>
              </p:cNvPr>
              <p:cNvGrpSpPr/>
              <p:nvPr userDrawn="1"/>
            </p:nvGrpSpPr>
            <p:grpSpPr>
              <a:xfrm>
                <a:off x="-713542" y="4987990"/>
                <a:ext cx="287071" cy="379107"/>
                <a:chOff x="-4050578" y="288410"/>
                <a:chExt cx="322125" cy="379107"/>
              </a:xfrm>
            </p:grpSpPr>
            <p:sp>
              <p:nvSpPr>
                <p:cNvPr id="81" name="Rechthoek met één afgeknipte en afgeronde hoek 47">
                  <a:extLst>
                    <a:ext uri="{FF2B5EF4-FFF2-40B4-BE49-F238E27FC236}">
                      <a16:creationId xmlns:a16="http://schemas.microsoft.com/office/drawing/2014/main" id="{2C3E48B0-E60D-415A-BDB9-0220D511E028}"/>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2" name="Rechthoekige driehoek 81">
                  <a:extLst>
                    <a:ext uri="{FF2B5EF4-FFF2-40B4-BE49-F238E27FC236}">
                      <a16:creationId xmlns:a16="http://schemas.microsoft.com/office/drawing/2014/main" id="{F84E5D87-9A8F-4B22-A538-CF3DDF7B8A03}"/>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3" name="Rechthoek 82">
                  <a:extLst>
                    <a:ext uri="{FF2B5EF4-FFF2-40B4-BE49-F238E27FC236}">
                      <a16:creationId xmlns:a16="http://schemas.microsoft.com/office/drawing/2014/main" id="{E568FC6C-8218-4284-AB7C-46AF678544A5}"/>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4" name="Rechthoek 83">
                  <a:extLst>
                    <a:ext uri="{FF2B5EF4-FFF2-40B4-BE49-F238E27FC236}">
                      <a16:creationId xmlns:a16="http://schemas.microsoft.com/office/drawing/2014/main" id="{6B70A6E2-D893-4F2E-9F50-2966A648218B}"/>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80" name="Rechthoek 79">
                <a:extLst>
                  <a:ext uri="{FF2B5EF4-FFF2-40B4-BE49-F238E27FC236}">
                    <a16:creationId xmlns:a16="http://schemas.microsoft.com/office/drawing/2014/main" id="{0E30F4C6-F6BC-459D-A867-2D53FD18A585}"/>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grpSp>
        <p:nvGrpSpPr>
          <p:cNvPr id="99" name="INSTRUCTION">
            <a:extLst>
              <a:ext uri="{FF2B5EF4-FFF2-40B4-BE49-F238E27FC236}">
                <a16:creationId xmlns:a16="http://schemas.microsoft.com/office/drawing/2014/main" id="{BFC614DE-D8D5-464C-BC48-F42C9F20A472}"/>
              </a:ext>
            </a:extLst>
          </p:cNvPr>
          <p:cNvGrpSpPr/>
          <p:nvPr userDrawn="1"/>
        </p:nvGrpSpPr>
        <p:grpSpPr>
          <a:xfrm>
            <a:off x="9283401" y="0"/>
            <a:ext cx="2694818" cy="4452582"/>
            <a:chOff x="-3786165" y="0"/>
            <a:chExt cx="3593091" cy="5936776"/>
          </a:xfrm>
        </p:grpSpPr>
        <p:sp>
          <p:nvSpPr>
            <p:cNvPr id="100" name="Rechthoek 99">
              <a:extLst>
                <a:ext uri="{FF2B5EF4-FFF2-40B4-BE49-F238E27FC236}">
                  <a16:creationId xmlns:a16="http://schemas.microsoft.com/office/drawing/2014/main" id="{4B247AF9-0A0C-4F5A-8F0A-8043947F3E30}"/>
                </a:ext>
              </a:extLst>
            </p:cNvPr>
            <p:cNvSpPr/>
            <p:nvPr userDrawn="1"/>
          </p:nvSpPr>
          <p:spPr>
            <a:xfrm>
              <a:off x="-3786165" y="0"/>
              <a:ext cx="3593091" cy="593677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101" name="Ovaal 100">
              <a:extLst>
                <a:ext uri="{FF2B5EF4-FFF2-40B4-BE49-F238E27FC236}">
                  <a16:creationId xmlns:a16="http://schemas.microsoft.com/office/drawing/2014/main" id="{E754915C-288F-470C-B47D-649853C63C7E}"/>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2" name="Rechthoek 101">
              <a:extLst>
                <a:ext uri="{FF2B5EF4-FFF2-40B4-BE49-F238E27FC236}">
                  <a16:creationId xmlns:a16="http://schemas.microsoft.com/office/drawing/2014/main" id="{8FB9EAD8-BF28-4541-8082-B7CF347C0E4A}"/>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03" name="Groep 102">
              <a:extLst>
                <a:ext uri="{FF2B5EF4-FFF2-40B4-BE49-F238E27FC236}">
                  <a16:creationId xmlns:a16="http://schemas.microsoft.com/office/drawing/2014/main" id="{07A6E225-434B-4C82-A74D-6E46ECC87F46}"/>
                </a:ext>
              </a:extLst>
            </p:cNvPr>
            <p:cNvGrpSpPr/>
            <p:nvPr userDrawn="1"/>
          </p:nvGrpSpPr>
          <p:grpSpPr>
            <a:xfrm>
              <a:off x="-3316179" y="1231351"/>
              <a:ext cx="294789" cy="318834"/>
              <a:chOff x="14466489" y="1001522"/>
              <a:chExt cx="290627" cy="314333"/>
            </a:xfrm>
          </p:grpSpPr>
          <p:sp>
            <p:nvSpPr>
              <p:cNvPr id="157" name="Rechthoek 156">
                <a:extLst>
                  <a:ext uri="{FF2B5EF4-FFF2-40B4-BE49-F238E27FC236}">
                    <a16:creationId xmlns:a16="http://schemas.microsoft.com/office/drawing/2014/main" id="{94B1E9E9-8B35-463F-BB53-C3DF320E8711}"/>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58" name="Ovaal 157">
                <a:extLst>
                  <a:ext uri="{FF2B5EF4-FFF2-40B4-BE49-F238E27FC236}">
                    <a16:creationId xmlns:a16="http://schemas.microsoft.com/office/drawing/2014/main" id="{29577417-0167-49F0-962B-8F13A954037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00" b="1" noProof="0">
                  <a:solidFill>
                    <a:srgbClr val="211F26"/>
                  </a:solidFill>
                  <a:latin typeface="Calibri" panose="020F0502020204030204" pitchFamily="34" charset="0"/>
                  <a:cs typeface="Calibri" panose="020F0502020204030204" pitchFamily="34" charset="0"/>
                </a:endParaRPr>
              </a:p>
            </p:txBody>
          </p:sp>
          <p:sp>
            <p:nvSpPr>
              <p:cNvPr id="159" name="Vrije vorm: vorm 158">
                <a:extLst>
                  <a:ext uri="{FF2B5EF4-FFF2-40B4-BE49-F238E27FC236}">
                    <a16:creationId xmlns:a16="http://schemas.microsoft.com/office/drawing/2014/main" id="{2942D9FD-0839-42A6-8181-CBEB113842E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00" b="1" noProof="0">
                  <a:solidFill>
                    <a:srgbClr val="211F26"/>
                  </a:solidFill>
                  <a:latin typeface="Calibri" panose="020F0502020204030204" pitchFamily="34" charset="0"/>
                  <a:cs typeface="Calibri" panose="020F0502020204030204" pitchFamily="34" charset="0"/>
                </a:endParaRPr>
              </a:p>
            </p:txBody>
          </p:sp>
          <p:sp>
            <p:nvSpPr>
              <p:cNvPr id="160" name="Rechthoek: afgeronde hoeken 159">
                <a:extLst>
                  <a:ext uri="{FF2B5EF4-FFF2-40B4-BE49-F238E27FC236}">
                    <a16:creationId xmlns:a16="http://schemas.microsoft.com/office/drawing/2014/main" id="{3E677F5B-A073-4645-8E9C-E69CDFB8950F}"/>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cxnSp>
            <p:nvCxnSpPr>
              <p:cNvPr id="161" name="Rechte verbindingslijn 160">
                <a:extLst>
                  <a:ext uri="{FF2B5EF4-FFF2-40B4-BE49-F238E27FC236}">
                    <a16:creationId xmlns:a16="http://schemas.microsoft.com/office/drawing/2014/main" id="{9ED5DBF1-3580-4B0E-A118-23A90E51D08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62" name="Rechte verbindingslijn 161">
                <a:extLst>
                  <a:ext uri="{FF2B5EF4-FFF2-40B4-BE49-F238E27FC236}">
                    <a16:creationId xmlns:a16="http://schemas.microsoft.com/office/drawing/2014/main" id="{B60EDBF3-F5AB-4054-A9E0-7A7DD3FDFFC6}"/>
                  </a:ext>
                </a:extLst>
              </p:cNvPr>
              <p:cNvCxnSpPr>
                <a:cxnSpLocks/>
                <a:stCxn id="16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4" name="Ovaal 103">
              <a:extLst>
                <a:ext uri="{FF2B5EF4-FFF2-40B4-BE49-F238E27FC236}">
                  <a16:creationId xmlns:a16="http://schemas.microsoft.com/office/drawing/2014/main" id="{2ABA54B7-F2F4-4D91-8A84-9CFB5CE07F9E}"/>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05" name="Rechthoek 104">
              <a:extLst>
                <a:ext uri="{FF2B5EF4-FFF2-40B4-BE49-F238E27FC236}">
                  <a16:creationId xmlns:a16="http://schemas.microsoft.com/office/drawing/2014/main" id="{973BF296-8901-4BE4-AE29-8A9FAFA607BA}"/>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06" name="Groep 105">
              <a:extLst>
                <a:ext uri="{FF2B5EF4-FFF2-40B4-BE49-F238E27FC236}">
                  <a16:creationId xmlns:a16="http://schemas.microsoft.com/office/drawing/2014/main" id="{045476BD-A3D0-4E34-A555-BB1AD3CA1220}"/>
                </a:ext>
              </a:extLst>
            </p:cNvPr>
            <p:cNvGrpSpPr/>
            <p:nvPr userDrawn="1"/>
          </p:nvGrpSpPr>
          <p:grpSpPr>
            <a:xfrm>
              <a:off x="-3311319" y="2164285"/>
              <a:ext cx="825500" cy="209550"/>
              <a:chOff x="13504624" y="2482850"/>
              <a:chExt cx="825500" cy="209550"/>
            </a:xfrm>
          </p:grpSpPr>
          <p:sp>
            <p:nvSpPr>
              <p:cNvPr id="154" name="Rechthoek 153">
                <a:extLst>
                  <a:ext uri="{FF2B5EF4-FFF2-40B4-BE49-F238E27FC236}">
                    <a16:creationId xmlns:a16="http://schemas.microsoft.com/office/drawing/2014/main" id="{B9B7276E-4604-4D0C-8577-5777F27CAE0A}"/>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Insert</a:t>
                </a:r>
              </a:p>
            </p:txBody>
          </p:sp>
          <p:cxnSp>
            <p:nvCxnSpPr>
              <p:cNvPr id="155" name="Rechte verbindingslijn 154">
                <a:extLst>
                  <a:ext uri="{FF2B5EF4-FFF2-40B4-BE49-F238E27FC236}">
                    <a16:creationId xmlns:a16="http://schemas.microsoft.com/office/drawing/2014/main" id="{D8E119F7-2385-4DF9-988C-E5BA1463BF5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56" name="Gelijkbenige driehoek 155">
                <a:extLst>
                  <a:ext uri="{FF2B5EF4-FFF2-40B4-BE49-F238E27FC236}">
                    <a16:creationId xmlns:a16="http://schemas.microsoft.com/office/drawing/2014/main" id="{94824149-54EA-4A82-9FE6-B2DC427DF3F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75" b="1" noProof="0">
                  <a:solidFill>
                    <a:srgbClr val="211F26"/>
                  </a:solidFill>
                  <a:latin typeface="Calibri" panose="020F0502020204030204" pitchFamily="34" charset="0"/>
                  <a:cs typeface="Calibri" panose="020F0502020204030204" pitchFamily="34" charset="0"/>
                </a:endParaRPr>
              </a:p>
            </p:txBody>
          </p:sp>
        </p:grpSp>
        <p:sp>
          <p:nvSpPr>
            <p:cNvPr id="107" name="Ovaal 106">
              <a:extLst>
                <a:ext uri="{FF2B5EF4-FFF2-40B4-BE49-F238E27FC236}">
                  <a16:creationId xmlns:a16="http://schemas.microsoft.com/office/drawing/2014/main" id="{A751CCC9-F619-4D6D-83F9-CEC73F8C77F1}"/>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8" name="Rechthoek 107">
              <a:extLst>
                <a:ext uri="{FF2B5EF4-FFF2-40B4-BE49-F238E27FC236}">
                  <a16:creationId xmlns:a16="http://schemas.microsoft.com/office/drawing/2014/main" id="{EC845932-6DA9-4E36-9BC8-4893596A7E2A}"/>
                </a:ext>
              </a:extLst>
            </p:cNvPr>
            <p:cNvSpPr/>
            <p:nvPr userDrawn="1"/>
          </p:nvSpPr>
          <p:spPr>
            <a:xfrm>
              <a:off x="-33194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09" name="Ovaal 108">
              <a:extLst>
                <a:ext uri="{FF2B5EF4-FFF2-40B4-BE49-F238E27FC236}">
                  <a16:creationId xmlns:a16="http://schemas.microsoft.com/office/drawing/2014/main" id="{1FDE23D1-75D5-47B9-BAA7-CCEBBCD97E8C}"/>
                </a:ext>
              </a:extLst>
            </p:cNvPr>
            <p:cNvSpPr/>
            <p:nvPr userDrawn="1"/>
          </p:nvSpPr>
          <p:spPr>
            <a:xfrm>
              <a:off x="-3603587"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10" name="Rechthoek 109">
              <a:extLst>
                <a:ext uri="{FF2B5EF4-FFF2-40B4-BE49-F238E27FC236}">
                  <a16:creationId xmlns:a16="http://schemas.microsoft.com/office/drawing/2014/main" id="{CE32D1B6-15A6-44DF-B3F3-4DD49177F441}"/>
                </a:ext>
              </a:extLst>
            </p:cNvPr>
            <p:cNvSpPr/>
            <p:nvPr userDrawn="1"/>
          </p:nvSpPr>
          <p:spPr>
            <a:xfrm>
              <a:off x="-3319415" y="4145790"/>
              <a:ext cx="2944682" cy="794700"/>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11" name="Groep 110">
              <a:extLst>
                <a:ext uri="{FF2B5EF4-FFF2-40B4-BE49-F238E27FC236}">
                  <a16:creationId xmlns:a16="http://schemas.microsoft.com/office/drawing/2014/main" id="{93D93D81-9A13-4EB7-9216-F34833C96166}"/>
                </a:ext>
              </a:extLst>
            </p:cNvPr>
            <p:cNvGrpSpPr/>
            <p:nvPr userDrawn="1"/>
          </p:nvGrpSpPr>
          <p:grpSpPr>
            <a:xfrm>
              <a:off x="-3449237" y="5047414"/>
              <a:ext cx="622283" cy="612919"/>
              <a:chOff x="12617641" y="3403239"/>
              <a:chExt cx="752963" cy="741634"/>
            </a:xfrm>
          </p:grpSpPr>
          <p:grpSp>
            <p:nvGrpSpPr>
              <p:cNvPr id="135" name="Groep 134">
                <a:extLst>
                  <a:ext uri="{FF2B5EF4-FFF2-40B4-BE49-F238E27FC236}">
                    <a16:creationId xmlns:a16="http://schemas.microsoft.com/office/drawing/2014/main" id="{3F03301A-5B17-4206-9DD8-109A3F8B3C98}"/>
                  </a:ext>
                </a:extLst>
              </p:cNvPr>
              <p:cNvGrpSpPr/>
              <p:nvPr userDrawn="1"/>
            </p:nvGrpSpPr>
            <p:grpSpPr>
              <a:xfrm>
                <a:off x="12771550" y="3403239"/>
                <a:ext cx="467156" cy="448491"/>
                <a:chOff x="12782177" y="3403239"/>
                <a:chExt cx="467156" cy="448491"/>
              </a:xfrm>
            </p:grpSpPr>
            <p:grpSp>
              <p:nvGrpSpPr>
                <p:cNvPr id="140" name="Groep 139">
                  <a:extLst>
                    <a:ext uri="{FF2B5EF4-FFF2-40B4-BE49-F238E27FC236}">
                      <a16:creationId xmlns:a16="http://schemas.microsoft.com/office/drawing/2014/main" id="{C058BC3C-E6ED-4BA7-B831-902F027F9DC1}"/>
                    </a:ext>
                  </a:extLst>
                </p:cNvPr>
                <p:cNvGrpSpPr/>
                <p:nvPr userDrawn="1"/>
              </p:nvGrpSpPr>
              <p:grpSpPr>
                <a:xfrm>
                  <a:off x="12782177" y="3403239"/>
                  <a:ext cx="412972" cy="396132"/>
                  <a:chOff x="13554906" y="3320109"/>
                  <a:chExt cx="443912" cy="425811"/>
                </a:xfrm>
              </p:grpSpPr>
              <p:grpSp>
                <p:nvGrpSpPr>
                  <p:cNvPr id="148" name="Groep 147">
                    <a:extLst>
                      <a:ext uri="{FF2B5EF4-FFF2-40B4-BE49-F238E27FC236}">
                        <a16:creationId xmlns:a16="http://schemas.microsoft.com/office/drawing/2014/main" id="{EC689600-8FEA-40A4-BA73-82BAF1363003}"/>
                      </a:ext>
                    </a:extLst>
                  </p:cNvPr>
                  <p:cNvGrpSpPr/>
                  <p:nvPr userDrawn="1"/>
                </p:nvGrpSpPr>
                <p:grpSpPr>
                  <a:xfrm>
                    <a:off x="13554906" y="3320109"/>
                    <a:ext cx="443912" cy="425811"/>
                    <a:chOff x="12909684" y="1276143"/>
                    <a:chExt cx="443912" cy="425811"/>
                  </a:xfrm>
                </p:grpSpPr>
                <p:sp>
                  <p:nvSpPr>
                    <p:cNvPr id="151" name="Rechthoek 150">
                      <a:extLst>
                        <a:ext uri="{FF2B5EF4-FFF2-40B4-BE49-F238E27FC236}">
                          <a16:creationId xmlns:a16="http://schemas.microsoft.com/office/drawing/2014/main" id="{3062ACBB-6409-44A6-9AEC-0F1465E58649}"/>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52" name="Rechthoek 151">
                      <a:extLst>
                        <a:ext uri="{FF2B5EF4-FFF2-40B4-BE49-F238E27FC236}">
                          <a16:creationId xmlns:a16="http://schemas.microsoft.com/office/drawing/2014/main" id="{641AD931-8D1E-4BD2-A2D9-5A0DE456008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53" name="Ovaal 152">
                      <a:extLst>
                        <a:ext uri="{FF2B5EF4-FFF2-40B4-BE49-F238E27FC236}">
                          <a16:creationId xmlns:a16="http://schemas.microsoft.com/office/drawing/2014/main" id="{A1347D86-2EB0-4292-AD7B-C76FB8D77EA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pic>
                <p:nvPicPr>
                  <p:cNvPr id="149" name="Afbeelding 148">
                    <a:extLst>
                      <a:ext uri="{FF2B5EF4-FFF2-40B4-BE49-F238E27FC236}">
                        <a16:creationId xmlns:a16="http://schemas.microsoft.com/office/drawing/2014/main" id="{7CEF7890-2032-4E6A-BB65-935E1A93787C}"/>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50" name="Afbeelding 149">
                    <a:extLst>
                      <a:ext uri="{FF2B5EF4-FFF2-40B4-BE49-F238E27FC236}">
                        <a16:creationId xmlns:a16="http://schemas.microsoft.com/office/drawing/2014/main" id="{A77F6EE4-363F-4CAD-8A48-3FDB746B8CF7}"/>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41" name="Groep 140">
                  <a:extLst>
                    <a:ext uri="{FF2B5EF4-FFF2-40B4-BE49-F238E27FC236}">
                      <a16:creationId xmlns:a16="http://schemas.microsoft.com/office/drawing/2014/main" id="{3F2BFA79-A6DC-46BF-9E8F-8E94CCE73B48}"/>
                    </a:ext>
                  </a:extLst>
                </p:cNvPr>
                <p:cNvGrpSpPr/>
                <p:nvPr userDrawn="1"/>
              </p:nvGrpSpPr>
              <p:grpSpPr>
                <a:xfrm>
                  <a:off x="13103513" y="3705268"/>
                  <a:ext cx="145820" cy="146462"/>
                  <a:chOff x="13096169" y="3602278"/>
                  <a:chExt cx="145820" cy="146462"/>
                </a:xfrm>
              </p:grpSpPr>
              <p:sp>
                <p:nvSpPr>
                  <p:cNvPr id="146" name="Rechthoek 145">
                    <a:extLst>
                      <a:ext uri="{FF2B5EF4-FFF2-40B4-BE49-F238E27FC236}">
                        <a16:creationId xmlns:a16="http://schemas.microsoft.com/office/drawing/2014/main" id="{0856A4AF-D68D-4C25-8312-03D2EBDEFBB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5B0783C8-BC3F-456C-995B-AA025284075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142" name="Groep 141">
                  <a:extLst>
                    <a:ext uri="{FF2B5EF4-FFF2-40B4-BE49-F238E27FC236}">
                      <a16:creationId xmlns:a16="http://schemas.microsoft.com/office/drawing/2014/main" id="{7873D43D-206C-4C8A-9FA4-F969D62BC168}"/>
                    </a:ext>
                  </a:extLst>
                </p:cNvPr>
                <p:cNvGrpSpPr/>
                <p:nvPr userDrawn="1"/>
              </p:nvGrpSpPr>
              <p:grpSpPr>
                <a:xfrm rot="10800000">
                  <a:off x="13061402" y="3665637"/>
                  <a:ext cx="145820" cy="146462"/>
                  <a:chOff x="13096169" y="3602278"/>
                  <a:chExt cx="145820" cy="146462"/>
                </a:xfrm>
              </p:grpSpPr>
              <p:sp>
                <p:nvSpPr>
                  <p:cNvPr id="144" name="Rechthoek 143">
                    <a:extLst>
                      <a:ext uri="{FF2B5EF4-FFF2-40B4-BE49-F238E27FC236}">
                        <a16:creationId xmlns:a16="http://schemas.microsoft.com/office/drawing/2014/main" id="{F26A10B7-44B6-4162-83D7-748DEDA9817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BE3EED55-DFC2-4B14-84C7-D9534A5D963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sp>
            <p:nvSpPr>
              <p:cNvPr id="136" name="Rechthoek 135">
                <a:extLst>
                  <a:ext uri="{FF2B5EF4-FFF2-40B4-BE49-F238E27FC236}">
                    <a16:creationId xmlns:a16="http://schemas.microsoft.com/office/drawing/2014/main" id="{545B276C-2761-4214-B3DB-03487543FD4A}"/>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Crop</a:t>
                </a:r>
              </a:p>
            </p:txBody>
          </p:sp>
          <p:sp>
            <p:nvSpPr>
              <p:cNvPr id="139" name="Gelijkbenige driehoek 138">
                <a:extLst>
                  <a:ext uri="{FF2B5EF4-FFF2-40B4-BE49-F238E27FC236}">
                    <a16:creationId xmlns:a16="http://schemas.microsoft.com/office/drawing/2014/main" id="{E58C9E92-5931-43DD-AD20-5CDBDFB9AA4C}"/>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112" name="Rechthoek 111">
              <a:extLst>
                <a:ext uri="{FF2B5EF4-FFF2-40B4-BE49-F238E27FC236}">
                  <a16:creationId xmlns:a16="http://schemas.microsoft.com/office/drawing/2014/main" id="{60043D57-C23E-4960-8A0E-66F243B75CDA}"/>
                </a:ext>
              </a:extLst>
            </p:cNvPr>
            <p:cNvSpPr/>
            <p:nvPr userDrawn="1"/>
          </p:nvSpPr>
          <p:spPr>
            <a:xfrm>
              <a:off x="-331683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US" sz="750" b="0" i="1" noProof="0">
                <a:solidFill>
                  <a:srgbClr val="211F26"/>
                </a:solidFill>
                <a:latin typeface="Calibri" panose="020F0502020204030204" pitchFamily="34" charset="0"/>
                <a:cs typeface="Calibri" panose="020F0502020204030204" pitchFamily="34" charset="0"/>
              </a:endParaRPr>
            </a:p>
          </p:txBody>
        </p:sp>
        <p:grpSp>
          <p:nvGrpSpPr>
            <p:cNvPr id="113" name="Groep 112">
              <a:extLst>
                <a:ext uri="{FF2B5EF4-FFF2-40B4-BE49-F238E27FC236}">
                  <a16:creationId xmlns:a16="http://schemas.microsoft.com/office/drawing/2014/main" id="{49AD6808-0764-49DE-8B66-19FA8BA25EE1}"/>
                </a:ext>
              </a:extLst>
            </p:cNvPr>
            <p:cNvGrpSpPr/>
            <p:nvPr userDrawn="1"/>
          </p:nvGrpSpPr>
          <p:grpSpPr>
            <a:xfrm>
              <a:off x="-2485819" y="3399207"/>
              <a:ext cx="1222990" cy="563933"/>
              <a:chOff x="-2485819" y="3399207"/>
              <a:chExt cx="1222990" cy="563933"/>
            </a:xfrm>
          </p:grpSpPr>
          <p:sp>
            <p:nvSpPr>
              <p:cNvPr id="114" name="Rechthoek 113">
                <a:extLst>
                  <a:ext uri="{FF2B5EF4-FFF2-40B4-BE49-F238E27FC236}">
                    <a16:creationId xmlns:a16="http://schemas.microsoft.com/office/drawing/2014/main" id="{0C912CB1-E48B-4960-A44C-FFFB24BCCC17}"/>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3AAA38BD-4B8C-444E-B8ED-BA8C8F7059D0}"/>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116" name="Groep 115">
                <a:extLst>
                  <a:ext uri="{FF2B5EF4-FFF2-40B4-BE49-F238E27FC236}">
                    <a16:creationId xmlns:a16="http://schemas.microsoft.com/office/drawing/2014/main" id="{DC2D3A3A-899D-4D79-9520-2C9FB2B2EFE7}"/>
                  </a:ext>
                </a:extLst>
              </p:cNvPr>
              <p:cNvGrpSpPr/>
              <p:nvPr userDrawn="1"/>
            </p:nvGrpSpPr>
            <p:grpSpPr>
              <a:xfrm>
                <a:off x="-2403869" y="3460544"/>
                <a:ext cx="155951" cy="131922"/>
                <a:chOff x="12968836" y="3354170"/>
                <a:chExt cx="404806" cy="342433"/>
              </a:xfrm>
            </p:grpSpPr>
            <p:sp>
              <p:nvSpPr>
                <p:cNvPr id="129" name="Rechthoek: afgeronde hoeken 128">
                  <a:extLst>
                    <a:ext uri="{FF2B5EF4-FFF2-40B4-BE49-F238E27FC236}">
                      <a16:creationId xmlns:a16="http://schemas.microsoft.com/office/drawing/2014/main" id="{B7D17070-6866-4F57-BB5C-718B0971E18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30" name="Rechthoek 129">
                  <a:extLst>
                    <a:ext uri="{FF2B5EF4-FFF2-40B4-BE49-F238E27FC236}">
                      <a16:creationId xmlns:a16="http://schemas.microsoft.com/office/drawing/2014/main" id="{9C7C5207-E00B-4AE6-9644-ADD9F636671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459F7B59-9716-4651-82B4-0D73AA504CA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461FC78E-A6DF-4CE6-AEB9-FB95DD2551A9}"/>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33" name="Rechthoek 132">
                  <a:extLst>
                    <a:ext uri="{FF2B5EF4-FFF2-40B4-BE49-F238E27FC236}">
                      <a16:creationId xmlns:a16="http://schemas.microsoft.com/office/drawing/2014/main" id="{902C63C1-02CF-425A-9D7C-8BC24A81B40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34" name="Rechthoek 133">
                  <a:extLst>
                    <a:ext uri="{FF2B5EF4-FFF2-40B4-BE49-F238E27FC236}">
                      <a16:creationId xmlns:a16="http://schemas.microsoft.com/office/drawing/2014/main" id="{14CE90F0-D934-416C-A61F-FDAB89DF3F8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117" name="Groep 116">
                <a:extLst>
                  <a:ext uri="{FF2B5EF4-FFF2-40B4-BE49-F238E27FC236}">
                    <a16:creationId xmlns:a16="http://schemas.microsoft.com/office/drawing/2014/main" id="{987573FA-5428-42DB-80AB-DF8E81411A7F}"/>
                  </a:ext>
                </a:extLst>
              </p:cNvPr>
              <p:cNvGrpSpPr/>
              <p:nvPr userDrawn="1"/>
            </p:nvGrpSpPr>
            <p:grpSpPr>
              <a:xfrm>
                <a:off x="-2423424" y="3690208"/>
                <a:ext cx="166739" cy="218963"/>
                <a:chOff x="12940828" y="3950597"/>
                <a:chExt cx="432813" cy="568367"/>
              </a:xfrm>
            </p:grpSpPr>
            <p:grpSp>
              <p:nvGrpSpPr>
                <p:cNvPr id="121" name="Groep 120">
                  <a:extLst>
                    <a:ext uri="{FF2B5EF4-FFF2-40B4-BE49-F238E27FC236}">
                      <a16:creationId xmlns:a16="http://schemas.microsoft.com/office/drawing/2014/main" id="{518A2E1F-18CC-420D-9642-F58CE7777BA7}"/>
                    </a:ext>
                  </a:extLst>
                </p:cNvPr>
                <p:cNvGrpSpPr/>
                <p:nvPr userDrawn="1"/>
              </p:nvGrpSpPr>
              <p:grpSpPr>
                <a:xfrm>
                  <a:off x="13000382" y="4006891"/>
                  <a:ext cx="373259" cy="315747"/>
                  <a:chOff x="12968836" y="3354170"/>
                  <a:chExt cx="404806" cy="342433"/>
                </a:xfrm>
              </p:grpSpPr>
              <p:sp>
                <p:nvSpPr>
                  <p:cNvPr id="123" name="Rechthoek: afgeronde hoeken 122">
                    <a:extLst>
                      <a:ext uri="{FF2B5EF4-FFF2-40B4-BE49-F238E27FC236}">
                        <a16:creationId xmlns:a16="http://schemas.microsoft.com/office/drawing/2014/main" id="{ED852B49-8AAB-4CE9-A17D-F4B8F0BD1A2E}"/>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24" name="Rechthoek 123">
                    <a:extLst>
                      <a:ext uri="{FF2B5EF4-FFF2-40B4-BE49-F238E27FC236}">
                        <a16:creationId xmlns:a16="http://schemas.microsoft.com/office/drawing/2014/main" id="{51DC534A-EF3E-4464-8E8A-82722B7147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25" name="Rechthoek 124">
                    <a:extLst>
                      <a:ext uri="{FF2B5EF4-FFF2-40B4-BE49-F238E27FC236}">
                        <a16:creationId xmlns:a16="http://schemas.microsoft.com/office/drawing/2014/main" id="{FDC87CEB-54F9-40D5-8751-9131F828C4E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26" name="Rechthoek 125">
                    <a:extLst>
                      <a:ext uri="{FF2B5EF4-FFF2-40B4-BE49-F238E27FC236}">
                        <a16:creationId xmlns:a16="http://schemas.microsoft.com/office/drawing/2014/main" id="{4837EF12-971D-4D37-A310-E8C7B1AB3C8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27" name="Rechthoek 126">
                    <a:extLst>
                      <a:ext uri="{FF2B5EF4-FFF2-40B4-BE49-F238E27FC236}">
                        <a16:creationId xmlns:a16="http://schemas.microsoft.com/office/drawing/2014/main" id="{0439E670-76B7-4F5D-9C8F-CA7DDA0FCA6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28" name="Rechthoek 127">
                    <a:extLst>
                      <a:ext uri="{FF2B5EF4-FFF2-40B4-BE49-F238E27FC236}">
                        <a16:creationId xmlns:a16="http://schemas.microsoft.com/office/drawing/2014/main" id="{A946E274-8F27-4D94-8F73-57D0E76A1B5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122" name="Boog 121">
                  <a:extLst>
                    <a:ext uri="{FF2B5EF4-FFF2-40B4-BE49-F238E27FC236}">
                      <a16:creationId xmlns:a16="http://schemas.microsoft.com/office/drawing/2014/main" id="{D63C454A-3210-4AFA-94ED-FCCA279194D2}"/>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sp>
            <p:nvSpPr>
              <p:cNvPr id="118" name="Tekstvak 117">
                <a:extLst>
                  <a:ext uri="{FF2B5EF4-FFF2-40B4-BE49-F238E27FC236}">
                    <a16:creationId xmlns:a16="http://schemas.microsoft.com/office/drawing/2014/main" id="{CFA2C1DB-2DD0-4966-831A-42452F89097A}"/>
                  </a:ext>
                </a:extLst>
              </p:cNvPr>
              <p:cNvSpPr txBox="1"/>
              <p:nvPr userDrawn="1"/>
            </p:nvSpPr>
            <p:spPr>
              <a:xfrm>
                <a:off x="-2245455" y="3460544"/>
                <a:ext cx="896116" cy="134709"/>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Layout</a:t>
                </a:r>
              </a:p>
            </p:txBody>
          </p:sp>
          <p:sp>
            <p:nvSpPr>
              <p:cNvPr id="119" name="Tekstvak 118">
                <a:extLst>
                  <a:ext uri="{FF2B5EF4-FFF2-40B4-BE49-F238E27FC236}">
                    <a16:creationId xmlns:a16="http://schemas.microsoft.com/office/drawing/2014/main" id="{EB89EBAC-3A7B-40BC-9060-35585069B6A9}"/>
                  </a:ext>
                </a:extLst>
              </p:cNvPr>
              <p:cNvSpPr txBox="1"/>
              <p:nvPr userDrawn="1"/>
            </p:nvSpPr>
            <p:spPr>
              <a:xfrm>
                <a:off x="-2258884" y="3712980"/>
                <a:ext cx="909545" cy="126416"/>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120" name="Vrije vorm: vorm 119">
                <a:extLst>
                  <a:ext uri="{FF2B5EF4-FFF2-40B4-BE49-F238E27FC236}">
                    <a16:creationId xmlns:a16="http://schemas.microsoft.com/office/drawing/2014/main" id="{9822B346-AEC7-404A-AE20-122DB2AAE6DA}"/>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450"/>
                  </a:spcBef>
                  <a:spcAft>
                    <a:spcPts val="450"/>
                  </a:spcAft>
                </a:pPr>
                <a:endParaRPr lang="en-US" sz="1200" cap="all" baseline="0" noProof="0">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371704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_Slide">
    <p:spTree>
      <p:nvGrpSpPr>
        <p:cNvPr id="1" name=""/>
        <p:cNvGrpSpPr/>
        <p:nvPr/>
      </p:nvGrpSpPr>
      <p:grpSpPr>
        <a:xfrm>
          <a:off x="0" y="0"/>
          <a:ext cx="0" cy="0"/>
          <a:chOff x="0" y="0"/>
          <a:chExt cx="0" cy="0"/>
        </a:xfrm>
      </p:grpSpPr>
      <p:cxnSp>
        <p:nvCxnSpPr>
          <p:cNvPr id="25" name="Straight Connector 24"/>
          <p:cNvCxnSpPr>
            <a:cxnSpLocks/>
          </p:cNvCxnSpPr>
          <p:nvPr/>
        </p:nvCxnSpPr>
        <p:spPr>
          <a:xfrm flipH="1">
            <a:off x="4710643" y="1096321"/>
            <a:ext cx="3222427" cy="0"/>
          </a:xfrm>
          <a:prstGeom prst="line">
            <a:avLst/>
          </a:prstGeom>
          <a:ln w="28575">
            <a:solidFill>
              <a:srgbClr val="218455"/>
            </a:solidFill>
          </a:ln>
        </p:spPr>
        <p:style>
          <a:lnRef idx="1">
            <a:schemeClr val="accent1"/>
          </a:lnRef>
          <a:fillRef idx="0">
            <a:schemeClr val="accent1"/>
          </a:fillRef>
          <a:effectRef idx="0">
            <a:schemeClr val="accent1"/>
          </a:effectRef>
          <a:fontRef idx="minor">
            <a:schemeClr val="tx1"/>
          </a:fontRef>
        </p:style>
      </p:cxnSp>
      <p:sp>
        <p:nvSpPr>
          <p:cNvPr id="27" name="Text Placeholder 2"/>
          <p:cNvSpPr>
            <a:spLocks noGrp="1"/>
          </p:cNvSpPr>
          <p:nvPr>
            <p:ph idx="16" hasCustomPrompt="1"/>
          </p:nvPr>
        </p:nvSpPr>
        <p:spPr>
          <a:xfrm>
            <a:off x="5435596" y="1528239"/>
            <a:ext cx="3420533" cy="330201"/>
          </a:xfrm>
          <a:prstGeom prst="rect">
            <a:avLst/>
          </a:prstGeom>
        </p:spPr>
        <p:txBody>
          <a:bodyPr vert="horz" lIns="68580" tIns="34290" rIns="68580" bIns="34290" rtlCol="0">
            <a:noAutofit/>
          </a:bodyPr>
          <a:lstStyle>
            <a:lvl1pPr marL="0" indent="0">
              <a:buNone/>
              <a:defRPr sz="1800">
                <a:latin typeface="Open Sans"/>
                <a:cs typeface="Open Sans"/>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noProof="0"/>
              <a:t>Click to edit content</a:t>
            </a:r>
          </a:p>
        </p:txBody>
      </p:sp>
      <p:sp>
        <p:nvSpPr>
          <p:cNvPr id="28" name="Text Placeholder 2"/>
          <p:cNvSpPr>
            <a:spLocks noGrp="1"/>
          </p:cNvSpPr>
          <p:nvPr>
            <p:ph idx="17" hasCustomPrompt="1"/>
          </p:nvPr>
        </p:nvSpPr>
        <p:spPr>
          <a:xfrm>
            <a:off x="4741330" y="1528239"/>
            <a:ext cx="550333" cy="330201"/>
          </a:xfrm>
          <a:prstGeom prst="rect">
            <a:avLst/>
          </a:prstGeom>
        </p:spPr>
        <p:txBody>
          <a:bodyPr vert="horz" lIns="68580" tIns="34290" rIns="68580" bIns="34290" rtlCol="0">
            <a:normAutofit/>
          </a:bodyPr>
          <a:lstStyle>
            <a:lvl1pPr marL="0" indent="0">
              <a:buNone/>
              <a:defRPr sz="1900" b="1">
                <a:latin typeface="Avenir Next Bold"/>
                <a:cs typeface="Avenir Next Bold"/>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a:t>01.</a:t>
            </a:r>
          </a:p>
        </p:txBody>
      </p:sp>
      <p:sp>
        <p:nvSpPr>
          <p:cNvPr id="29" name="Text Placeholder 2"/>
          <p:cNvSpPr>
            <a:spLocks noGrp="1"/>
          </p:cNvSpPr>
          <p:nvPr>
            <p:ph idx="18" hasCustomPrompt="1"/>
          </p:nvPr>
        </p:nvSpPr>
        <p:spPr>
          <a:xfrm>
            <a:off x="5435597" y="2056982"/>
            <a:ext cx="3420533" cy="330201"/>
          </a:xfrm>
          <a:prstGeom prst="rect">
            <a:avLst/>
          </a:prstGeom>
        </p:spPr>
        <p:txBody>
          <a:bodyPr vert="horz" lIns="68580" tIns="34290" rIns="68580" bIns="34290" rtlCol="0">
            <a:noAutofit/>
          </a:bodyPr>
          <a:lstStyle>
            <a:lvl1pPr marL="0" indent="0">
              <a:buNone/>
              <a:defRPr sz="1800">
                <a:latin typeface="Open Sans"/>
                <a:cs typeface="Open Sans"/>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noProof="0"/>
              <a:t>Click to edit content</a:t>
            </a:r>
          </a:p>
        </p:txBody>
      </p:sp>
      <p:sp>
        <p:nvSpPr>
          <p:cNvPr id="30" name="Text Placeholder 2"/>
          <p:cNvSpPr>
            <a:spLocks noGrp="1"/>
          </p:cNvSpPr>
          <p:nvPr>
            <p:ph idx="19" hasCustomPrompt="1"/>
          </p:nvPr>
        </p:nvSpPr>
        <p:spPr>
          <a:xfrm>
            <a:off x="4741330" y="2056982"/>
            <a:ext cx="550333" cy="330201"/>
          </a:xfrm>
          <a:prstGeom prst="rect">
            <a:avLst/>
          </a:prstGeom>
        </p:spPr>
        <p:txBody>
          <a:bodyPr vert="horz" lIns="68580" tIns="34290" rIns="68580" bIns="34290" rtlCol="0">
            <a:normAutofit/>
          </a:bodyPr>
          <a:lstStyle>
            <a:lvl1pPr marL="0" indent="0">
              <a:buNone/>
              <a:defRPr sz="1900" b="1">
                <a:latin typeface="Avenir Next Bold"/>
                <a:cs typeface="Avenir Next Bold"/>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a:t>02.</a:t>
            </a:r>
          </a:p>
        </p:txBody>
      </p:sp>
      <p:sp>
        <p:nvSpPr>
          <p:cNvPr id="31" name="Text Placeholder 2"/>
          <p:cNvSpPr>
            <a:spLocks noGrp="1"/>
          </p:cNvSpPr>
          <p:nvPr>
            <p:ph idx="20" hasCustomPrompt="1"/>
          </p:nvPr>
        </p:nvSpPr>
        <p:spPr>
          <a:xfrm>
            <a:off x="5435597" y="2585725"/>
            <a:ext cx="3420532" cy="330201"/>
          </a:xfrm>
          <a:prstGeom prst="rect">
            <a:avLst/>
          </a:prstGeom>
        </p:spPr>
        <p:txBody>
          <a:bodyPr vert="horz" lIns="68580" tIns="34290" rIns="68580" bIns="34290" rtlCol="0">
            <a:noAutofit/>
          </a:bodyPr>
          <a:lstStyle>
            <a:lvl1pPr marL="0" indent="0">
              <a:buNone/>
              <a:defRPr sz="1800">
                <a:latin typeface="Open Sans"/>
                <a:cs typeface="Open Sans"/>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noProof="0"/>
              <a:t>Click to edit content</a:t>
            </a:r>
          </a:p>
        </p:txBody>
      </p:sp>
      <p:sp>
        <p:nvSpPr>
          <p:cNvPr id="32" name="Text Placeholder 2"/>
          <p:cNvSpPr>
            <a:spLocks noGrp="1"/>
          </p:cNvSpPr>
          <p:nvPr>
            <p:ph idx="21" hasCustomPrompt="1"/>
          </p:nvPr>
        </p:nvSpPr>
        <p:spPr>
          <a:xfrm>
            <a:off x="4741330" y="2585725"/>
            <a:ext cx="550333" cy="330201"/>
          </a:xfrm>
          <a:prstGeom prst="rect">
            <a:avLst/>
          </a:prstGeom>
        </p:spPr>
        <p:txBody>
          <a:bodyPr vert="horz" lIns="68580" tIns="34290" rIns="68580" bIns="34290" rtlCol="0">
            <a:normAutofit/>
          </a:bodyPr>
          <a:lstStyle>
            <a:lvl1pPr marL="0" indent="0">
              <a:buNone/>
              <a:defRPr sz="1900" b="1">
                <a:latin typeface="Avenir Next Bold"/>
                <a:cs typeface="Avenir Next Bold"/>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a:t>03.</a:t>
            </a:r>
          </a:p>
        </p:txBody>
      </p:sp>
      <p:sp>
        <p:nvSpPr>
          <p:cNvPr id="33" name="Text Placeholder 2"/>
          <p:cNvSpPr>
            <a:spLocks noGrp="1"/>
          </p:cNvSpPr>
          <p:nvPr>
            <p:ph idx="22" hasCustomPrompt="1"/>
          </p:nvPr>
        </p:nvSpPr>
        <p:spPr>
          <a:xfrm>
            <a:off x="5435597" y="3114468"/>
            <a:ext cx="3420533" cy="330201"/>
          </a:xfrm>
          <a:prstGeom prst="rect">
            <a:avLst/>
          </a:prstGeom>
        </p:spPr>
        <p:txBody>
          <a:bodyPr vert="horz" lIns="68580" tIns="34290" rIns="68580" bIns="34290" rtlCol="0">
            <a:noAutofit/>
          </a:bodyPr>
          <a:lstStyle>
            <a:lvl1pPr marL="0" indent="0">
              <a:buNone/>
              <a:defRPr sz="1800">
                <a:latin typeface="Open Sans"/>
                <a:cs typeface="Open Sans"/>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noProof="0"/>
              <a:t>Click to edit content</a:t>
            </a:r>
          </a:p>
        </p:txBody>
      </p:sp>
      <p:sp>
        <p:nvSpPr>
          <p:cNvPr id="34" name="Text Placeholder 2"/>
          <p:cNvSpPr>
            <a:spLocks noGrp="1"/>
          </p:cNvSpPr>
          <p:nvPr>
            <p:ph idx="23" hasCustomPrompt="1"/>
          </p:nvPr>
        </p:nvSpPr>
        <p:spPr>
          <a:xfrm>
            <a:off x="4741330" y="3114468"/>
            <a:ext cx="550333" cy="330201"/>
          </a:xfrm>
          <a:prstGeom prst="rect">
            <a:avLst/>
          </a:prstGeom>
        </p:spPr>
        <p:txBody>
          <a:bodyPr vert="horz" lIns="68580" tIns="34290" rIns="68580" bIns="34290" rtlCol="0">
            <a:normAutofit/>
          </a:bodyPr>
          <a:lstStyle>
            <a:lvl1pPr marL="0" indent="0">
              <a:buNone/>
              <a:defRPr sz="1900" b="1">
                <a:latin typeface="Avenir Next Bold"/>
                <a:cs typeface="Avenir Next Bold"/>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a:t>04.</a:t>
            </a:r>
          </a:p>
        </p:txBody>
      </p:sp>
      <p:sp>
        <p:nvSpPr>
          <p:cNvPr id="35" name="Text Placeholder 2"/>
          <p:cNvSpPr>
            <a:spLocks noGrp="1"/>
          </p:cNvSpPr>
          <p:nvPr>
            <p:ph idx="24" hasCustomPrompt="1"/>
          </p:nvPr>
        </p:nvSpPr>
        <p:spPr>
          <a:xfrm>
            <a:off x="5435597" y="3643211"/>
            <a:ext cx="3420532" cy="330201"/>
          </a:xfrm>
          <a:prstGeom prst="rect">
            <a:avLst/>
          </a:prstGeom>
        </p:spPr>
        <p:txBody>
          <a:bodyPr vert="horz" lIns="68580" tIns="34290" rIns="68580" bIns="34290" rtlCol="0">
            <a:noAutofit/>
          </a:bodyPr>
          <a:lstStyle>
            <a:lvl1pPr marL="0" indent="0">
              <a:buNone/>
              <a:defRPr sz="1800">
                <a:latin typeface="Open Sans"/>
                <a:cs typeface="Open Sans"/>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noProof="0"/>
              <a:t>Click to edit content</a:t>
            </a:r>
          </a:p>
        </p:txBody>
      </p:sp>
      <p:sp>
        <p:nvSpPr>
          <p:cNvPr id="36" name="Text Placeholder 2"/>
          <p:cNvSpPr>
            <a:spLocks noGrp="1"/>
          </p:cNvSpPr>
          <p:nvPr>
            <p:ph idx="25" hasCustomPrompt="1"/>
          </p:nvPr>
        </p:nvSpPr>
        <p:spPr>
          <a:xfrm>
            <a:off x="4741330" y="3643211"/>
            <a:ext cx="550333" cy="330201"/>
          </a:xfrm>
          <a:prstGeom prst="rect">
            <a:avLst/>
          </a:prstGeom>
        </p:spPr>
        <p:txBody>
          <a:bodyPr vert="horz" lIns="68580" tIns="34290" rIns="68580" bIns="34290" rtlCol="0">
            <a:normAutofit/>
          </a:bodyPr>
          <a:lstStyle>
            <a:lvl1pPr marL="0" indent="0">
              <a:buNone/>
              <a:defRPr sz="1900" b="1">
                <a:latin typeface="Avenir Next Bold"/>
                <a:cs typeface="Avenir Next Bold"/>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a:t>05.</a:t>
            </a:r>
          </a:p>
        </p:txBody>
      </p:sp>
      <p:sp>
        <p:nvSpPr>
          <p:cNvPr id="37" name="Text Placeholder 2"/>
          <p:cNvSpPr>
            <a:spLocks noGrp="1"/>
          </p:cNvSpPr>
          <p:nvPr>
            <p:ph idx="26" hasCustomPrompt="1"/>
          </p:nvPr>
        </p:nvSpPr>
        <p:spPr>
          <a:xfrm>
            <a:off x="5435597" y="4171956"/>
            <a:ext cx="3420532" cy="330201"/>
          </a:xfrm>
          <a:prstGeom prst="rect">
            <a:avLst/>
          </a:prstGeom>
        </p:spPr>
        <p:txBody>
          <a:bodyPr vert="horz" lIns="68580" tIns="34290" rIns="68580" bIns="34290" rtlCol="0">
            <a:noAutofit/>
          </a:bodyPr>
          <a:lstStyle>
            <a:lvl1pPr marL="0" indent="0">
              <a:buNone/>
              <a:defRPr sz="1800">
                <a:latin typeface="Open Sans"/>
                <a:cs typeface="Open Sans"/>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noProof="0"/>
              <a:t>Click to edit content</a:t>
            </a:r>
          </a:p>
        </p:txBody>
      </p:sp>
      <p:sp>
        <p:nvSpPr>
          <p:cNvPr id="38" name="Text Placeholder 2"/>
          <p:cNvSpPr>
            <a:spLocks noGrp="1"/>
          </p:cNvSpPr>
          <p:nvPr>
            <p:ph idx="27" hasCustomPrompt="1"/>
          </p:nvPr>
        </p:nvSpPr>
        <p:spPr>
          <a:xfrm>
            <a:off x="4741330" y="4171956"/>
            <a:ext cx="550333" cy="330201"/>
          </a:xfrm>
          <a:prstGeom prst="rect">
            <a:avLst/>
          </a:prstGeom>
        </p:spPr>
        <p:txBody>
          <a:bodyPr vert="horz" lIns="68580" tIns="34290" rIns="68580" bIns="34290" rtlCol="0">
            <a:normAutofit/>
          </a:bodyPr>
          <a:lstStyle>
            <a:lvl1pPr marL="0" indent="0">
              <a:buNone/>
              <a:defRPr sz="1900" b="1">
                <a:latin typeface="Avenir Next Bold"/>
                <a:cs typeface="Avenir Next Bold"/>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a:t>06.</a:t>
            </a:r>
          </a:p>
        </p:txBody>
      </p:sp>
      <p:sp>
        <p:nvSpPr>
          <p:cNvPr id="39" name="Text Placeholder 2"/>
          <p:cNvSpPr>
            <a:spLocks noGrp="1"/>
          </p:cNvSpPr>
          <p:nvPr>
            <p:ph idx="28" hasCustomPrompt="1"/>
          </p:nvPr>
        </p:nvSpPr>
        <p:spPr>
          <a:xfrm>
            <a:off x="4672022" y="567266"/>
            <a:ext cx="3454399" cy="476250"/>
          </a:xfrm>
          <a:prstGeom prst="rect">
            <a:avLst/>
          </a:prstGeom>
        </p:spPr>
        <p:txBody>
          <a:bodyPr vert="horz" lIns="68580" tIns="34290" rIns="68580" bIns="34290" rtlCol="0">
            <a:noAutofit/>
          </a:bodyPr>
          <a:lstStyle>
            <a:lvl1pPr marL="0" indent="0">
              <a:buNone/>
              <a:defRPr sz="3000" b="1" i="0" cap="all">
                <a:solidFill>
                  <a:srgbClr val="B1503A"/>
                </a:solidFill>
                <a:latin typeface="AvenirNext LT Pro Bold" panose="020B0504020202020204" pitchFamily="34" charset="77"/>
                <a:cs typeface="AvenirNext LT Pro Bold" panose="020B0504020202020204" pitchFamily="34" charset="77"/>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noProof="0"/>
              <a:t>Today’s Topics</a:t>
            </a:r>
          </a:p>
        </p:txBody>
      </p:sp>
      <p:cxnSp>
        <p:nvCxnSpPr>
          <p:cNvPr id="17" name="Straight Connector 24"/>
          <p:cNvCxnSpPr>
            <a:cxnSpLocks/>
          </p:cNvCxnSpPr>
          <p:nvPr/>
        </p:nvCxnSpPr>
        <p:spPr>
          <a:xfrm flipH="1">
            <a:off x="4710643" y="1096321"/>
            <a:ext cx="3222427" cy="0"/>
          </a:xfrm>
          <a:prstGeom prst="line">
            <a:avLst/>
          </a:prstGeom>
          <a:ln w="28575">
            <a:solidFill>
              <a:srgbClr val="218455"/>
            </a:solidFill>
          </a:ln>
        </p:spPr>
        <p:style>
          <a:lnRef idx="1">
            <a:schemeClr val="accent1"/>
          </a:lnRef>
          <a:fillRef idx="0">
            <a:schemeClr val="accent1"/>
          </a:fillRef>
          <a:effectRef idx="0">
            <a:schemeClr val="accent1"/>
          </a:effectRef>
          <a:fontRef idx="minor">
            <a:schemeClr val="tx1"/>
          </a:fontRef>
        </p:style>
      </p:cxnSp>
      <p:cxnSp>
        <p:nvCxnSpPr>
          <p:cNvPr id="18" name="Straight Connector 24">
            <a:extLst>
              <a:ext uri="{FF2B5EF4-FFF2-40B4-BE49-F238E27FC236}">
                <a16:creationId xmlns:a16="http://schemas.microsoft.com/office/drawing/2014/main" id="{3B07C6B9-730E-4DB9-9496-EE2C746889DC}"/>
              </a:ext>
            </a:extLst>
          </p:cNvPr>
          <p:cNvCxnSpPr>
            <a:cxnSpLocks/>
          </p:cNvCxnSpPr>
          <p:nvPr userDrawn="1"/>
        </p:nvCxnSpPr>
        <p:spPr>
          <a:xfrm flipH="1">
            <a:off x="4710643" y="1096321"/>
            <a:ext cx="3222427" cy="0"/>
          </a:xfrm>
          <a:prstGeom prst="line">
            <a:avLst/>
          </a:prstGeom>
          <a:ln w="28575">
            <a:solidFill>
              <a:srgbClr val="B1503A"/>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661052A-B639-04C7-5BD7-E8FC9185B7E1}"/>
              </a:ext>
            </a:extLst>
          </p:cNvPr>
          <p:cNvPicPr>
            <a:picLocks noChangeAspect="1"/>
          </p:cNvPicPr>
          <p:nvPr userDrawn="1"/>
        </p:nvPicPr>
        <p:blipFill>
          <a:blip r:embed="rId2">
            <a:extLst>
              <a:ext uri="{28A0092B-C50C-407E-A947-70E740481C1C}">
                <a14:useLocalDpi xmlns:a14="http://schemas.microsoft.com/office/drawing/2010/main" val="0"/>
              </a:ext>
            </a:extLst>
          </a:blip>
          <a:srcRect l="22878" r="22878"/>
          <a:stretch/>
        </p:blipFill>
        <p:spPr>
          <a:xfrm>
            <a:off x="-1" y="0"/>
            <a:ext cx="4186239" cy="5143500"/>
          </a:xfrm>
          <a:prstGeom prst="rect">
            <a:avLst/>
          </a:prstGeom>
        </p:spPr>
      </p:pic>
    </p:spTree>
    <p:extLst>
      <p:ext uri="{BB962C8B-B14F-4D97-AF65-F5344CB8AC3E}">
        <p14:creationId xmlns:p14="http://schemas.microsoft.com/office/powerpoint/2010/main" val="2611210878"/>
      </p:ext>
    </p:extLst>
  </p:cSld>
  <p:clrMapOvr>
    <a:masterClrMapping/>
  </p:clrMapOvr>
  <p:extLst>
    <p:ext uri="{DCECCB84-F9BA-43D5-87BE-67443E8EF086}">
      <p15:sldGuideLst xmlns:p15="http://schemas.microsoft.com/office/powerpoint/2012/main">
        <p15:guide id="3" orient="horz" pos="1620">
          <p15:clr>
            <a:srgbClr val="FBAE40"/>
          </p15:clr>
        </p15:guide>
        <p15:guide id="4" pos="28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image and Quote">
    <p:spTree>
      <p:nvGrpSpPr>
        <p:cNvPr id="1" name=""/>
        <p:cNvGrpSpPr/>
        <p:nvPr/>
      </p:nvGrpSpPr>
      <p:grpSpPr>
        <a:xfrm>
          <a:off x="0" y="0"/>
          <a:ext cx="0" cy="0"/>
          <a:chOff x="0" y="0"/>
          <a:chExt cx="0" cy="0"/>
        </a:xfrm>
      </p:grpSpPr>
      <p:sp>
        <p:nvSpPr>
          <p:cNvPr id="145" name="Tijdelijke aanduiding voor afbeelding 144">
            <a:extLst>
              <a:ext uri="{FF2B5EF4-FFF2-40B4-BE49-F238E27FC236}">
                <a16:creationId xmlns:a16="http://schemas.microsoft.com/office/drawing/2014/main" id="{A36AE6BB-5E1B-452D-971D-76E4C10E15BA}"/>
              </a:ext>
            </a:extLst>
          </p:cNvPr>
          <p:cNvSpPr>
            <a:spLocks noGrp="1"/>
          </p:cNvSpPr>
          <p:nvPr>
            <p:ph type="pic" sz="quarter" idx="14" hasCustomPrompt="1"/>
          </p:nvPr>
        </p:nvSpPr>
        <p:spPr>
          <a:xfrm>
            <a:off x="-4032" y="0"/>
            <a:ext cx="9152063" cy="5143500"/>
          </a:xfrm>
          <a:custGeom>
            <a:avLst/>
            <a:gdLst>
              <a:gd name="connsiteX0" fmla="*/ 0 w 12202750"/>
              <a:gd name="connsiteY0" fmla="*/ 6392677 h 6858000"/>
              <a:gd name="connsiteX1" fmla="*/ 5375 w 12202750"/>
              <a:gd name="connsiteY1" fmla="*/ 6854032 h 6858000"/>
              <a:gd name="connsiteX2" fmla="*/ 12199756 w 12202750"/>
              <a:gd name="connsiteY2" fmla="*/ 6858000 h 6858000"/>
              <a:gd name="connsiteX3" fmla="*/ 0 w 12202750"/>
              <a:gd name="connsiteY3" fmla="*/ 6858000 h 6858000"/>
              <a:gd name="connsiteX4" fmla="*/ 0 w 12202750"/>
              <a:gd name="connsiteY4" fmla="*/ 0 h 6858000"/>
              <a:gd name="connsiteX5" fmla="*/ 12202750 w 12202750"/>
              <a:gd name="connsiteY5" fmla="*/ 0 h 6858000"/>
              <a:gd name="connsiteX6" fmla="*/ 12202750 w 12202750"/>
              <a:gd name="connsiteY6" fmla="*/ 6858000 h 6858000"/>
              <a:gd name="connsiteX7" fmla="*/ 12199756 w 12202750"/>
              <a:gd name="connsiteY7" fmla="*/ 6858000 h 6858000"/>
              <a:gd name="connsiteX8" fmla="*/ 12197376 w 12202750"/>
              <a:gd name="connsiteY8" fmla="*/ 6022181 h 6858000"/>
              <a:gd name="connsiteX9" fmla="*/ 4901227 w 12202750"/>
              <a:gd name="connsiteY9" fmla="*/ 6003131 h 6858000"/>
              <a:gd name="connsiteX10" fmla="*/ 4640877 w 12202750"/>
              <a:gd name="connsiteY10" fmla="*/ 5984081 h 6858000"/>
              <a:gd name="connsiteX11" fmla="*/ 4307502 w 12202750"/>
              <a:gd name="connsiteY11" fmla="*/ 5920581 h 6858000"/>
              <a:gd name="connsiteX12" fmla="*/ 4069378 w 12202750"/>
              <a:gd name="connsiteY12" fmla="*/ 5936455 h 6858000"/>
              <a:gd name="connsiteX13" fmla="*/ 2967653 w 12202750"/>
              <a:gd name="connsiteY13" fmla="*/ 6146005 h 6858000"/>
              <a:gd name="connsiteX14" fmla="*/ 1608753 w 12202750"/>
              <a:gd name="connsiteY14" fmla="*/ 6038055 h 6858000"/>
              <a:gd name="connsiteX15" fmla="*/ 1354753 w 12202750"/>
              <a:gd name="connsiteY15" fmla="*/ 6038055 h 6858000"/>
              <a:gd name="connsiteX16" fmla="*/ 783253 w 12202750"/>
              <a:gd name="connsiteY16" fmla="*/ 6034880 h 6858000"/>
              <a:gd name="connsiteX17" fmla="*/ 262553 w 12202750"/>
              <a:gd name="connsiteY17" fmla="*/ 6034880 h 6858000"/>
              <a:gd name="connsiteX18" fmla="*/ 0 w 12202750"/>
              <a:gd name="connsiteY18" fmla="*/ 60287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02750" h="6858000">
                <a:moveTo>
                  <a:pt x="0" y="6392677"/>
                </a:moveTo>
                <a:lnTo>
                  <a:pt x="5375" y="6854032"/>
                </a:lnTo>
                <a:lnTo>
                  <a:pt x="12199756" y="6858000"/>
                </a:lnTo>
                <a:lnTo>
                  <a:pt x="0" y="6858000"/>
                </a:lnTo>
                <a:close/>
                <a:moveTo>
                  <a:pt x="0" y="0"/>
                </a:moveTo>
                <a:lnTo>
                  <a:pt x="12202750" y="0"/>
                </a:lnTo>
                <a:lnTo>
                  <a:pt x="12202750" y="6858000"/>
                </a:lnTo>
                <a:lnTo>
                  <a:pt x="12199756" y="6858000"/>
                </a:lnTo>
                <a:cubicBezTo>
                  <a:pt x="12198963" y="6579394"/>
                  <a:pt x="12198169" y="6300787"/>
                  <a:pt x="12197376" y="6022181"/>
                </a:cubicBezTo>
                <a:cubicBezTo>
                  <a:pt x="12198699" y="6021520"/>
                  <a:pt x="4943560" y="6006835"/>
                  <a:pt x="4901227" y="6003131"/>
                </a:cubicBezTo>
                <a:cubicBezTo>
                  <a:pt x="4900566" y="6003792"/>
                  <a:pt x="4696970" y="5994135"/>
                  <a:pt x="4640877" y="5984081"/>
                </a:cubicBezTo>
                <a:cubicBezTo>
                  <a:pt x="4639554" y="5983420"/>
                  <a:pt x="4348248" y="5918465"/>
                  <a:pt x="4307502" y="5920581"/>
                </a:cubicBezTo>
                <a:cubicBezTo>
                  <a:pt x="4308164" y="5919919"/>
                  <a:pt x="4252470" y="5902059"/>
                  <a:pt x="4069378" y="5936455"/>
                </a:cubicBezTo>
                <a:cubicBezTo>
                  <a:pt x="4071362" y="5937778"/>
                  <a:pt x="3026390" y="6143888"/>
                  <a:pt x="2967653" y="6146005"/>
                </a:cubicBezTo>
                <a:cubicBezTo>
                  <a:pt x="2171786" y="6205272"/>
                  <a:pt x="2061720" y="6074038"/>
                  <a:pt x="1608753" y="6038055"/>
                </a:cubicBezTo>
                <a:lnTo>
                  <a:pt x="1354753" y="6038055"/>
                </a:lnTo>
                <a:lnTo>
                  <a:pt x="783253" y="6034880"/>
                </a:lnTo>
                <a:lnTo>
                  <a:pt x="262553" y="6034880"/>
                </a:lnTo>
                <a:lnTo>
                  <a:pt x="0" y="6028703"/>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125" i="1">
                <a:solidFill>
                  <a:schemeClr val="tx1">
                    <a:lumMod val="50000"/>
                    <a:lumOff val="50000"/>
                  </a:schemeClr>
                </a:solidFill>
              </a:defRPr>
            </a:lvl1pPr>
          </a:lstStyle>
          <a:p>
            <a:r>
              <a:rPr lang="en-US"/>
              <a:t>Click the icon below </a:t>
            </a:r>
            <a:br>
              <a:rPr lang="en-US"/>
            </a:br>
            <a:r>
              <a:rPr lang="en-US"/>
              <a:t>to add an image.</a:t>
            </a:r>
          </a:p>
        </p:txBody>
      </p:sp>
      <p:sp>
        <p:nvSpPr>
          <p:cNvPr id="2" name="Titel 1"/>
          <p:cNvSpPr>
            <a:spLocks noGrp="1"/>
          </p:cNvSpPr>
          <p:nvPr>
            <p:ph type="title" hasCustomPrompt="1"/>
          </p:nvPr>
        </p:nvSpPr>
        <p:spPr>
          <a:xfrm>
            <a:off x="5399315" y="435768"/>
            <a:ext cx="3205863" cy="3397619"/>
          </a:xfrm>
        </p:spPr>
        <p:txBody>
          <a:bodyPr/>
          <a:lstStyle>
            <a:lvl1pPr>
              <a:defRPr sz="4050">
                <a:solidFill>
                  <a:schemeClr val="bg1"/>
                </a:solidFill>
              </a:defRPr>
            </a:lvl1pPr>
          </a:lstStyle>
          <a:p>
            <a:r>
              <a:rPr lang="en-US" noProof="0"/>
              <a:t>Add a slide title or a quote, </a:t>
            </a:r>
            <a:br>
              <a:rPr lang="en-US" noProof="0"/>
            </a:br>
            <a:r>
              <a:rPr lang="en-US" noProof="0"/>
              <a:t>max.6 lines</a:t>
            </a:r>
            <a:endParaRPr lang="en-US"/>
          </a:p>
        </p:txBody>
      </p:sp>
      <p:sp>
        <p:nvSpPr>
          <p:cNvPr id="53" name="Tekstvak 52">
            <a:extLst>
              <a:ext uri="{FF2B5EF4-FFF2-40B4-BE49-F238E27FC236}">
                <a16:creationId xmlns:a16="http://schemas.microsoft.com/office/drawing/2014/main" id="{A608A4F7-1B6C-4CAA-AD3A-A9668580092E}"/>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Large Image and Quote</a:t>
            </a:r>
          </a:p>
        </p:txBody>
      </p:sp>
      <p:grpSp>
        <p:nvGrpSpPr>
          <p:cNvPr id="72" name="INSTRUCTION">
            <a:extLst>
              <a:ext uri="{FF2B5EF4-FFF2-40B4-BE49-F238E27FC236}">
                <a16:creationId xmlns:a16="http://schemas.microsoft.com/office/drawing/2014/main" id="{B0EA2FEF-6A19-4552-87A2-BABDC04386CF}"/>
              </a:ext>
            </a:extLst>
          </p:cNvPr>
          <p:cNvGrpSpPr/>
          <p:nvPr userDrawn="1"/>
        </p:nvGrpSpPr>
        <p:grpSpPr>
          <a:xfrm>
            <a:off x="-2839623" y="0"/>
            <a:ext cx="2694818" cy="4452582"/>
            <a:chOff x="-3786165" y="0"/>
            <a:chExt cx="3593091" cy="5936776"/>
          </a:xfrm>
        </p:grpSpPr>
        <p:sp>
          <p:nvSpPr>
            <p:cNvPr id="73" name="Rechthoek 72">
              <a:extLst>
                <a:ext uri="{FF2B5EF4-FFF2-40B4-BE49-F238E27FC236}">
                  <a16:creationId xmlns:a16="http://schemas.microsoft.com/office/drawing/2014/main" id="{EBDFC7D2-7393-44B4-82DE-AA96A8AF8403}"/>
                </a:ext>
              </a:extLst>
            </p:cNvPr>
            <p:cNvSpPr/>
            <p:nvPr userDrawn="1"/>
          </p:nvSpPr>
          <p:spPr>
            <a:xfrm>
              <a:off x="-3786165" y="0"/>
              <a:ext cx="3593091" cy="593677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74" name="Ovaal 73">
              <a:extLst>
                <a:ext uri="{FF2B5EF4-FFF2-40B4-BE49-F238E27FC236}">
                  <a16:creationId xmlns:a16="http://schemas.microsoft.com/office/drawing/2014/main" id="{CD7BFAAC-326A-4514-8054-496D751CE18D}"/>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5" name="Rechthoek 74">
              <a:extLst>
                <a:ext uri="{FF2B5EF4-FFF2-40B4-BE49-F238E27FC236}">
                  <a16:creationId xmlns:a16="http://schemas.microsoft.com/office/drawing/2014/main" id="{A8FC7C95-6BA1-43C7-B7D9-516A0E19D930}"/>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6" name="Groep 75">
              <a:extLst>
                <a:ext uri="{FF2B5EF4-FFF2-40B4-BE49-F238E27FC236}">
                  <a16:creationId xmlns:a16="http://schemas.microsoft.com/office/drawing/2014/main" id="{D61AFBC5-0F3F-486A-91DF-46B9F6FE6139}"/>
                </a:ext>
              </a:extLst>
            </p:cNvPr>
            <p:cNvGrpSpPr/>
            <p:nvPr userDrawn="1"/>
          </p:nvGrpSpPr>
          <p:grpSpPr>
            <a:xfrm>
              <a:off x="-3316179" y="1231351"/>
              <a:ext cx="294789" cy="318834"/>
              <a:chOff x="14466489" y="1001522"/>
              <a:chExt cx="290627" cy="314333"/>
            </a:xfrm>
          </p:grpSpPr>
          <p:sp>
            <p:nvSpPr>
              <p:cNvPr id="127" name="Rechthoek 126">
                <a:extLst>
                  <a:ext uri="{FF2B5EF4-FFF2-40B4-BE49-F238E27FC236}">
                    <a16:creationId xmlns:a16="http://schemas.microsoft.com/office/drawing/2014/main" id="{9B86D682-4F78-4CBA-9FC8-80EF3595BB99}"/>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28" name="Ovaal 127">
                <a:extLst>
                  <a:ext uri="{FF2B5EF4-FFF2-40B4-BE49-F238E27FC236}">
                    <a16:creationId xmlns:a16="http://schemas.microsoft.com/office/drawing/2014/main" id="{D7770A06-3A1D-427C-8820-B0C73DAE879E}"/>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00" b="1" noProof="0">
                  <a:solidFill>
                    <a:srgbClr val="211F26"/>
                  </a:solidFill>
                  <a:latin typeface="Calibri" panose="020F0502020204030204" pitchFamily="34" charset="0"/>
                  <a:cs typeface="Calibri" panose="020F0502020204030204" pitchFamily="34" charset="0"/>
                </a:endParaRPr>
              </a:p>
            </p:txBody>
          </p:sp>
          <p:sp>
            <p:nvSpPr>
              <p:cNvPr id="129" name="Vrije vorm: vorm 128">
                <a:extLst>
                  <a:ext uri="{FF2B5EF4-FFF2-40B4-BE49-F238E27FC236}">
                    <a16:creationId xmlns:a16="http://schemas.microsoft.com/office/drawing/2014/main" id="{4E445CC3-529B-41FD-B5C7-3FB30F255849}"/>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00" b="1" noProof="0">
                  <a:solidFill>
                    <a:srgbClr val="211F26"/>
                  </a:solidFill>
                  <a:latin typeface="Calibri" panose="020F0502020204030204" pitchFamily="34" charset="0"/>
                  <a:cs typeface="Calibri" panose="020F0502020204030204" pitchFamily="34" charset="0"/>
                </a:endParaRPr>
              </a:p>
            </p:txBody>
          </p:sp>
          <p:sp>
            <p:nvSpPr>
              <p:cNvPr id="130" name="Rechthoek: afgeronde hoeken 129">
                <a:extLst>
                  <a:ext uri="{FF2B5EF4-FFF2-40B4-BE49-F238E27FC236}">
                    <a16:creationId xmlns:a16="http://schemas.microsoft.com/office/drawing/2014/main" id="{E57B8C5A-2C86-42CD-96D9-226B04D84BCD}"/>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cxnSp>
            <p:nvCxnSpPr>
              <p:cNvPr id="131" name="Rechte verbindingslijn 130">
                <a:extLst>
                  <a:ext uri="{FF2B5EF4-FFF2-40B4-BE49-F238E27FC236}">
                    <a16:creationId xmlns:a16="http://schemas.microsoft.com/office/drawing/2014/main" id="{015EA128-E72C-4816-A159-700F296E5D0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32" name="Rechte verbindingslijn 131">
                <a:extLst>
                  <a:ext uri="{FF2B5EF4-FFF2-40B4-BE49-F238E27FC236}">
                    <a16:creationId xmlns:a16="http://schemas.microsoft.com/office/drawing/2014/main" id="{2B248735-7C92-4F88-99A7-BB54C6FE5DBC}"/>
                  </a:ext>
                </a:extLst>
              </p:cNvPr>
              <p:cNvCxnSpPr>
                <a:cxnSpLocks/>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C5E894D-0F02-48D6-90DE-C49F41E137F3}"/>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8" name="Rechthoek 77">
              <a:extLst>
                <a:ext uri="{FF2B5EF4-FFF2-40B4-BE49-F238E27FC236}">
                  <a16:creationId xmlns:a16="http://schemas.microsoft.com/office/drawing/2014/main" id="{FED6262B-7D07-480D-84F2-363A0E0BC882}"/>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9" name="Groep 78">
              <a:extLst>
                <a:ext uri="{FF2B5EF4-FFF2-40B4-BE49-F238E27FC236}">
                  <a16:creationId xmlns:a16="http://schemas.microsoft.com/office/drawing/2014/main" id="{04AA44AD-52D6-4D22-9BFB-79449941B1FC}"/>
                </a:ext>
              </a:extLst>
            </p:cNvPr>
            <p:cNvGrpSpPr/>
            <p:nvPr userDrawn="1"/>
          </p:nvGrpSpPr>
          <p:grpSpPr>
            <a:xfrm>
              <a:off x="-3311319" y="2164285"/>
              <a:ext cx="825500" cy="209550"/>
              <a:chOff x="13504624" y="2482850"/>
              <a:chExt cx="825500" cy="209550"/>
            </a:xfrm>
          </p:grpSpPr>
          <p:sp>
            <p:nvSpPr>
              <p:cNvPr id="124" name="Rechthoek 123">
                <a:extLst>
                  <a:ext uri="{FF2B5EF4-FFF2-40B4-BE49-F238E27FC236}">
                    <a16:creationId xmlns:a16="http://schemas.microsoft.com/office/drawing/2014/main" id="{0A8131A5-B5B0-4D5B-B4CD-933467BB705A}"/>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Insert</a:t>
                </a:r>
              </a:p>
            </p:txBody>
          </p:sp>
          <p:cxnSp>
            <p:nvCxnSpPr>
              <p:cNvPr id="125" name="Rechte verbindingslijn 124">
                <a:extLst>
                  <a:ext uri="{FF2B5EF4-FFF2-40B4-BE49-F238E27FC236}">
                    <a16:creationId xmlns:a16="http://schemas.microsoft.com/office/drawing/2014/main" id="{1B62F830-8FBB-4BC2-BC8B-20DB972FB70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6" name="Gelijkbenige driehoek 125">
                <a:extLst>
                  <a:ext uri="{FF2B5EF4-FFF2-40B4-BE49-F238E27FC236}">
                    <a16:creationId xmlns:a16="http://schemas.microsoft.com/office/drawing/2014/main" id="{FDCC99D8-5ACE-4F72-ADFC-63321F20F9C5}"/>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75" b="1" noProof="0">
                  <a:solidFill>
                    <a:srgbClr val="211F26"/>
                  </a:solidFill>
                  <a:latin typeface="Calibri" panose="020F0502020204030204" pitchFamily="34" charset="0"/>
                  <a:cs typeface="Calibri" panose="020F0502020204030204" pitchFamily="34" charset="0"/>
                </a:endParaRPr>
              </a:p>
            </p:txBody>
          </p:sp>
        </p:grpSp>
        <p:sp>
          <p:nvSpPr>
            <p:cNvPr id="80" name="Ovaal 79">
              <a:extLst>
                <a:ext uri="{FF2B5EF4-FFF2-40B4-BE49-F238E27FC236}">
                  <a16:creationId xmlns:a16="http://schemas.microsoft.com/office/drawing/2014/main" id="{CDF26303-F11C-46CD-8D50-328AA3F9DBF8}"/>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1" name="Rechthoek 80">
              <a:extLst>
                <a:ext uri="{FF2B5EF4-FFF2-40B4-BE49-F238E27FC236}">
                  <a16:creationId xmlns:a16="http://schemas.microsoft.com/office/drawing/2014/main" id="{F3491B6A-0FC3-4E73-B328-968BCFC325A9}"/>
                </a:ext>
              </a:extLst>
            </p:cNvPr>
            <p:cNvSpPr/>
            <p:nvPr userDrawn="1"/>
          </p:nvSpPr>
          <p:spPr>
            <a:xfrm>
              <a:off x="-33194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2" name="Ovaal 81">
              <a:extLst>
                <a:ext uri="{FF2B5EF4-FFF2-40B4-BE49-F238E27FC236}">
                  <a16:creationId xmlns:a16="http://schemas.microsoft.com/office/drawing/2014/main" id="{879238A4-4677-4FE3-909A-94B2F67B7196}"/>
                </a:ext>
              </a:extLst>
            </p:cNvPr>
            <p:cNvSpPr/>
            <p:nvPr userDrawn="1"/>
          </p:nvSpPr>
          <p:spPr>
            <a:xfrm>
              <a:off x="-3603587"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3" name="Rechthoek 82">
              <a:extLst>
                <a:ext uri="{FF2B5EF4-FFF2-40B4-BE49-F238E27FC236}">
                  <a16:creationId xmlns:a16="http://schemas.microsoft.com/office/drawing/2014/main" id="{2A5739E6-F2A7-4840-A79B-48A25F9295BA}"/>
                </a:ext>
              </a:extLst>
            </p:cNvPr>
            <p:cNvSpPr/>
            <p:nvPr userDrawn="1"/>
          </p:nvSpPr>
          <p:spPr>
            <a:xfrm>
              <a:off x="-3319415" y="4145790"/>
              <a:ext cx="2944682" cy="794700"/>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84" name="Groep 83">
              <a:extLst>
                <a:ext uri="{FF2B5EF4-FFF2-40B4-BE49-F238E27FC236}">
                  <a16:creationId xmlns:a16="http://schemas.microsoft.com/office/drawing/2014/main" id="{C6C19C6B-7B89-4DFE-ABD2-AFD5EE1FA832}"/>
                </a:ext>
              </a:extLst>
            </p:cNvPr>
            <p:cNvGrpSpPr/>
            <p:nvPr userDrawn="1"/>
          </p:nvGrpSpPr>
          <p:grpSpPr>
            <a:xfrm>
              <a:off x="-3449237" y="5047414"/>
              <a:ext cx="622283" cy="612919"/>
              <a:chOff x="12617641" y="3403239"/>
              <a:chExt cx="752963" cy="741634"/>
            </a:xfrm>
          </p:grpSpPr>
          <p:grpSp>
            <p:nvGrpSpPr>
              <p:cNvPr id="108" name="Groep 107">
                <a:extLst>
                  <a:ext uri="{FF2B5EF4-FFF2-40B4-BE49-F238E27FC236}">
                    <a16:creationId xmlns:a16="http://schemas.microsoft.com/office/drawing/2014/main" id="{151006E8-C509-470E-9477-4A43F3C96E0E}"/>
                  </a:ext>
                </a:extLst>
              </p:cNvPr>
              <p:cNvGrpSpPr/>
              <p:nvPr userDrawn="1"/>
            </p:nvGrpSpPr>
            <p:grpSpPr>
              <a:xfrm>
                <a:off x="12771550" y="3403239"/>
                <a:ext cx="467156" cy="448491"/>
                <a:chOff x="12782177" y="3403239"/>
                <a:chExt cx="467156" cy="448491"/>
              </a:xfrm>
            </p:grpSpPr>
            <p:grpSp>
              <p:nvGrpSpPr>
                <p:cNvPr id="111" name="Groep 110">
                  <a:extLst>
                    <a:ext uri="{FF2B5EF4-FFF2-40B4-BE49-F238E27FC236}">
                      <a16:creationId xmlns:a16="http://schemas.microsoft.com/office/drawing/2014/main" id="{CE250D4A-F106-460B-9FB1-2BAECC0EB68D}"/>
                    </a:ext>
                  </a:extLst>
                </p:cNvPr>
                <p:cNvGrpSpPr/>
                <p:nvPr userDrawn="1"/>
              </p:nvGrpSpPr>
              <p:grpSpPr>
                <a:xfrm>
                  <a:off x="12782177" y="3403239"/>
                  <a:ext cx="412972" cy="396132"/>
                  <a:chOff x="13554906" y="3320109"/>
                  <a:chExt cx="443912" cy="425811"/>
                </a:xfrm>
              </p:grpSpPr>
              <p:grpSp>
                <p:nvGrpSpPr>
                  <p:cNvPr id="118" name="Groep 117">
                    <a:extLst>
                      <a:ext uri="{FF2B5EF4-FFF2-40B4-BE49-F238E27FC236}">
                        <a16:creationId xmlns:a16="http://schemas.microsoft.com/office/drawing/2014/main" id="{60FB6684-8498-4C9A-B9EA-3082424DF82E}"/>
                      </a:ext>
                    </a:extLst>
                  </p:cNvPr>
                  <p:cNvGrpSpPr/>
                  <p:nvPr userDrawn="1"/>
                </p:nvGrpSpPr>
                <p:grpSpPr>
                  <a:xfrm>
                    <a:off x="13554906" y="3320109"/>
                    <a:ext cx="443912" cy="425811"/>
                    <a:chOff x="12909684" y="1276143"/>
                    <a:chExt cx="443912" cy="425811"/>
                  </a:xfrm>
                </p:grpSpPr>
                <p:sp>
                  <p:nvSpPr>
                    <p:cNvPr id="121" name="Rechthoek 120">
                      <a:extLst>
                        <a:ext uri="{FF2B5EF4-FFF2-40B4-BE49-F238E27FC236}">
                          <a16:creationId xmlns:a16="http://schemas.microsoft.com/office/drawing/2014/main" id="{12DDE3A0-D7DF-4405-87A2-2506F6278B2E}"/>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22" name="Rechthoek 121">
                      <a:extLst>
                        <a:ext uri="{FF2B5EF4-FFF2-40B4-BE49-F238E27FC236}">
                          <a16:creationId xmlns:a16="http://schemas.microsoft.com/office/drawing/2014/main" id="{1754FDA8-9CC9-46B1-AD2E-AC1F164E0685}"/>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23" name="Ovaal 122">
                      <a:extLst>
                        <a:ext uri="{FF2B5EF4-FFF2-40B4-BE49-F238E27FC236}">
                          <a16:creationId xmlns:a16="http://schemas.microsoft.com/office/drawing/2014/main" id="{1569B069-1881-4D45-A16E-83F0F757190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pic>
                <p:nvPicPr>
                  <p:cNvPr id="119" name="Afbeelding 118">
                    <a:extLst>
                      <a:ext uri="{FF2B5EF4-FFF2-40B4-BE49-F238E27FC236}">
                        <a16:creationId xmlns:a16="http://schemas.microsoft.com/office/drawing/2014/main" id="{0365170E-F3D6-4AFF-8FE9-18B0FE3F5A98}"/>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20" name="Afbeelding 119">
                    <a:extLst>
                      <a:ext uri="{FF2B5EF4-FFF2-40B4-BE49-F238E27FC236}">
                        <a16:creationId xmlns:a16="http://schemas.microsoft.com/office/drawing/2014/main" id="{6D7D0104-240D-44C9-8023-651D6DE9BEB8}"/>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12" name="Groep 111">
                  <a:extLst>
                    <a:ext uri="{FF2B5EF4-FFF2-40B4-BE49-F238E27FC236}">
                      <a16:creationId xmlns:a16="http://schemas.microsoft.com/office/drawing/2014/main" id="{13774E7D-A044-43B4-AF69-9DA5D14B84C6}"/>
                    </a:ext>
                  </a:extLst>
                </p:cNvPr>
                <p:cNvGrpSpPr/>
                <p:nvPr userDrawn="1"/>
              </p:nvGrpSpPr>
              <p:grpSpPr>
                <a:xfrm>
                  <a:off x="13103513" y="3705268"/>
                  <a:ext cx="145820" cy="146462"/>
                  <a:chOff x="13096169" y="3602278"/>
                  <a:chExt cx="145820" cy="146462"/>
                </a:xfrm>
              </p:grpSpPr>
              <p:sp>
                <p:nvSpPr>
                  <p:cNvPr id="116" name="Rechthoek 115">
                    <a:extLst>
                      <a:ext uri="{FF2B5EF4-FFF2-40B4-BE49-F238E27FC236}">
                        <a16:creationId xmlns:a16="http://schemas.microsoft.com/office/drawing/2014/main" id="{5AAC3AB4-FAB2-483C-B836-9B334B20AED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E5B64FC6-F612-480E-A276-34FB97DB26D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113" name="Groep 112">
                  <a:extLst>
                    <a:ext uri="{FF2B5EF4-FFF2-40B4-BE49-F238E27FC236}">
                      <a16:creationId xmlns:a16="http://schemas.microsoft.com/office/drawing/2014/main" id="{4A8A3C58-AAE7-4E5E-BFD2-1BC48644DFFC}"/>
                    </a:ext>
                  </a:extLst>
                </p:cNvPr>
                <p:cNvGrpSpPr/>
                <p:nvPr userDrawn="1"/>
              </p:nvGrpSpPr>
              <p:grpSpPr>
                <a:xfrm rot="10800000">
                  <a:off x="13061402" y="3665637"/>
                  <a:ext cx="145820" cy="146462"/>
                  <a:chOff x="13096169" y="3602278"/>
                  <a:chExt cx="145820" cy="146462"/>
                </a:xfrm>
              </p:grpSpPr>
              <p:sp>
                <p:nvSpPr>
                  <p:cNvPr id="114" name="Rechthoek 113">
                    <a:extLst>
                      <a:ext uri="{FF2B5EF4-FFF2-40B4-BE49-F238E27FC236}">
                        <a16:creationId xmlns:a16="http://schemas.microsoft.com/office/drawing/2014/main" id="{1E983433-7282-46D3-8DF4-A23EABE3FE7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B1634BAC-FEB0-48BC-A4AA-0CBEED5FEC7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sp>
            <p:nvSpPr>
              <p:cNvPr id="109" name="Rechthoek 108">
                <a:extLst>
                  <a:ext uri="{FF2B5EF4-FFF2-40B4-BE49-F238E27FC236}">
                    <a16:creationId xmlns:a16="http://schemas.microsoft.com/office/drawing/2014/main" id="{7E548CCC-D6A5-4138-ABE8-6A35C702393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Crop</a:t>
                </a:r>
              </a:p>
            </p:txBody>
          </p:sp>
          <p:sp>
            <p:nvSpPr>
              <p:cNvPr id="110" name="Gelijkbenige driehoek 109">
                <a:extLst>
                  <a:ext uri="{FF2B5EF4-FFF2-40B4-BE49-F238E27FC236}">
                    <a16:creationId xmlns:a16="http://schemas.microsoft.com/office/drawing/2014/main" id="{E85B0FF2-A4D4-4A98-9BAA-C88C6BEBE42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85" name="Rechthoek 84">
              <a:extLst>
                <a:ext uri="{FF2B5EF4-FFF2-40B4-BE49-F238E27FC236}">
                  <a16:creationId xmlns:a16="http://schemas.microsoft.com/office/drawing/2014/main" id="{F4EF1E75-AFE1-4995-853A-F74B57189CE8}"/>
                </a:ext>
              </a:extLst>
            </p:cNvPr>
            <p:cNvSpPr/>
            <p:nvPr userDrawn="1"/>
          </p:nvSpPr>
          <p:spPr>
            <a:xfrm>
              <a:off x="-331683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US" sz="750" b="0" i="1" noProof="0">
                <a:solidFill>
                  <a:srgbClr val="211F26"/>
                </a:solidFill>
                <a:latin typeface="Calibri" panose="020F0502020204030204" pitchFamily="34" charset="0"/>
                <a:cs typeface="Calibri" panose="020F0502020204030204" pitchFamily="34" charset="0"/>
              </a:endParaRPr>
            </a:p>
          </p:txBody>
        </p:sp>
        <p:grpSp>
          <p:nvGrpSpPr>
            <p:cNvPr id="86" name="Groep 85">
              <a:extLst>
                <a:ext uri="{FF2B5EF4-FFF2-40B4-BE49-F238E27FC236}">
                  <a16:creationId xmlns:a16="http://schemas.microsoft.com/office/drawing/2014/main" id="{02A654C9-3691-42F2-A0B7-20B32AB9DD74}"/>
                </a:ext>
              </a:extLst>
            </p:cNvPr>
            <p:cNvGrpSpPr/>
            <p:nvPr userDrawn="1"/>
          </p:nvGrpSpPr>
          <p:grpSpPr>
            <a:xfrm>
              <a:off x="-2485819" y="3399207"/>
              <a:ext cx="1222990" cy="563933"/>
              <a:chOff x="-2485819" y="3399207"/>
              <a:chExt cx="1222990" cy="563933"/>
            </a:xfrm>
          </p:grpSpPr>
          <p:sp>
            <p:nvSpPr>
              <p:cNvPr id="87" name="Rechthoek 86">
                <a:extLst>
                  <a:ext uri="{FF2B5EF4-FFF2-40B4-BE49-F238E27FC236}">
                    <a16:creationId xmlns:a16="http://schemas.microsoft.com/office/drawing/2014/main" id="{8E29D3E3-C512-411D-B29F-46763276FD0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3E1CBF9A-D010-41FF-8C01-D4B5C439EEC0}"/>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89" name="Groep 88">
                <a:extLst>
                  <a:ext uri="{FF2B5EF4-FFF2-40B4-BE49-F238E27FC236}">
                    <a16:creationId xmlns:a16="http://schemas.microsoft.com/office/drawing/2014/main" id="{1864A902-3487-4D4F-9F7D-60C8669D967C}"/>
                  </a:ext>
                </a:extLst>
              </p:cNvPr>
              <p:cNvGrpSpPr/>
              <p:nvPr userDrawn="1"/>
            </p:nvGrpSpPr>
            <p:grpSpPr>
              <a:xfrm>
                <a:off x="-2403869" y="3460544"/>
                <a:ext cx="155951" cy="131922"/>
                <a:chOff x="12968836" y="3354170"/>
                <a:chExt cx="404806" cy="342433"/>
              </a:xfrm>
            </p:grpSpPr>
            <p:sp>
              <p:nvSpPr>
                <p:cNvPr id="102" name="Rechthoek: afgeronde hoeken 101">
                  <a:extLst>
                    <a:ext uri="{FF2B5EF4-FFF2-40B4-BE49-F238E27FC236}">
                      <a16:creationId xmlns:a16="http://schemas.microsoft.com/office/drawing/2014/main" id="{890221E7-B752-40DF-80E6-0678B83FB33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B25C97E0-E14E-469B-8186-8D5EFB65614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1C537F7F-1DF3-41E6-9861-1E7B4AF5E14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B83BBABB-47E7-43FC-B733-C2C9BCE9CA3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9F3219DD-0282-44B7-82C5-267804CF19A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02221918-4DAD-4BF5-97A9-3A97A39EB5CB}"/>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90" name="Groep 89">
                <a:extLst>
                  <a:ext uri="{FF2B5EF4-FFF2-40B4-BE49-F238E27FC236}">
                    <a16:creationId xmlns:a16="http://schemas.microsoft.com/office/drawing/2014/main" id="{4E2FF79C-B704-46AE-813F-F3FA87B58177}"/>
                  </a:ext>
                </a:extLst>
              </p:cNvPr>
              <p:cNvGrpSpPr/>
              <p:nvPr userDrawn="1"/>
            </p:nvGrpSpPr>
            <p:grpSpPr>
              <a:xfrm>
                <a:off x="-2423424" y="3690208"/>
                <a:ext cx="166739" cy="218963"/>
                <a:chOff x="12940828" y="3950597"/>
                <a:chExt cx="432813" cy="568367"/>
              </a:xfrm>
            </p:grpSpPr>
            <p:grpSp>
              <p:nvGrpSpPr>
                <p:cNvPr id="94" name="Groep 93">
                  <a:extLst>
                    <a:ext uri="{FF2B5EF4-FFF2-40B4-BE49-F238E27FC236}">
                      <a16:creationId xmlns:a16="http://schemas.microsoft.com/office/drawing/2014/main" id="{01CA0896-EAD0-4C32-BF44-E2FF1969CB69}"/>
                    </a:ext>
                  </a:extLst>
                </p:cNvPr>
                <p:cNvGrpSpPr/>
                <p:nvPr userDrawn="1"/>
              </p:nvGrpSpPr>
              <p:grpSpPr>
                <a:xfrm>
                  <a:off x="13000382" y="4006891"/>
                  <a:ext cx="373259" cy="315747"/>
                  <a:chOff x="12968836" y="3354170"/>
                  <a:chExt cx="404806" cy="342433"/>
                </a:xfrm>
              </p:grpSpPr>
              <p:sp>
                <p:nvSpPr>
                  <p:cNvPr id="96" name="Rechthoek: afgeronde hoeken 95">
                    <a:extLst>
                      <a:ext uri="{FF2B5EF4-FFF2-40B4-BE49-F238E27FC236}">
                        <a16:creationId xmlns:a16="http://schemas.microsoft.com/office/drawing/2014/main" id="{C719B3D8-68B7-4784-A39B-A8B64C0CDE0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97" name="Rechthoek 96">
                    <a:extLst>
                      <a:ext uri="{FF2B5EF4-FFF2-40B4-BE49-F238E27FC236}">
                        <a16:creationId xmlns:a16="http://schemas.microsoft.com/office/drawing/2014/main" id="{D78243A8-E2BA-4C39-A363-B0C0D77D6138}"/>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29280A47-4B0C-4027-9C90-0D530871A4B7}"/>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D1BE9488-4A8B-4465-B494-9C7CB56050E3}"/>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C5A51FE1-E1C9-43B0-8A6D-50124F714615}"/>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C1EA3938-7E45-45A0-9ACC-A0632501F9A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95" name="Boog 94">
                  <a:extLst>
                    <a:ext uri="{FF2B5EF4-FFF2-40B4-BE49-F238E27FC236}">
                      <a16:creationId xmlns:a16="http://schemas.microsoft.com/office/drawing/2014/main" id="{4DD412B5-D547-4ED7-AB14-7847B5776EF6}"/>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sp>
            <p:nvSpPr>
              <p:cNvPr id="91" name="Tekstvak 90">
                <a:extLst>
                  <a:ext uri="{FF2B5EF4-FFF2-40B4-BE49-F238E27FC236}">
                    <a16:creationId xmlns:a16="http://schemas.microsoft.com/office/drawing/2014/main" id="{568E1044-4AA9-4EC2-AFFC-79978DD76347}"/>
                  </a:ext>
                </a:extLst>
              </p:cNvPr>
              <p:cNvSpPr txBox="1"/>
              <p:nvPr userDrawn="1"/>
            </p:nvSpPr>
            <p:spPr>
              <a:xfrm>
                <a:off x="-2245455" y="3460544"/>
                <a:ext cx="896116" cy="134709"/>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Layout</a:t>
                </a:r>
              </a:p>
            </p:txBody>
          </p:sp>
          <p:sp>
            <p:nvSpPr>
              <p:cNvPr id="92" name="Tekstvak 91">
                <a:extLst>
                  <a:ext uri="{FF2B5EF4-FFF2-40B4-BE49-F238E27FC236}">
                    <a16:creationId xmlns:a16="http://schemas.microsoft.com/office/drawing/2014/main" id="{EF3A32FE-155D-42E3-ABFE-D877613B2FA6}"/>
                  </a:ext>
                </a:extLst>
              </p:cNvPr>
              <p:cNvSpPr txBox="1"/>
              <p:nvPr userDrawn="1"/>
            </p:nvSpPr>
            <p:spPr>
              <a:xfrm>
                <a:off x="-2258884" y="3712980"/>
                <a:ext cx="909545" cy="126416"/>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93" name="Vrije vorm: vorm 92">
                <a:extLst>
                  <a:ext uri="{FF2B5EF4-FFF2-40B4-BE49-F238E27FC236}">
                    <a16:creationId xmlns:a16="http://schemas.microsoft.com/office/drawing/2014/main" id="{1F99D6A6-6AE5-492F-9CB5-9890EFDF7CD9}"/>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450"/>
                  </a:spcBef>
                  <a:spcAft>
                    <a:spcPts val="450"/>
                  </a:spcAft>
                </a:pPr>
                <a:endParaRPr lang="en-US" sz="1200" cap="all" baseline="0" noProof="0">
                  <a:latin typeface="Calibri" panose="020F0502020204030204" pitchFamily="34" charset="0"/>
                  <a:cs typeface="Calibri" panose="020F0502020204030204" pitchFamily="34" charset="0"/>
                </a:endParaRPr>
              </a:p>
            </p:txBody>
          </p:sp>
        </p:grpSp>
      </p:grpSp>
      <p:sp>
        <p:nvSpPr>
          <p:cNvPr id="68" name="Tijdelijke aanduiding voor dianummer 5">
            <a:extLst>
              <a:ext uri="{FF2B5EF4-FFF2-40B4-BE49-F238E27FC236}">
                <a16:creationId xmlns:a16="http://schemas.microsoft.com/office/drawing/2014/main" id="{F26893D2-09B4-4A66-A2A4-DC5E53C6C4F4}"/>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69" name="INSTRUCTION">
            <a:extLst>
              <a:ext uri="{FF2B5EF4-FFF2-40B4-BE49-F238E27FC236}">
                <a16:creationId xmlns:a16="http://schemas.microsoft.com/office/drawing/2014/main" id="{24DFDB90-8DEE-4CD6-8156-A511BE57344D}"/>
              </a:ext>
            </a:extLst>
          </p:cNvPr>
          <p:cNvGrpSpPr/>
          <p:nvPr userDrawn="1"/>
        </p:nvGrpSpPr>
        <p:grpSpPr>
          <a:xfrm>
            <a:off x="4384" y="5274908"/>
            <a:ext cx="2795966" cy="1183043"/>
            <a:chOff x="5846" y="7033211"/>
            <a:chExt cx="3727954" cy="1577390"/>
          </a:xfrm>
        </p:grpSpPr>
        <p:sp>
          <p:nvSpPr>
            <p:cNvPr id="70" name="Rechthoek 69">
              <a:extLst>
                <a:ext uri="{FF2B5EF4-FFF2-40B4-BE49-F238E27FC236}">
                  <a16:creationId xmlns:a16="http://schemas.microsoft.com/office/drawing/2014/main" id="{7C3FA40D-0D82-4BDD-81F7-7B94871918D2}"/>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71" name="Ovaal 70">
              <a:extLst>
                <a:ext uri="{FF2B5EF4-FFF2-40B4-BE49-F238E27FC236}">
                  <a16:creationId xmlns:a16="http://schemas.microsoft.com/office/drawing/2014/main" id="{CD372C33-70B5-432C-91F2-8F8F4423900F}"/>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3" name="Rechthoek 132">
              <a:extLst>
                <a:ext uri="{FF2B5EF4-FFF2-40B4-BE49-F238E27FC236}">
                  <a16:creationId xmlns:a16="http://schemas.microsoft.com/office/drawing/2014/main" id="{EE7914D4-B35B-4E24-B50B-2C9026DBB63D}"/>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4" name="Ovaal 133">
              <a:extLst>
                <a:ext uri="{FF2B5EF4-FFF2-40B4-BE49-F238E27FC236}">
                  <a16:creationId xmlns:a16="http://schemas.microsoft.com/office/drawing/2014/main" id="{6D482015-906D-4211-8220-39550EB6B17E}"/>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5" name="Rechthoek 134">
              <a:extLst>
                <a:ext uri="{FF2B5EF4-FFF2-40B4-BE49-F238E27FC236}">
                  <a16:creationId xmlns:a16="http://schemas.microsoft.com/office/drawing/2014/main" id="{B231410F-739B-453A-AD69-455AE000D14D}"/>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136" name="Groep 135">
              <a:extLst>
                <a:ext uri="{FF2B5EF4-FFF2-40B4-BE49-F238E27FC236}">
                  <a16:creationId xmlns:a16="http://schemas.microsoft.com/office/drawing/2014/main" id="{CDC56F03-94A2-4045-8C0E-FFF520189E72}"/>
                </a:ext>
              </a:extLst>
            </p:cNvPr>
            <p:cNvGrpSpPr/>
            <p:nvPr userDrawn="1"/>
          </p:nvGrpSpPr>
          <p:grpSpPr>
            <a:xfrm>
              <a:off x="2939884" y="7739834"/>
              <a:ext cx="681133" cy="750023"/>
              <a:chOff x="-910573" y="4987990"/>
              <a:chExt cx="681133" cy="750023"/>
            </a:xfrm>
          </p:grpSpPr>
          <p:grpSp>
            <p:nvGrpSpPr>
              <p:cNvPr id="137" name="Groep 136">
                <a:extLst>
                  <a:ext uri="{FF2B5EF4-FFF2-40B4-BE49-F238E27FC236}">
                    <a16:creationId xmlns:a16="http://schemas.microsoft.com/office/drawing/2014/main" id="{A4A67532-7C6D-418C-BED0-4BA91948B02E}"/>
                  </a:ext>
                </a:extLst>
              </p:cNvPr>
              <p:cNvGrpSpPr/>
              <p:nvPr userDrawn="1"/>
            </p:nvGrpSpPr>
            <p:grpSpPr>
              <a:xfrm>
                <a:off x="-713542" y="4987990"/>
                <a:ext cx="287071" cy="379107"/>
                <a:chOff x="-4050578" y="288410"/>
                <a:chExt cx="322125" cy="379107"/>
              </a:xfrm>
            </p:grpSpPr>
            <p:sp>
              <p:nvSpPr>
                <p:cNvPr id="139" name="Rechthoek met één afgeknipte en afgeronde hoek 47">
                  <a:extLst>
                    <a:ext uri="{FF2B5EF4-FFF2-40B4-BE49-F238E27FC236}">
                      <a16:creationId xmlns:a16="http://schemas.microsoft.com/office/drawing/2014/main" id="{257EB575-1E7E-409C-9EC5-5736CB5956CF}"/>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0" name="Rechthoekige driehoek 139">
                  <a:extLst>
                    <a:ext uri="{FF2B5EF4-FFF2-40B4-BE49-F238E27FC236}">
                      <a16:creationId xmlns:a16="http://schemas.microsoft.com/office/drawing/2014/main" id="{1EB53B10-36F0-4A42-9BC0-45CE7E5CA75A}"/>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1" name="Rechthoek 140">
                  <a:extLst>
                    <a:ext uri="{FF2B5EF4-FFF2-40B4-BE49-F238E27FC236}">
                      <a16:creationId xmlns:a16="http://schemas.microsoft.com/office/drawing/2014/main" id="{E064B8BC-89A4-4FA4-8A2B-3BE7032A5648}"/>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2" name="Rechthoek 141">
                  <a:extLst>
                    <a:ext uri="{FF2B5EF4-FFF2-40B4-BE49-F238E27FC236}">
                      <a16:creationId xmlns:a16="http://schemas.microsoft.com/office/drawing/2014/main" id="{09A6878A-3921-4F8A-8DE5-D327D1FAD79E}"/>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38" name="Rechthoek 137">
                <a:extLst>
                  <a:ext uri="{FF2B5EF4-FFF2-40B4-BE49-F238E27FC236}">
                    <a16:creationId xmlns:a16="http://schemas.microsoft.com/office/drawing/2014/main" id="{5431F9C7-BAAF-4A89-B9F5-28DDE83E17BE}"/>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1573060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image with colour cover">
    <p:spTree>
      <p:nvGrpSpPr>
        <p:cNvPr id="1" name=""/>
        <p:cNvGrpSpPr/>
        <p:nvPr/>
      </p:nvGrpSpPr>
      <p:grpSpPr>
        <a:xfrm>
          <a:off x="0" y="0"/>
          <a:ext cx="0" cy="0"/>
          <a:chOff x="0" y="0"/>
          <a:chExt cx="0" cy="0"/>
        </a:xfrm>
      </p:grpSpPr>
      <p:sp>
        <p:nvSpPr>
          <p:cNvPr id="163" name="Tijdelijke aanduiding voor afbeelding 162">
            <a:extLst>
              <a:ext uri="{FF2B5EF4-FFF2-40B4-BE49-F238E27FC236}">
                <a16:creationId xmlns:a16="http://schemas.microsoft.com/office/drawing/2014/main" id="{3335101A-0F01-4DB0-ADB9-CB5904F8BB2F}"/>
              </a:ext>
            </a:extLst>
          </p:cNvPr>
          <p:cNvSpPr>
            <a:spLocks noGrp="1"/>
          </p:cNvSpPr>
          <p:nvPr>
            <p:ph type="pic" sz="quarter" idx="14" hasCustomPrompt="1"/>
          </p:nvPr>
        </p:nvSpPr>
        <p:spPr>
          <a:xfrm>
            <a:off x="-4032" y="1077"/>
            <a:ext cx="9579489" cy="5142424"/>
          </a:xfrm>
          <a:custGeom>
            <a:avLst/>
            <a:gdLst>
              <a:gd name="connsiteX0" fmla="*/ 0 w 12772652"/>
              <a:gd name="connsiteY0" fmla="*/ 6391247 h 6856565"/>
              <a:gd name="connsiteX1" fmla="*/ 5375 w 12772652"/>
              <a:gd name="connsiteY1" fmla="*/ 6852597 h 6856565"/>
              <a:gd name="connsiteX2" fmla="*/ 12197375 w 12772652"/>
              <a:gd name="connsiteY2" fmla="*/ 6856564 h 6856565"/>
              <a:gd name="connsiteX3" fmla="*/ 12197375 w 12772652"/>
              <a:gd name="connsiteY3" fmla="*/ 6856565 h 6856565"/>
              <a:gd name="connsiteX4" fmla="*/ 0 w 12772652"/>
              <a:gd name="connsiteY4" fmla="*/ 6856565 h 6856565"/>
              <a:gd name="connsiteX5" fmla="*/ 0 w 12772652"/>
              <a:gd name="connsiteY5" fmla="*/ 0 h 6856565"/>
              <a:gd name="connsiteX6" fmla="*/ 12197375 w 12772652"/>
              <a:gd name="connsiteY6" fmla="*/ 0 h 6856565"/>
              <a:gd name="connsiteX7" fmla="*/ 12197375 w 12772652"/>
              <a:gd name="connsiteY7" fmla="*/ 643889 h 6856565"/>
              <a:gd name="connsiteX8" fmla="*/ 12772652 w 12772652"/>
              <a:gd name="connsiteY8" fmla="*/ 643889 h 6856565"/>
              <a:gd name="connsiteX9" fmla="*/ 12772652 w 12772652"/>
              <a:gd name="connsiteY9" fmla="*/ 1229916 h 6856565"/>
              <a:gd name="connsiteX10" fmla="*/ 12197375 w 12772652"/>
              <a:gd name="connsiteY10" fmla="*/ 1229916 h 6856565"/>
              <a:gd name="connsiteX11" fmla="*/ 12197375 w 12772652"/>
              <a:gd name="connsiteY11" fmla="*/ 6020746 h 6856565"/>
              <a:gd name="connsiteX12" fmla="*/ 12176682 w 12772652"/>
              <a:gd name="connsiteY12" fmla="*/ 6020644 h 6856565"/>
              <a:gd name="connsiteX13" fmla="*/ 4901227 w 12772652"/>
              <a:gd name="connsiteY13" fmla="*/ 6001696 h 6856565"/>
              <a:gd name="connsiteX14" fmla="*/ 4640878 w 12772652"/>
              <a:gd name="connsiteY14" fmla="*/ 5982646 h 6856565"/>
              <a:gd name="connsiteX15" fmla="*/ 4307502 w 12772652"/>
              <a:gd name="connsiteY15" fmla="*/ 5919146 h 6856565"/>
              <a:gd name="connsiteX16" fmla="*/ 4069378 w 12772652"/>
              <a:gd name="connsiteY16" fmla="*/ 5935020 h 6856565"/>
              <a:gd name="connsiteX17" fmla="*/ 2967653 w 12772652"/>
              <a:gd name="connsiteY17" fmla="*/ 6144570 h 6856565"/>
              <a:gd name="connsiteX18" fmla="*/ 1608753 w 12772652"/>
              <a:gd name="connsiteY18" fmla="*/ 6036620 h 6856565"/>
              <a:gd name="connsiteX19" fmla="*/ 1354753 w 12772652"/>
              <a:gd name="connsiteY19" fmla="*/ 6036620 h 6856565"/>
              <a:gd name="connsiteX20" fmla="*/ 783253 w 12772652"/>
              <a:gd name="connsiteY20" fmla="*/ 6033445 h 6856565"/>
              <a:gd name="connsiteX21" fmla="*/ 262553 w 12772652"/>
              <a:gd name="connsiteY21" fmla="*/ 6033445 h 6856565"/>
              <a:gd name="connsiteX22" fmla="*/ 0 w 12772652"/>
              <a:gd name="connsiteY22" fmla="*/ 6027268 h 685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72652" h="6856565">
                <a:moveTo>
                  <a:pt x="0" y="6391247"/>
                </a:moveTo>
                <a:lnTo>
                  <a:pt x="5375" y="6852597"/>
                </a:lnTo>
                <a:lnTo>
                  <a:pt x="12197375" y="6856564"/>
                </a:lnTo>
                <a:lnTo>
                  <a:pt x="12197375" y="6856565"/>
                </a:lnTo>
                <a:lnTo>
                  <a:pt x="0" y="6856565"/>
                </a:lnTo>
                <a:close/>
                <a:moveTo>
                  <a:pt x="0" y="0"/>
                </a:moveTo>
                <a:lnTo>
                  <a:pt x="12197375" y="0"/>
                </a:lnTo>
                <a:lnTo>
                  <a:pt x="12197375" y="643889"/>
                </a:lnTo>
                <a:lnTo>
                  <a:pt x="12772652" y="643889"/>
                </a:lnTo>
                <a:lnTo>
                  <a:pt x="12772652" y="1229916"/>
                </a:lnTo>
                <a:lnTo>
                  <a:pt x="12197375" y="1229916"/>
                </a:lnTo>
                <a:lnTo>
                  <a:pt x="12197375" y="6020746"/>
                </a:lnTo>
                <a:lnTo>
                  <a:pt x="12176682" y="6020644"/>
                </a:lnTo>
                <a:cubicBezTo>
                  <a:pt x="11752297" y="6019178"/>
                  <a:pt x="4942237" y="6005285"/>
                  <a:pt x="4901227" y="6001696"/>
                </a:cubicBezTo>
                <a:cubicBezTo>
                  <a:pt x="4900566" y="6002357"/>
                  <a:pt x="4696969" y="5992700"/>
                  <a:pt x="4640878" y="5982646"/>
                </a:cubicBezTo>
                <a:cubicBezTo>
                  <a:pt x="4639554" y="5981985"/>
                  <a:pt x="4348248" y="5917030"/>
                  <a:pt x="4307502" y="5919146"/>
                </a:cubicBezTo>
                <a:cubicBezTo>
                  <a:pt x="4308164" y="5918484"/>
                  <a:pt x="4252469" y="5900624"/>
                  <a:pt x="4069378" y="5935020"/>
                </a:cubicBezTo>
                <a:cubicBezTo>
                  <a:pt x="4071362" y="5936343"/>
                  <a:pt x="3026390" y="6142453"/>
                  <a:pt x="2967653" y="6144570"/>
                </a:cubicBezTo>
                <a:cubicBezTo>
                  <a:pt x="2171786" y="6203837"/>
                  <a:pt x="2061720" y="6072603"/>
                  <a:pt x="1608753" y="6036620"/>
                </a:cubicBezTo>
                <a:lnTo>
                  <a:pt x="1354753" y="6036620"/>
                </a:lnTo>
                <a:lnTo>
                  <a:pt x="783253" y="6033445"/>
                </a:lnTo>
                <a:lnTo>
                  <a:pt x="262553" y="6033445"/>
                </a:lnTo>
                <a:lnTo>
                  <a:pt x="0" y="6027268"/>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125" i="1">
                <a:solidFill>
                  <a:schemeClr val="tx1">
                    <a:lumMod val="50000"/>
                    <a:lumOff val="50000"/>
                  </a:schemeClr>
                </a:solidFill>
              </a:defRPr>
            </a:lvl1pPr>
          </a:lstStyle>
          <a:p>
            <a:r>
              <a:rPr lang="en-US"/>
              <a:t>Click the icon below </a:t>
            </a:r>
            <a:br>
              <a:rPr lang="en-US"/>
            </a:br>
            <a:r>
              <a:rPr lang="en-US"/>
              <a:t>to add an image.</a:t>
            </a:r>
          </a:p>
        </p:txBody>
      </p:sp>
      <p:sp>
        <p:nvSpPr>
          <p:cNvPr id="160" name="Tijdelijke aanduiding voor verticale tekst 159">
            <a:extLst>
              <a:ext uri="{FF2B5EF4-FFF2-40B4-BE49-F238E27FC236}">
                <a16:creationId xmlns:a16="http://schemas.microsoft.com/office/drawing/2014/main" id="{E6C0D768-534F-43CE-85E4-B15C845C38B3}"/>
              </a:ext>
            </a:extLst>
          </p:cNvPr>
          <p:cNvSpPr>
            <a:spLocks noGrp="1"/>
          </p:cNvSpPr>
          <p:nvPr>
            <p:ph type="body" orient="vert" idx="1" hasCustomPrompt="1"/>
          </p:nvPr>
        </p:nvSpPr>
        <p:spPr>
          <a:xfrm>
            <a:off x="-12093" y="0"/>
            <a:ext cx="9156094" cy="5143500"/>
          </a:xfrm>
          <a:custGeom>
            <a:avLst/>
            <a:gdLst>
              <a:gd name="connsiteX0" fmla="*/ 0 w 12208125"/>
              <a:gd name="connsiteY0" fmla="*/ 0 h 6858000"/>
              <a:gd name="connsiteX1" fmla="*/ 12208125 w 12208125"/>
              <a:gd name="connsiteY1" fmla="*/ 0 h 6858000"/>
              <a:gd name="connsiteX2" fmla="*/ 12208125 w 12208125"/>
              <a:gd name="connsiteY2" fmla="*/ 6022181 h 6858000"/>
              <a:gd name="connsiteX3" fmla="*/ 12187432 w 12208125"/>
              <a:gd name="connsiteY3" fmla="*/ 6022079 h 6858000"/>
              <a:gd name="connsiteX4" fmla="*/ 4911977 w 12208125"/>
              <a:gd name="connsiteY4" fmla="*/ 6003131 h 6858000"/>
              <a:gd name="connsiteX5" fmla="*/ 4651627 w 12208125"/>
              <a:gd name="connsiteY5" fmla="*/ 5984081 h 6858000"/>
              <a:gd name="connsiteX6" fmla="*/ 4318252 w 12208125"/>
              <a:gd name="connsiteY6" fmla="*/ 5920581 h 6858000"/>
              <a:gd name="connsiteX7" fmla="*/ 4080128 w 12208125"/>
              <a:gd name="connsiteY7" fmla="*/ 5936455 h 6858000"/>
              <a:gd name="connsiteX8" fmla="*/ 2978403 w 12208125"/>
              <a:gd name="connsiteY8" fmla="*/ 6146005 h 6858000"/>
              <a:gd name="connsiteX9" fmla="*/ 1619503 w 12208125"/>
              <a:gd name="connsiteY9" fmla="*/ 6038055 h 6858000"/>
              <a:gd name="connsiteX10" fmla="*/ 1365503 w 12208125"/>
              <a:gd name="connsiteY10" fmla="*/ 6038055 h 6858000"/>
              <a:gd name="connsiteX11" fmla="*/ 794003 w 12208125"/>
              <a:gd name="connsiteY11" fmla="*/ 6034880 h 6858000"/>
              <a:gd name="connsiteX12" fmla="*/ 273303 w 12208125"/>
              <a:gd name="connsiteY12" fmla="*/ 6034880 h 6858000"/>
              <a:gd name="connsiteX13" fmla="*/ 3428 w 12208125"/>
              <a:gd name="connsiteY13" fmla="*/ 6028530 h 6858000"/>
              <a:gd name="connsiteX14" fmla="*/ 6600 w 12208125"/>
              <a:gd name="connsiteY14" fmla="*/ 6036470 h 6858000"/>
              <a:gd name="connsiteX15" fmla="*/ 16125 w 12208125"/>
              <a:gd name="connsiteY15" fmla="*/ 6854032 h 6858000"/>
              <a:gd name="connsiteX16" fmla="*/ 12208125 w 12208125"/>
              <a:gd name="connsiteY16" fmla="*/ 6857999 h 6858000"/>
              <a:gd name="connsiteX17" fmla="*/ 12208125 w 12208125"/>
              <a:gd name="connsiteY17" fmla="*/ 6858000 h 6858000"/>
              <a:gd name="connsiteX18" fmla="*/ 0 w 12208125"/>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08125" h="6858000">
                <a:moveTo>
                  <a:pt x="0" y="0"/>
                </a:moveTo>
                <a:lnTo>
                  <a:pt x="12208125" y="0"/>
                </a:lnTo>
                <a:lnTo>
                  <a:pt x="12208125" y="6022181"/>
                </a:lnTo>
                <a:lnTo>
                  <a:pt x="12187432" y="6022079"/>
                </a:lnTo>
                <a:cubicBezTo>
                  <a:pt x="11763047" y="6020613"/>
                  <a:pt x="4952988" y="6006720"/>
                  <a:pt x="4911977" y="6003131"/>
                </a:cubicBezTo>
                <a:cubicBezTo>
                  <a:pt x="4911316" y="6003792"/>
                  <a:pt x="4707719" y="5994135"/>
                  <a:pt x="4651627" y="5984081"/>
                </a:cubicBezTo>
                <a:cubicBezTo>
                  <a:pt x="4650305" y="5983420"/>
                  <a:pt x="4358998" y="5918465"/>
                  <a:pt x="4318252" y="5920581"/>
                </a:cubicBezTo>
                <a:cubicBezTo>
                  <a:pt x="4318914" y="5919919"/>
                  <a:pt x="4263219" y="5902059"/>
                  <a:pt x="4080128" y="5936455"/>
                </a:cubicBezTo>
                <a:cubicBezTo>
                  <a:pt x="4082112" y="5937778"/>
                  <a:pt x="3037140" y="6143888"/>
                  <a:pt x="2978403" y="6146005"/>
                </a:cubicBezTo>
                <a:cubicBezTo>
                  <a:pt x="2182536" y="6205272"/>
                  <a:pt x="2072470" y="6074038"/>
                  <a:pt x="1619503" y="6038055"/>
                </a:cubicBezTo>
                <a:lnTo>
                  <a:pt x="1365503" y="6038055"/>
                </a:lnTo>
                <a:lnTo>
                  <a:pt x="794003" y="6034880"/>
                </a:lnTo>
                <a:lnTo>
                  <a:pt x="273303" y="6034880"/>
                </a:lnTo>
                <a:lnTo>
                  <a:pt x="3428" y="6028530"/>
                </a:lnTo>
                <a:lnTo>
                  <a:pt x="6600" y="6036470"/>
                </a:lnTo>
                <a:lnTo>
                  <a:pt x="16125" y="6854032"/>
                </a:lnTo>
                <a:lnTo>
                  <a:pt x="12208125" y="6857999"/>
                </a:lnTo>
                <a:lnTo>
                  <a:pt x="12208125" y="6858000"/>
                </a:lnTo>
                <a:lnTo>
                  <a:pt x="0" y="6858000"/>
                </a:lnTo>
                <a:close/>
              </a:path>
            </a:pathLst>
          </a:custGeom>
          <a:gradFill flip="none" rotWithShape="1">
            <a:gsLst>
              <a:gs pos="0">
                <a:schemeClr val="accent2">
                  <a:alpha val="50000"/>
                </a:schemeClr>
              </a:gs>
              <a:gs pos="50000">
                <a:srgbClr val="7C9F2F">
                  <a:alpha val="80000"/>
                </a:srgbClr>
              </a:gs>
              <a:gs pos="100000">
                <a:schemeClr val="accent1">
                  <a:alpha val="80000"/>
                </a:schemeClr>
              </a:gs>
            </a:gsLst>
            <a:lin ang="10800000" scaled="1"/>
            <a:tileRect/>
          </a:gradFill>
        </p:spPr>
        <p:txBody>
          <a:bodyPr vert="horz" wrap="square" lIns="0" tIns="0" rIns="0" bIns="0">
            <a:noAutofit/>
          </a:bodyPr>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en-US" noProof="0"/>
              <a:t>  </a:t>
            </a:r>
          </a:p>
        </p:txBody>
      </p:sp>
      <p:sp>
        <p:nvSpPr>
          <p:cNvPr id="2" name="Titel 1"/>
          <p:cNvSpPr>
            <a:spLocks noGrp="1"/>
          </p:cNvSpPr>
          <p:nvPr>
            <p:ph type="title" hasCustomPrompt="1"/>
          </p:nvPr>
        </p:nvSpPr>
        <p:spPr>
          <a:xfrm>
            <a:off x="5399315" y="435768"/>
            <a:ext cx="3205863" cy="3397619"/>
          </a:xfrm>
        </p:spPr>
        <p:txBody>
          <a:bodyPr/>
          <a:lstStyle>
            <a:lvl1pPr>
              <a:defRPr sz="4050">
                <a:solidFill>
                  <a:schemeClr val="bg1"/>
                </a:solidFill>
              </a:defRPr>
            </a:lvl1pPr>
          </a:lstStyle>
          <a:p>
            <a:r>
              <a:rPr lang="en-US" noProof="0"/>
              <a:t>Add a slide title or a quote, </a:t>
            </a:r>
            <a:br>
              <a:rPr lang="en-US" noProof="0"/>
            </a:br>
            <a:r>
              <a:rPr lang="en-US" noProof="0"/>
              <a:t>max.6 lines</a:t>
            </a:r>
            <a:endParaRPr lang="en-US"/>
          </a:p>
        </p:txBody>
      </p:sp>
      <p:sp>
        <p:nvSpPr>
          <p:cNvPr id="53" name="Tekstvak 52">
            <a:extLst>
              <a:ext uri="{FF2B5EF4-FFF2-40B4-BE49-F238E27FC236}">
                <a16:creationId xmlns:a16="http://schemas.microsoft.com/office/drawing/2014/main" id="{A608A4F7-1B6C-4CAA-AD3A-A9668580092E}"/>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Large image with colour cover</a:t>
            </a:r>
          </a:p>
        </p:txBody>
      </p:sp>
      <p:grpSp>
        <p:nvGrpSpPr>
          <p:cNvPr id="72" name="INSTRUCTION">
            <a:extLst>
              <a:ext uri="{FF2B5EF4-FFF2-40B4-BE49-F238E27FC236}">
                <a16:creationId xmlns:a16="http://schemas.microsoft.com/office/drawing/2014/main" id="{B0EA2FEF-6A19-4552-87A2-BABDC04386CF}"/>
              </a:ext>
            </a:extLst>
          </p:cNvPr>
          <p:cNvGrpSpPr/>
          <p:nvPr userDrawn="1"/>
        </p:nvGrpSpPr>
        <p:grpSpPr>
          <a:xfrm>
            <a:off x="-2839623" y="0"/>
            <a:ext cx="2694818" cy="4452582"/>
            <a:chOff x="-3786165" y="0"/>
            <a:chExt cx="3593091" cy="5936776"/>
          </a:xfrm>
        </p:grpSpPr>
        <p:sp>
          <p:nvSpPr>
            <p:cNvPr id="73" name="Rechthoek 72">
              <a:extLst>
                <a:ext uri="{FF2B5EF4-FFF2-40B4-BE49-F238E27FC236}">
                  <a16:creationId xmlns:a16="http://schemas.microsoft.com/office/drawing/2014/main" id="{EBDFC7D2-7393-44B4-82DE-AA96A8AF8403}"/>
                </a:ext>
              </a:extLst>
            </p:cNvPr>
            <p:cNvSpPr/>
            <p:nvPr userDrawn="1"/>
          </p:nvSpPr>
          <p:spPr>
            <a:xfrm>
              <a:off x="-3786165" y="0"/>
              <a:ext cx="3593091" cy="593677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74" name="Ovaal 73">
              <a:extLst>
                <a:ext uri="{FF2B5EF4-FFF2-40B4-BE49-F238E27FC236}">
                  <a16:creationId xmlns:a16="http://schemas.microsoft.com/office/drawing/2014/main" id="{CD7BFAAC-326A-4514-8054-496D751CE18D}"/>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5" name="Rechthoek 74">
              <a:extLst>
                <a:ext uri="{FF2B5EF4-FFF2-40B4-BE49-F238E27FC236}">
                  <a16:creationId xmlns:a16="http://schemas.microsoft.com/office/drawing/2014/main" id="{A8FC7C95-6BA1-43C7-B7D9-516A0E19D930}"/>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6" name="Groep 75">
              <a:extLst>
                <a:ext uri="{FF2B5EF4-FFF2-40B4-BE49-F238E27FC236}">
                  <a16:creationId xmlns:a16="http://schemas.microsoft.com/office/drawing/2014/main" id="{D61AFBC5-0F3F-486A-91DF-46B9F6FE6139}"/>
                </a:ext>
              </a:extLst>
            </p:cNvPr>
            <p:cNvGrpSpPr/>
            <p:nvPr userDrawn="1"/>
          </p:nvGrpSpPr>
          <p:grpSpPr>
            <a:xfrm>
              <a:off x="-3316179" y="1231351"/>
              <a:ext cx="294789" cy="318834"/>
              <a:chOff x="14466489" y="1001522"/>
              <a:chExt cx="290627" cy="314333"/>
            </a:xfrm>
          </p:grpSpPr>
          <p:sp>
            <p:nvSpPr>
              <p:cNvPr id="127" name="Rechthoek 126">
                <a:extLst>
                  <a:ext uri="{FF2B5EF4-FFF2-40B4-BE49-F238E27FC236}">
                    <a16:creationId xmlns:a16="http://schemas.microsoft.com/office/drawing/2014/main" id="{9B86D682-4F78-4CBA-9FC8-80EF3595BB99}"/>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28" name="Ovaal 127">
                <a:extLst>
                  <a:ext uri="{FF2B5EF4-FFF2-40B4-BE49-F238E27FC236}">
                    <a16:creationId xmlns:a16="http://schemas.microsoft.com/office/drawing/2014/main" id="{D7770A06-3A1D-427C-8820-B0C73DAE879E}"/>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00" b="1" noProof="0">
                  <a:solidFill>
                    <a:srgbClr val="211F26"/>
                  </a:solidFill>
                  <a:latin typeface="Calibri" panose="020F0502020204030204" pitchFamily="34" charset="0"/>
                  <a:cs typeface="Calibri" panose="020F0502020204030204" pitchFamily="34" charset="0"/>
                </a:endParaRPr>
              </a:p>
            </p:txBody>
          </p:sp>
          <p:sp>
            <p:nvSpPr>
              <p:cNvPr id="129" name="Vrije vorm: vorm 128">
                <a:extLst>
                  <a:ext uri="{FF2B5EF4-FFF2-40B4-BE49-F238E27FC236}">
                    <a16:creationId xmlns:a16="http://schemas.microsoft.com/office/drawing/2014/main" id="{4E445CC3-529B-41FD-B5C7-3FB30F255849}"/>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00" b="1" noProof="0">
                  <a:solidFill>
                    <a:srgbClr val="211F26"/>
                  </a:solidFill>
                  <a:latin typeface="Calibri" panose="020F0502020204030204" pitchFamily="34" charset="0"/>
                  <a:cs typeface="Calibri" panose="020F0502020204030204" pitchFamily="34" charset="0"/>
                </a:endParaRPr>
              </a:p>
            </p:txBody>
          </p:sp>
          <p:sp>
            <p:nvSpPr>
              <p:cNvPr id="130" name="Rechthoek: afgeronde hoeken 129">
                <a:extLst>
                  <a:ext uri="{FF2B5EF4-FFF2-40B4-BE49-F238E27FC236}">
                    <a16:creationId xmlns:a16="http://schemas.microsoft.com/office/drawing/2014/main" id="{E57B8C5A-2C86-42CD-96D9-226B04D84BCD}"/>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cxnSp>
            <p:nvCxnSpPr>
              <p:cNvPr id="131" name="Rechte verbindingslijn 130">
                <a:extLst>
                  <a:ext uri="{FF2B5EF4-FFF2-40B4-BE49-F238E27FC236}">
                    <a16:creationId xmlns:a16="http://schemas.microsoft.com/office/drawing/2014/main" id="{015EA128-E72C-4816-A159-700F296E5D0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32" name="Rechte verbindingslijn 131">
                <a:extLst>
                  <a:ext uri="{FF2B5EF4-FFF2-40B4-BE49-F238E27FC236}">
                    <a16:creationId xmlns:a16="http://schemas.microsoft.com/office/drawing/2014/main" id="{2B248735-7C92-4F88-99A7-BB54C6FE5DBC}"/>
                  </a:ext>
                </a:extLst>
              </p:cNvPr>
              <p:cNvCxnSpPr>
                <a:cxnSpLocks/>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C5E894D-0F02-48D6-90DE-C49F41E137F3}"/>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8" name="Rechthoek 77">
              <a:extLst>
                <a:ext uri="{FF2B5EF4-FFF2-40B4-BE49-F238E27FC236}">
                  <a16:creationId xmlns:a16="http://schemas.microsoft.com/office/drawing/2014/main" id="{FED6262B-7D07-480D-84F2-363A0E0BC882}"/>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imag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9" name="Groep 78">
              <a:extLst>
                <a:ext uri="{FF2B5EF4-FFF2-40B4-BE49-F238E27FC236}">
                  <a16:creationId xmlns:a16="http://schemas.microsoft.com/office/drawing/2014/main" id="{04AA44AD-52D6-4D22-9BFB-79449941B1FC}"/>
                </a:ext>
              </a:extLst>
            </p:cNvPr>
            <p:cNvGrpSpPr/>
            <p:nvPr userDrawn="1"/>
          </p:nvGrpSpPr>
          <p:grpSpPr>
            <a:xfrm>
              <a:off x="-3311319" y="2164285"/>
              <a:ext cx="825500" cy="209550"/>
              <a:chOff x="13504624" y="2482850"/>
              <a:chExt cx="825500" cy="209550"/>
            </a:xfrm>
          </p:grpSpPr>
          <p:sp>
            <p:nvSpPr>
              <p:cNvPr id="124" name="Rechthoek 123">
                <a:extLst>
                  <a:ext uri="{FF2B5EF4-FFF2-40B4-BE49-F238E27FC236}">
                    <a16:creationId xmlns:a16="http://schemas.microsoft.com/office/drawing/2014/main" id="{0A8131A5-B5B0-4D5B-B4CD-933467BB705A}"/>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Insert</a:t>
                </a:r>
              </a:p>
            </p:txBody>
          </p:sp>
          <p:cxnSp>
            <p:nvCxnSpPr>
              <p:cNvPr id="125" name="Rechte verbindingslijn 124">
                <a:extLst>
                  <a:ext uri="{FF2B5EF4-FFF2-40B4-BE49-F238E27FC236}">
                    <a16:creationId xmlns:a16="http://schemas.microsoft.com/office/drawing/2014/main" id="{1B62F830-8FBB-4BC2-BC8B-20DB972FB70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6" name="Gelijkbenige driehoek 125">
                <a:extLst>
                  <a:ext uri="{FF2B5EF4-FFF2-40B4-BE49-F238E27FC236}">
                    <a16:creationId xmlns:a16="http://schemas.microsoft.com/office/drawing/2014/main" id="{FDCC99D8-5ACE-4F72-ADFC-63321F20F9C5}"/>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75" b="1" noProof="0">
                  <a:solidFill>
                    <a:srgbClr val="211F26"/>
                  </a:solidFill>
                  <a:latin typeface="Calibri" panose="020F0502020204030204" pitchFamily="34" charset="0"/>
                  <a:cs typeface="Calibri" panose="020F0502020204030204" pitchFamily="34" charset="0"/>
                </a:endParaRPr>
              </a:p>
            </p:txBody>
          </p:sp>
        </p:grpSp>
        <p:sp>
          <p:nvSpPr>
            <p:cNvPr id="80" name="Ovaal 79">
              <a:extLst>
                <a:ext uri="{FF2B5EF4-FFF2-40B4-BE49-F238E27FC236}">
                  <a16:creationId xmlns:a16="http://schemas.microsoft.com/office/drawing/2014/main" id="{CDF26303-F11C-46CD-8D50-328AA3F9DBF8}"/>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1" name="Rechthoek 80">
              <a:extLst>
                <a:ext uri="{FF2B5EF4-FFF2-40B4-BE49-F238E27FC236}">
                  <a16:creationId xmlns:a16="http://schemas.microsoft.com/office/drawing/2014/main" id="{F3491B6A-0FC3-4E73-B328-968BCFC325A9}"/>
                </a:ext>
              </a:extLst>
            </p:cNvPr>
            <p:cNvSpPr/>
            <p:nvPr userDrawn="1"/>
          </p:nvSpPr>
          <p:spPr>
            <a:xfrm>
              <a:off x="-33194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2" name="Ovaal 81">
              <a:extLst>
                <a:ext uri="{FF2B5EF4-FFF2-40B4-BE49-F238E27FC236}">
                  <a16:creationId xmlns:a16="http://schemas.microsoft.com/office/drawing/2014/main" id="{879238A4-4677-4FE3-909A-94B2F67B7196}"/>
                </a:ext>
              </a:extLst>
            </p:cNvPr>
            <p:cNvSpPr/>
            <p:nvPr userDrawn="1"/>
          </p:nvSpPr>
          <p:spPr>
            <a:xfrm>
              <a:off x="-3603587"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3" name="Rechthoek 82">
              <a:extLst>
                <a:ext uri="{FF2B5EF4-FFF2-40B4-BE49-F238E27FC236}">
                  <a16:creationId xmlns:a16="http://schemas.microsoft.com/office/drawing/2014/main" id="{2A5739E6-F2A7-4840-A79B-48A25F9295BA}"/>
                </a:ext>
              </a:extLst>
            </p:cNvPr>
            <p:cNvSpPr/>
            <p:nvPr userDrawn="1"/>
          </p:nvSpPr>
          <p:spPr>
            <a:xfrm>
              <a:off x="-3319415" y="4145790"/>
              <a:ext cx="2944682" cy="794700"/>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84" name="Groep 83">
              <a:extLst>
                <a:ext uri="{FF2B5EF4-FFF2-40B4-BE49-F238E27FC236}">
                  <a16:creationId xmlns:a16="http://schemas.microsoft.com/office/drawing/2014/main" id="{C6C19C6B-7B89-4DFE-ABD2-AFD5EE1FA832}"/>
                </a:ext>
              </a:extLst>
            </p:cNvPr>
            <p:cNvGrpSpPr/>
            <p:nvPr userDrawn="1"/>
          </p:nvGrpSpPr>
          <p:grpSpPr>
            <a:xfrm>
              <a:off x="-3449237" y="5047414"/>
              <a:ext cx="622283" cy="612919"/>
              <a:chOff x="12617641" y="3403239"/>
              <a:chExt cx="752963" cy="741634"/>
            </a:xfrm>
          </p:grpSpPr>
          <p:grpSp>
            <p:nvGrpSpPr>
              <p:cNvPr id="108" name="Groep 107">
                <a:extLst>
                  <a:ext uri="{FF2B5EF4-FFF2-40B4-BE49-F238E27FC236}">
                    <a16:creationId xmlns:a16="http://schemas.microsoft.com/office/drawing/2014/main" id="{151006E8-C509-470E-9477-4A43F3C96E0E}"/>
                  </a:ext>
                </a:extLst>
              </p:cNvPr>
              <p:cNvGrpSpPr/>
              <p:nvPr userDrawn="1"/>
            </p:nvGrpSpPr>
            <p:grpSpPr>
              <a:xfrm>
                <a:off x="12771550" y="3403239"/>
                <a:ext cx="467156" cy="448491"/>
                <a:chOff x="12782177" y="3403239"/>
                <a:chExt cx="467156" cy="448491"/>
              </a:xfrm>
            </p:grpSpPr>
            <p:grpSp>
              <p:nvGrpSpPr>
                <p:cNvPr id="111" name="Groep 110">
                  <a:extLst>
                    <a:ext uri="{FF2B5EF4-FFF2-40B4-BE49-F238E27FC236}">
                      <a16:creationId xmlns:a16="http://schemas.microsoft.com/office/drawing/2014/main" id="{CE250D4A-F106-460B-9FB1-2BAECC0EB68D}"/>
                    </a:ext>
                  </a:extLst>
                </p:cNvPr>
                <p:cNvGrpSpPr/>
                <p:nvPr userDrawn="1"/>
              </p:nvGrpSpPr>
              <p:grpSpPr>
                <a:xfrm>
                  <a:off x="12782177" y="3403239"/>
                  <a:ext cx="412972" cy="396132"/>
                  <a:chOff x="13554906" y="3320109"/>
                  <a:chExt cx="443912" cy="425811"/>
                </a:xfrm>
              </p:grpSpPr>
              <p:grpSp>
                <p:nvGrpSpPr>
                  <p:cNvPr id="118" name="Groep 117">
                    <a:extLst>
                      <a:ext uri="{FF2B5EF4-FFF2-40B4-BE49-F238E27FC236}">
                        <a16:creationId xmlns:a16="http://schemas.microsoft.com/office/drawing/2014/main" id="{60FB6684-8498-4C9A-B9EA-3082424DF82E}"/>
                      </a:ext>
                    </a:extLst>
                  </p:cNvPr>
                  <p:cNvGrpSpPr/>
                  <p:nvPr userDrawn="1"/>
                </p:nvGrpSpPr>
                <p:grpSpPr>
                  <a:xfrm>
                    <a:off x="13554906" y="3320109"/>
                    <a:ext cx="443912" cy="425811"/>
                    <a:chOff x="12909684" y="1276143"/>
                    <a:chExt cx="443912" cy="425811"/>
                  </a:xfrm>
                </p:grpSpPr>
                <p:sp>
                  <p:nvSpPr>
                    <p:cNvPr id="121" name="Rechthoek 120">
                      <a:extLst>
                        <a:ext uri="{FF2B5EF4-FFF2-40B4-BE49-F238E27FC236}">
                          <a16:creationId xmlns:a16="http://schemas.microsoft.com/office/drawing/2014/main" id="{12DDE3A0-D7DF-4405-87A2-2506F6278B2E}"/>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22" name="Rechthoek 121">
                      <a:extLst>
                        <a:ext uri="{FF2B5EF4-FFF2-40B4-BE49-F238E27FC236}">
                          <a16:creationId xmlns:a16="http://schemas.microsoft.com/office/drawing/2014/main" id="{1754FDA8-9CC9-46B1-AD2E-AC1F164E0685}"/>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23" name="Ovaal 122">
                      <a:extLst>
                        <a:ext uri="{FF2B5EF4-FFF2-40B4-BE49-F238E27FC236}">
                          <a16:creationId xmlns:a16="http://schemas.microsoft.com/office/drawing/2014/main" id="{1569B069-1881-4D45-A16E-83F0F757190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pic>
                <p:nvPicPr>
                  <p:cNvPr id="119" name="Afbeelding 118">
                    <a:extLst>
                      <a:ext uri="{FF2B5EF4-FFF2-40B4-BE49-F238E27FC236}">
                        <a16:creationId xmlns:a16="http://schemas.microsoft.com/office/drawing/2014/main" id="{0365170E-F3D6-4AFF-8FE9-18B0FE3F5A98}"/>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20" name="Afbeelding 119">
                    <a:extLst>
                      <a:ext uri="{FF2B5EF4-FFF2-40B4-BE49-F238E27FC236}">
                        <a16:creationId xmlns:a16="http://schemas.microsoft.com/office/drawing/2014/main" id="{6D7D0104-240D-44C9-8023-651D6DE9BEB8}"/>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12" name="Groep 111">
                  <a:extLst>
                    <a:ext uri="{FF2B5EF4-FFF2-40B4-BE49-F238E27FC236}">
                      <a16:creationId xmlns:a16="http://schemas.microsoft.com/office/drawing/2014/main" id="{13774E7D-A044-43B4-AF69-9DA5D14B84C6}"/>
                    </a:ext>
                  </a:extLst>
                </p:cNvPr>
                <p:cNvGrpSpPr/>
                <p:nvPr userDrawn="1"/>
              </p:nvGrpSpPr>
              <p:grpSpPr>
                <a:xfrm>
                  <a:off x="13103513" y="3705268"/>
                  <a:ext cx="145820" cy="146462"/>
                  <a:chOff x="13096169" y="3602278"/>
                  <a:chExt cx="145820" cy="146462"/>
                </a:xfrm>
              </p:grpSpPr>
              <p:sp>
                <p:nvSpPr>
                  <p:cNvPr id="116" name="Rechthoek 115">
                    <a:extLst>
                      <a:ext uri="{FF2B5EF4-FFF2-40B4-BE49-F238E27FC236}">
                        <a16:creationId xmlns:a16="http://schemas.microsoft.com/office/drawing/2014/main" id="{5AAC3AB4-FAB2-483C-B836-9B334B20AED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E5B64FC6-F612-480E-A276-34FB97DB26D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113" name="Groep 112">
                  <a:extLst>
                    <a:ext uri="{FF2B5EF4-FFF2-40B4-BE49-F238E27FC236}">
                      <a16:creationId xmlns:a16="http://schemas.microsoft.com/office/drawing/2014/main" id="{4A8A3C58-AAE7-4E5E-BFD2-1BC48644DFFC}"/>
                    </a:ext>
                  </a:extLst>
                </p:cNvPr>
                <p:cNvGrpSpPr/>
                <p:nvPr userDrawn="1"/>
              </p:nvGrpSpPr>
              <p:grpSpPr>
                <a:xfrm rot="10800000">
                  <a:off x="13061402" y="3665637"/>
                  <a:ext cx="145820" cy="146462"/>
                  <a:chOff x="13096169" y="3602278"/>
                  <a:chExt cx="145820" cy="146462"/>
                </a:xfrm>
              </p:grpSpPr>
              <p:sp>
                <p:nvSpPr>
                  <p:cNvPr id="114" name="Rechthoek 113">
                    <a:extLst>
                      <a:ext uri="{FF2B5EF4-FFF2-40B4-BE49-F238E27FC236}">
                        <a16:creationId xmlns:a16="http://schemas.microsoft.com/office/drawing/2014/main" id="{1E983433-7282-46D3-8DF4-A23EABE3FE7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B1634BAC-FEB0-48BC-A4AA-0CBEED5FEC7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sp>
            <p:nvSpPr>
              <p:cNvPr id="109" name="Rechthoek 108">
                <a:extLst>
                  <a:ext uri="{FF2B5EF4-FFF2-40B4-BE49-F238E27FC236}">
                    <a16:creationId xmlns:a16="http://schemas.microsoft.com/office/drawing/2014/main" id="{7E548CCC-D6A5-4138-ABE8-6A35C702393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Crop</a:t>
                </a:r>
              </a:p>
            </p:txBody>
          </p:sp>
          <p:sp>
            <p:nvSpPr>
              <p:cNvPr id="110" name="Gelijkbenige driehoek 109">
                <a:extLst>
                  <a:ext uri="{FF2B5EF4-FFF2-40B4-BE49-F238E27FC236}">
                    <a16:creationId xmlns:a16="http://schemas.microsoft.com/office/drawing/2014/main" id="{E85B0FF2-A4D4-4A98-9BAA-C88C6BEBE42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85" name="Rechthoek 84">
              <a:extLst>
                <a:ext uri="{FF2B5EF4-FFF2-40B4-BE49-F238E27FC236}">
                  <a16:creationId xmlns:a16="http://schemas.microsoft.com/office/drawing/2014/main" id="{F4EF1E75-AFE1-4995-853A-F74B57189CE8}"/>
                </a:ext>
              </a:extLst>
            </p:cNvPr>
            <p:cNvSpPr/>
            <p:nvPr userDrawn="1"/>
          </p:nvSpPr>
          <p:spPr>
            <a:xfrm>
              <a:off x="-331683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US" sz="750" b="0" i="1" noProof="0">
                <a:solidFill>
                  <a:srgbClr val="211F26"/>
                </a:solidFill>
                <a:latin typeface="Calibri" panose="020F0502020204030204" pitchFamily="34" charset="0"/>
                <a:cs typeface="Calibri" panose="020F0502020204030204" pitchFamily="34" charset="0"/>
              </a:endParaRPr>
            </a:p>
          </p:txBody>
        </p:sp>
        <p:grpSp>
          <p:nvGrpSpPr>
            <p:cNvPr id="86" name="Groep 85">
              <a:extLst>
                <a:ext uri="{FF2B5EF4-FFF2-40B4-BE49-F238E27FC236}">
                  <a16:creationId xmlns:a16="http://schemas.microsoft.com/office/drawing/2014/main" id="{02A654C9-3691-42F2-A0B7-20B32AB9DD74}"/>
                </a:ext>
              </a:extLst>
            </p:cNvPr>
            <p:cNvGrpSpPr/>
            <p:nvPr userDrawn="1"/>
          </p:nvGrpSpPr>
          <p:grpSpPr>
            <a:xfrm>
              <a:off x="-2485819" y="3399207"/>
              <a:ext cx="1222990" cy="563933"/>
              <a:chOff x="-2485819" y="3399207"/>
              <a:chExt cx="1222990" cy="563933"/>
            </a:xfrm>
          </p:grpSpPr>
          <p:sp>
            <p:nvSpPr>
              <p:cNvPr id="87" name="Rechthoek 86">
                <a:extLst>
                  <a:ext uri="{FF2B5EF4-FFF2-40B4-BE49-F238E27FC236}">
                    <a16:creationId xmlns:a16="http://schemas.microsoft.com/office/drawing/2014/main" id="{8E29D3E3-C512-411D-B29F-46763276FD0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3E1CBF9A-D010-41FF-8C01-D4B5C439EEC0}"/>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89" name="Groep 88">
                <a:extLst>
                  <a:ext uri="{FF2B5EF4-FFF2-40B4-BE49-F238E27FC236}">
                    <a16:creationId xmlns:a16="http://schemas.microsoft.com/office/drawing/2014/main" id="{1864A902-3487-4D4F-9F7D-60C8669D967C}"/>
                  </a:ext>
                </a:extLst>
              </p:cNvPr>
              <p:cNvGrpSpPr/>
              <p:nvPr userDrawn="1"/>
            </p:nvGrpSpPr>
            <p:grpSpPr>
              <a:xfrm>
                <a:off x="-2403869" y="3460544"/>
                <a:ext cx="155951" cy="131922"/>
                <a:chOff x="12968836" y="3354170"/>
                <a:chExt cx="404806" cy="342433"/>
              </a:xfrm>
            </p:grpSpPr>
            <p:sp>
              <p:nvSpPr>
                <p:cNvPr id="102" name="Rechthoek: afgeronde hoeken 101">
                  <a:extLst>
                    <a:ext uri="{FF2B5EF4-FFF2-40B4-BE49-F238E27FC236}">
                      <a16:creationId xmlns:a16="http://schemas.microsoft.com/office/drawing/2014/main" id="{890221E7-B752-40DF-80E6-0678B83FB33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B25C97E0-E14E-469B-8186-8D5EFB65614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1C537F7F-1DF3-41E6-9861-1E7B4AF5E14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B83BBABB-47E7-43FC-B733-C2C9BCE9CA3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9F3219DD-0282-44B7-82C5-267804CF19A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02221918-4DAD-4BF5-97A9-3A97A39EB5CB}"/>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90" name="Groep 89">
                <a:extLst>
                  <a:ext uri="{FF2B5EF4-FFF2-40B4-BE49-F238E27FC236}">
                    <a16:creationId xmlns:a16="http://schemas.microsoft.com/office/drawing/2014/main" id="{4E2FF79C-B704-46AE-813F-F3FA87B58177}"/>
                  </a:ext>
                </a:extLst>
              </p:cNvPr>
              <p:cNvGrpSpPr/>
              <p:nvPr userDrawn="1"/>
            </p:nvGrpSpPr>
            <p:grpSpPr>
              <a:xfrm>
                <a:off x="-2423424" y="3690208"/>
                <a:ext cx="166739" cy="218963"/>
                <a:chOff x="12940828" y="3950597"/>
                <a:chExt cx="432813" cy="568367"/>
              </a:xfrm>
            </p:grpSpPr>
            <p:grpSp>
              <p:nvGrpSpPr>
                <p:cNvPr id="94" name="Groep 93">
                  <a:extLst>
                    <a:ext uri="{FF2B5EF4-FFF2-40B4-BE49-F238E27FC236}">
                      <a16:creationId xmlns:a16="http://schemas.microsoft.com/office/drawing/2014/main" id="{01CA0896-EAD0-4C32-BF44-E2FF1969CB69}"/>
                    </a:ext>
                  </a:extLst>
                </p:cNvPr>
                <p:cNvGrpSpPr/>
                <p:nvPr userDrawn="1"/>
              </p:nvGrpSpPr>
              <p:grpSpPr>
                <a:xfrm>
                  <a:off x="13000382" y="4006891"/>
                  <a:ext cx="373259" cy="315747"/>
                  <a:chOff x="12968836" y="3354170"/>
                  <a:chExt cx="404806" cy="342433"/>
                </a:xfrm>
              </p:grpSpPr>
              <p:sp>
                <p:nvSpPr>
                  <p:cNvPr id="96" name="Rechthoek: afgeronde hoeken 95">
                    <a:extLst>
                      <a:ext uri="{FF2B5EF4-FFF2-40B4-BE49-F238E27FC236}">
                        <a16:creationId xmlns:a16="http://schemas.microsoft.com/office/drawing/2014/main" id="{C719B3D8-68B7-4784-A39B-A8B64C0CDE0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97" name="Rechthoek 96">
                    <a:extLst>
                      <a:ext uri="{FF2B5EF4-FFF2-40B4-BE49-F238E27FC236}">
                        <a16:creationId xmlns:a16="http://schemas.microsoft.com/office/drawing/2014/main" id="{D78243A8-E2BA-4C39-A363-B0C0D77D6138}"/>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29280A47-4B0C-4027-9C90-0D530871A4B7}"/>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D1BE9488-4A8B-4465-B494-9C7CB56050E3}"/>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C5A51FE1-E1C9-43B0-8A6D-50124F714615}"/>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C1EA3938-7E45-45A0-9ACC-A0632501F9A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95" name="Boog 94">
                  <a:extLst>
                    <a:ext uri="{FF2B5EF4-FFF2-40B4-BE49-F238E27FC236}">
                      <a16:creationId xmlns:a16="http://schemas.microsoft.com/office/drawing/2014/main" id="{4DD412B5-D547-4ED7-AB14-7847B5776EF6}"/>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sp>
            <p:nvSpPr>
              <p:cNvPr id="91" name="Tekstvak 90">
                <a:extLst>
                  <a:ext uri="{FF2B5EF4-FFF2-40B4-BE49-F238E27FC236}">
                    <a16:creationId xmlns:a16="http://schemas.microsoft.com/office/drawing/2014/main" id="{568E1044-4AA9-4EC2-AFFC-79978DD76347}"/>
                  </a:ext>
                </a:extLst>
              </p:cNvPr>
              <p:cNvSpPr txBox="1"/>
              <p:nvPr userDrawn="1"/>
            </p:nvSpPr>
            <p:spPr>
              <a:xfrm>
                <a:off x="-2245455" y="3460544"/>
                <a:ext cx="896116" cy="134709"/>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Layout</a:t>
                </a:r>
              </a:p>
            </p:txBody>
          </p:sp>
          <p:sp>
            <p:nvSpPr>
              <p:cNvPr id="92" name="Tekstvak 91">
                <a:extLst>
                  <a:ext uri="{FF2B5EF4-FFF2-40B4-BE49-F238E27FC236}">
                    <a16:creationId xmlns:a16="http://schemas.microsoft.com/office/drawing/2014/main" id="{EF3A32FE-155D-42E3-ABFE-D877613B2FA6}"/>
                  </a:ext>
                </a:extLst>
              </p:cNvPr>
              <p:cNvSpPr txBox="1"/>
              <p:nvPr userDrawn="1"/>
            </p:nvSpPr>
            <p:spPr>
              <a:xfrm>
                <a:off x="-2258884" y="3712980"/>
                <a:ext cx="909545" cy="126416"/>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93" name="Vrije vorm: vorm 92">
                <a:extLst>
                  <a:ext uri="{FF2B5EF4-FFF2-40B4-BE49-F238E27FC236}">
                    <a16:creationId xmlns:a16="http://schemas.microsoft.com/office/drawing/2014/main" id="{1F99D6A6-6AE5-492F-9CB5-9890EFDF7CD9}"/>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450"/>
                  </a:spcBef>
                  <a:spcAft>
                    <a:spcPts val="450"/>
                  </a:spcAft>
                </a:pPr>
                <a:endParaRPr lang="en-US" sz="1200" cap="all" baseline="0" noProof="0">
                  <a:latin typeface="Calibri" panose="020F0502020204030204" pitchFamily="34" charset="0"/>
                  <a:cs typeface="Calibri" panose="020F0502020204030204" pitchFamily="34" charset="0"/>
                </a:endParaRPr>
              </a:p>
            </p:txBody>
          </p:sp>
        </p:grpSp>
      </p:grpSp>
      <p:grpSp>
        <p:nvGrpSpPr>
          <p:cNvPr id="133" name="INSTRUCTION">
            <a:extLst>
              <a:ext uri="{FF2B5EF4-FFF2-40B4-BE49-F238E27FC236}">
                <a16:creationId xmlns:a16="http://schemas.microsoft.com/office/drawing/2014/main" id="{E0CD93DE-8B34-4588-9E71-B8FCC2AEDC35}"/>
              </a:ext>
            </a:extLst>
          </p:cNvPr>
          <p:cNvGrpSpPr/>
          <p:nvPr userDrawn="1"/>
        </p:nvGrpSpPr>
        <p:grpSpPr>
          <a:xfrm>
            <a:off x="9206037" y="-803664"/>
            <a:ext cx="2771978" cy="958310"/>
            <a:chOff x="-3889316" y="-1461517"/>
            <a:chExt cx="3695970" cy="1277747"/>
          </a:xfrm>
        </p:grpSpPr>
        <p:sp>
          <p:nvSpPr>
            <p:cNvPr id="134" name="Rechthoek 133">
              <a:extLst>
                <a:ext uri="{FF2B5EF4-FFF2-40B4-BE49-F238E27FC236}">
                  <a16:creationId xmlns:a16="http://schemas.microsoft.com/office/drawing/2014/main" id="{8F2072AD-2E48-4E58-ABDE-2FD8372AB396}"/>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Insert an image</a:t>
              </a:r>
            </a:p>
          </p:txBody>
        </p:sp>
        <p:sp>
          <p:nvSpPr>
            <p:cNvPr id="135" name="Rechthoek 134">
              <a:extLst>
                <a:ext uri="{FF2B5EF4-FFF2-40B4-BE49-F238E27FC236}">
                  <a16:creationId xmlns:a16="http://schemas.microsoft.com/office/drawing/2014/main" id="{7834C34F-5D84-48D8-AE0D-AE1B6BA5C12E}"/>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s’</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6" name="Gelijkbenige driehoek 135">
              <a:extLst>
                <a:ext uri="{FF2B5EF4-FFF2-40B4-BE49-F238E27FC236}">
                  <a16:creationId xmlns:a16="http://schemas.microsoft.com/office/drawing/2014/main" id="{8D7B715A-1963-4814-8996-EA79B99302D3}"/>
                </a:ext>
              </a:extLst>
            </p:cNvPr>
            <p:cNvSpPr/>
            <p:nvPr userDrawn="1"/>
          </p:nvSpPr>
          <p:spPr>
            <a:xfrm rot="16200000" flipH="1">
              <a:off x="-3925504" y="-351896"/>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450"/>
                </a:spcBef>
                <a:spcAft>
                  <a:spcPts val="450"/>
                </a:spcAft>
              </a:pPr>
              <a:endParaRPr lang="en-US" sz="1200" cap="all" baseline="0" noProof="0">
                <a:latin typeface="Calibri" panose="020F0502020204030204" pitchFamily="34" charset="0"/>
                <a:cs typeface="Calibri" panose="020F0502020204030204" pitchFamily="34" charset="0"/>
              </a:endParaRPr>
            </a:p>
          </p:txBody>
        </p:sp>
      </p:grpSp>
      <p:sp>
        <p:nvSpPr>
          <p:cNvPr id="137" name="Tijdelijke aanduiding voor dianummer 5">
            <a:extLst>
              <a:ext uri="{FF2B5EF4-FFF2-40B4-BE49-F238E27FC236}">
                <a16:creationId xmlns:a16="http://schemas.microsoft.com/office/drawing/2014/main" id="{9D34FD34-B88E-4E27-A4CD-1AAB9D375664}"/>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138" name="INSTRUCTION">
            <a:extLst>
              <a:ext uri="{FF2B5EF4-FFF2-40B4-BE49-F238E27FC236}">
                <a16:creationId xmlns:a16="http://schemas.microsoft.com/office/drawing/2014/main" id="{479E2117-393F-48AF-A902-5B49F005155A}"/>
              </a:ext>
            </a:extLst>
          </p:cNvPr>
          <p:cNvGrpSpPr/>
          <p:nvPr userDrawn="1"/>
        </p:nvGrpSpPr>
        <p:grpSpPr>
          <a:xfrm>
            <a:off x="4384" y="5274908"/>
            <a:ext cx="2795966" cy="1183043"/>
            <a:chOff x="5846" y="7033211"/>
            <a:chExt cx="3727954" cy="1577390"/>
          </a:xfrm>
        </p:grpSpPr>
        <p:sp>
          <p:nvSpPr>
            <p:cNvPr id="139" name="Rechthoek 138">
              <a:extLst>
                <a:ext uri="{FF2B5EF4-FFF2-40B4-BE49-F238E27FC236}">
                  <a16:creationId xmlns:a16="http://schemas.microsoft.com/office/drawing/2014/main" id="{A21DE94A-50D9-4CF5-9BDB-F973A5DDCA64}"/>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140" name="Ovaal 139">
              <a:extLst>
                <a:ext uri="{FF2B5EF4-FFF2-40B4-BE49-F238E27FC236}">
                  <a16:creationId xmlns:a16="http://schemas.microsoft.com/office/drawing/2014/main" id="{78B21098-D244-4A5A-BEEA-B9CCCE4761AE}"/>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41" name="Rechthoek 140">
              <a:extLst>
                <a:ext uri="{FF2B5EF4-FFF2-40B4-BE49-F238E27FC236}">
                  <a16:creationId xmlns:a16="http://schemas.microsoft.com/office/drawing/2014/main" id="{858E86E9-E83C-4F64-BDB9-C36D7010549B}"/>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2" name="Ovaal 141">
              <a:extLst>
                <a:ext uri="{FF2B5EF4-FFF2-40B4-BE49-F238E27FC236}">
                  <a16:creationId xmlns:a16="http://schemas.microsoft.com/office/drawing/2014/main" id="{69160834-4B12-4EE2-9197-3CFF16421E14}"/>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3" name="Rechthoek 142">
              <a:extLst>
                <a:ext uri="{FF2B5EF4-FFF2-40B4-BE49-F238E27FC236}">
                  <a16:creationId xmlns:a16="http://schemas.microsoft.com/office/drawing/2014/main" id="{2BD162FA-F8D9-4F56-9313-388120B7631A}"/>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144" name="Groep 143">
              <a:extLst>
                <a:ext uri="{FF2B5EF4-FFF2-40B4-BE49-F238E27FC236}">
                  <a16:creationId xmlns:a16="http://schemas.microsoft.com/office/drawing/2014/main" id="{84F687C4-7D1D-4B88-A077-7E9578330381}"/>
                </a:ext>
              </a:extLst>
            </p:cNvPr>
            <p:cNvGrpSpPr/>
            <p:nvPr userDrawn="1"/>
          </p:nvGrpSpPr>
          <p:grpSpPr>
            <a:xfrm>
              <a:off x="2939884" y="7739834"/>
              <a:ext cx="681133" cy="750023"/>
              <a:chOff x="-910573" y="4987990"/>
              <a:chExt cx="681133" cy="750023"/>
            </a:xfrm>
          </p:grpSpPr>
          <p:grpSp>
            <p:nvGrpSpPr>
              <p:cNvPr id="145" name="Groep 144">
                <a:extLst>
                  <a:ext uri="{FF2B5EF4-FFF2-40B4-BE49-F238E27FC236}">
                    <a16:creationId xmlns:a16="http://schemas.microsoft.com/office/drawing/2014/main" id="{5C3BD162-D63E-4962-8DEA-CEB55137DF36}"/>
                  </a:ext>
                </a:extLst>
              </p:cNvPr>
              <p:cNvGrpSpPr/>
              <p:nvPr userDrawn="1"/>
            </p:nvGrpSpPr>
            <p:grpSpPr>
              <a:xfrm>
                <a:off x="-713542" y="4987990"/>
                <a:ext cx="287071" cy="379107"/>
                <a:chOff x="-4050578" y="288410"/>
                <a:chExt cx="322125" cy="379107"/>
              </a:xfrm>
            </p:grpSpPr>
            <p:sp>
              <p:nvSpPr>
                <p:cNvPr id="147" name="Rechthoek met één afgeknipte en afgeronde hoek 47">
                  <a:extLst>
                    <a:ext uri="{FF2B5EF4-FFF2-40B4-BE49-F238E27FC236}">
                      <a16:creationId xmlns:a16="http://schemas.microsoft.com/office/drawing/2014/main" id="{3B088DB8-3DAC-4AE7-A197-49BC2E417D79}"/>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8" name="Rechthoekige driehoek 147">
                  <a:extLst>
                    <a:ext uri="{FF2B5EF4-FFF2-40B4-BE49-F238E27FC236}">
                      <a16:creationId xmlns:a16="http://schemas.microsoft.com/office/drawing/2014/main" id="{BE2F84E5-B6B6-4E56-919B-B899C7CF2B5C}"/>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9" name="Rechthoek 148">
                  <a:extLst>
                    <a:ext uri="{FF2B5EF4-FFF2-40B4-BE49-F238E27FC236}">
                      <a16:creationId xmlns:a16="http://schemas.microsoft.com/office/drawing/2014/main" id="{C4BE6FDA-0A24-4CD3-AD67-E40059128369}"/>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50" name="Rechthoek 149">
                  <a:extLst>
                    <a:ext uri="{FF2B5EF4-FFF2-40B4-BE49-F238E27FC236}">
                      <a16:creationId xmlns:a16="http://schemas.microsoft.com/office/drawing/2014/main" id="{CB224FC2-2E17-4891-9488-3FD418ABCC22}"/>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46" name="Rechthoek 145">
                <a:extLst>
                  <a:ext uri="{FF2B5EF4-FFF2-40B4-BE49-F238E27FC236}">
                    <a16:creationId xmlns:a16="http://schemas.microsoft.com/office/drawing/2014/main" id="{58809831-901C-40E6-A42A-E95E18829511}"/>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228824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00% VIDEO">
    <p:spTree>
      <p:nvGrpSpPr>
        <p:cNvPr id="1" name=""/>
        <p:cNvGrpSpPr/>
        <p:nvPr/>
      </p:nvGrpSpPr>
      <p:grpSpPr>
        <a:xfrm>
          <a:off x="0" y="0"/>
          <a:ext cx="0" cy="0"/>
          <a:chOff x="0" y="0"/>
          <a:chExt cx="0" cy="0"/>
        </a:xfrm>
      </p:grpSpPr>
      <p:sp>
        <p:nvSpPr>
          <p:cNvPr id="146" name="Tijdelijke aanduiding voor media 145">
            <a:extLst>
              <a:ext uri="{FF2B5EF4-FFF2-40B4-BE49-F238E27FC236}">
                <a16:creationId xmlns:a16="http://schemas.microsoft.com/office/drawing/2014/main" id="{338224C5-0F05-4DBC-9A9B-4D13AFA57D39}"/>
              </a:ext>
            </a:extLst>
          </p:cNvPr>
          <p:cNvSpPr>
            <a:spLocks noGrp="1"/>
          </p:cNvSpPr>
          <p:nvPr>
            <p:ph type="media" sz="quarter" idx="19" hasCustomPrompt="1"/>
          </p:nvPr>
        </p:nvSpPr>
        <p:spPr>
          <a:xfrm>
            <a:off x="0" y="1"/>
            <a:ext cx="9144000" cy="5143499"/>
          </a:xfrm>
          <a:custGeom>
            <a:avLst/>
            <a:gdLst>
              <a:gd name="connsiteX0" fmla="*/ 0 w 12192000"/>
              <a:gd name="connsiteY0" fmla="*/ 6854031 h 6857999"/>
              <a:gd name="connsiteX1" fmla="*/ 12192000 w 12192000"/>
              <a:gd name="connsiteY1" fmla="*/ 6857998 h 6857999"/>
              <a:gd name="connsiteX2" fmla="*/ 12192000 w 12192000"/>
              <a:gd name="connsiteY2" fmla="*/ 6857999 h 6857999"/>
              <a:gd name="connsiteX3" fmla="*/ 0 w 12192000"/>
              <a:gd name="connsiteY3" fmla="*/ 6857999 h 6857999"/>
              <a:gd name="connsiteX4" fmla="*/ 0 w 12192000"/>
              <a:gd name="connsiteY4" fmla="*/ 0 h 6857999"/>
              <a:gd name="connsiteX5" fmla="*/ 12192000 w 12192000"/>
              <a:gd name="connsiteY5" fmla="*/ 0 h 6857999"/>
              <a:gd name="connsiteX6" fmla="*/ 12192000 w 12192000"/>
              <a:gd name="connsiteY6" fmla="*/ 6022180 h 6857999"/>
              <a:gd name="connsiteX7" fmla="*/ 12171307 w 12192000"/>
              <a:gd name="connsiteY7" fmla="*/ 6022078 h 6857999"/>
              <a:gd name="connsiteX8" fmla="*/ 4895852 w 12192000"/>
              <a:gd name="connsiteY8" fmla="*/ 6003130 h 6857999"/>
              <a:gd name="connsiteX9" fmla="*/ 4635502 w 12192000"/>
              <a:gd name="connsiteY9" fmla="*/ 5984080 h 6857999"/>
              <a:gd name="connsiteX10" fmla="*/ 4302127 w 12192000"/>
              <a:gd name="connsiteY10" fmla="*/ 5920580 h 6857999"/>
              <a:gd name="connsiteX11" fmla="*/ 4064003 w 12192000"/>
              <a:gd name="connsiteY11" fmla="*/ 5936454 h 6857999"/>
              <a:gd name="connsiteX12" fmla="*/ 2962278 w 12192000"/>
              <a:gd name="connsiteY12" fmla="*/ 6146004 h 6857999"/>
              <a:gd name="connsiteX13" fmla="*/ 1603378 w 12192000"/>
              <a:gd name="connsiteY13" fmla="*/ 6038054 h 6857999"/>
              <a:gd name="connsiteX14" fmla="*/ 1349378 w 12192000"/>
              <a:gd name="connsiteY14" fmla="*/ 6038054 h 6857999"/>
              <a:gd name="connsiteX15" fmla="*/ 777878 w 12192000"/>
              <a:gd name="connsiteY15" fmla="*/ 6034879 h 6857999"/>
              <a:gd name="connsiteX16" fmla="*/ 257178 w 12192000"/>
              <a:gd name="connsiteY16" fmla="*/ 6034879 h 6857999"/>
              <a:gd name="connsiteX17" fmla="*/ 0 w 12192000"/>
              <a:gd name="connsiteY17" fmla="*/ 602882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2000" h="6857999">
                <a:moveTo>
                  <a:pt x="0" y="6854031"/>
                </a:moveTo>
                <a:lnTo>
                  <a:pt x="12192000" y="6857998"/>
                </a:lnTo>
                <a:lnTo>
                  <a:pt x="12192000" y="6857999"/>
                </a:lnTo>
                <a:lnTo>
                  <a:pt x="0" y="6857999"/>
                </a:lnTo>
                <a:close/>
                <a:moveTo>
                  <a:pt x="0" y="0"/>
                </a:moveTo>
                <a:lnTo>
                  <a:pt x="12192000" y="0"/>
                </a:lnTo>
                <a:lnTo>
                  <a:pt x="12192000" y="6022180"/>
                </a:lnTo>
                <a:lnTo>
                  <a:pt x="12171307" y="6022078"/>
                </a:lnTo>
                <a:cubicBezTo>
                  <a:pt x="11746922" y="6020612"/>
                  <a:pt x="4936862" y="6006718"/>
                  <a:pt x="4895852" y="6003130"/>
                </a:cubicBezTo>
                <a:cubicBezTo>
                  <a:pt x="4895191" y="6003791"/>
                  <a:pt x="4691594" y="5994134"/>
                  <a:pt x="4635502" y="5984080"/>
                </a:cubicBezTo>
                <a:cubicBezTo>
                  <a:pt x="4634179" y="5983419"/>
                  <a:pt x="4342873" y="5918464"/>
                  <a:pt x="4302127" y="5920580"/>
                </a:cubicBezTo>
                <a:cubicBezTo>
                  <a:pt x="4302789" y="5919918"/>
                  <a:pt x="4247094" y="5902058"/>
                  <a:pt x="4064003" y="5936454"/>
                </a:cubicBezTo>
                <a:cubicBezTo>
                  <a:pt x="4065987" y="5937777"/>
                  <a:pt x="3021015" y="6143887"/>
                  <a:pt x="2962278" y="6146004"/>
                </a:cubicBezTo>
                <a:cubicBezTo>
                  <a:pt x="2166411" y="6205271"/>
                  <a:pt x="2056345" y="6074037"/>
                  <a:pt x="1603378" y="6038054"/>
                </a:cubicBezTo>
                <a:lnTo>
                  <a:pt x="1349378" y="6038054"/>
                </a:lnTo>
                <a:lnTo>
                  <a:pt x="777878" y="6034879"/>
                </a:lnTo>
                <a:lnTo>
                  <a:pt x="257178" y="6034879"/>
                </a:lnTo>
                <a:lnTo>
                  <a:pt x="0" y="6028828"/>
                </a:lnTo>
                <a:close/>
              </a:path>
            </a:pathLst>
          </a:custGeom>
          <a:solidFill>
            <a:schemeClr val="bg1">
              <a:lumMod val="95000"/>
            </a:schemeClr>
          </a:solidFill>
        </p:spPr>
        <p:txBody>
          <a:bodyPr wrap="square" tIns="0" bIns="1620000" anchor="ctr" anchorCtr="0">
            <a:noAutofit/>
          </a:bodyPr>
          <a:lstStyle>
            <a:lvl1pPr marL="0" indent="0" algn="ctr">
              <a:lnSpc>
                <a:spcPct val="90000"/>
              </a:lnSpc>
              <a:spcBef>
                <a:spcPts val="0"/>
              </a:spcBef>
              <a:spcAft>
                <a:spcPts val="0"/>
              </a:spcAft>
              <a:buFont typeface="Arial" panose="020B0604020202020204" pitchFamily="34" charset="0"/>
              <a:buNone/>
              <a:defRPr sz="1125" b="0" i="1" baseline="0">
                <a:solidFill>
                  <a:schemeClr val="tx1">
                    <a:lumMod val="50000"/>
                    <a:lumOff val="50000"/>
                  </a:schemeClr>
                </a:solidFill>
                <a:latin typeface="+mn-lt"/>
              </a:defRPr>
            </a:lvl1pPr>
          </a:lstStyle>
          <a:p>
            <a:r>
              <a:rPr lang="en-US"/>
              <a:t>Click the icon below </a:t>
            </a:r>
            <a:br>
              <a:rPr lang="en-US"/>
            </a:br>
            <a:r>
              <a:rPr lang="en-US"/>
              <a:t>to add a video.</a:t>
            </a:r>
          </a:p>
        </p:txBody>
      </p:sp>
      <p:sp>
        <p:nvSpPr>
          <p:cNvPr id="49" name="Tekstvak 48">
            <a:extLst>
              <a:ext uri="{FF2B5EF4-FFF2-40B4-BE49-F238E27FC236}">
                <a16:creationId xmlns:a16="http://schemas.microsoft.com/office/drawing/2014/main" id="{58AD2C16-A710-4969-A861-882ED0052C70}"/>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Video</a:t>
            </a:r>
          </a:p>
        </p:txBody>
      </p:sp>
      <p:grpSp>
        <p:nvGrpSpPr>
          <p:cNvPr id="5" name="INSTRUCTION">
            <a:extLst>
              <a:ext uri="{FF2B5EF4-FFF2-40B4-BE49-F238E27FC236}">
                <a16:creationId xmlns:a16="http://schemas.microsoft.com/office/drawing/2014/main" id="{87F78F2B-D745-49DF-B9B1-35E4FAE6FA62}"/>
              </a:ext>
            </a:extLst>
          </p:cNvPr>
          <p:cNvGrpSpPr/>
          <p:nvPr userDrawn="1"/>
        </p:nvGrpSpPr>
        <p:grpSpPr>
          <a:xfrm>
            <a:off x="-2839623" y="0"/>
            <a:ext cx="2694818" cy="4452582"/>
            <a:chOff x="-3786165" y="0"/>
            <a:chExt cx="3593091" cy="5936776"/>
          </a:xfrm>
        </p:grpSpPr>
        <p:sp>
          <p:nvSpPr>
            <p:cNvPr id="6" name="Rechthoek 5">
              <a:extLst>
                <a:ext uri="{FF2B5EF4-FFF2-40B4-BE49-F238E27FC236}">
                  <a16:creationId xmlns:a16="http://schemas.microsoft.com/office/drawing/2014/main" id="{DC6D3E84-739F-4778-92F2-59E3B9AE82DC}"/>
                </a:ext>
              </a:extLst>
            </p:cNvPr>
            <p:cNvSpPr/>
            <p:nvPr userDrawn="1"/>
          </p:nvSpPr>
          <p:spPr>
            <a:xfrm>
              <a:off x="-3786165" y="0"/>
              <a:ext cx="3593091" cy="593677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Insert/edit a video</a:t>
              </a:r>
            </a:p>
          </p:txBody>
        </p:sp>
        <p:sp>
          <p:nvSpPr>
            <p:cNvPr id="8" name="Ovaal 7">
              <a:extLst>
                <a:ext uri="{FF2B5EF4-FFF2-40B4-BE49-F238E27FC236}">
                  <a16:creationId xmlns:a16="http://schemas.microsoft.com/office/drawing/2014/main" id="{1300F5D5-486D-41E0-8A5D-9D6554321FB8}"/>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5E01A28C-774E-406F-8C68-647EA5297F14}"/>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video</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video</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0" name="Ovaal 9">
              <a:extLst>
                <a:ext uri="{FF2B5EF4-FFF2-40B4-BE49-F238E27FC236}">
                  <a16:creationId xmlns:a16="http://schemas.microsoft.com/office/drawing/2014/main" id="{7372292D-B006-40F2-B6D0-7113EE5D3D98}"/>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 name="Rechthoek 10">
              <a:extLst>
                <a:ext uri="{FF2B5EF4-FFF2-40B4-BE49-F238E27FC236}">
                  <a16:creationId xmlns:a16="http://schemas.microsoft.com/office/drawing/2014/main" id="{D943A3CA-6610-4B55-9BCA-47EA5740B5F7}"/>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video</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2" name="Groep 11">
              <a:extLst>
                <a:ext uri="{FF2B5EF4-FFF2-40B4-BE49-F238E27FC236}">
                  <a16:creationId xmlns:a16="http://schemas.microsoft.com/office/drawing/2014/main" id="{2A14AC1F-BD7A-44AD-8498-946A657F9F0D}"/>
                </a:ext>
              </a:extLst>
            </p:cNvPr>
            <p:cNvGrpSpPr/>
            <p:nvPr userDrawn="1"/>
          </p:nvGrpSpPr>
          <p:grpSpPr>
            <a:xfrm>
              <a:off x="-3311319" y="2164285"/>
              <a:ext cx="825500" cy="209550"/>
              <a:chOff x="13504624" y="2482850"/>
              <a:chExt cx="825500" cy="209550"/>
            </a:xfrm>
          </p:grpSpPr>
          <p:sp>
            <p:nvSpPr>
              <p:cNvPr id="66" name="Rechthoek 65">
                <a:extLst>
                  <a:ext uri="{FF2B5EF4-FFF2-40B4-BE49-F238E27FC236}">
                    <a16:creationId xmlns:a16="http://schemas.microsoft.com/office/drawing/2014/main" id="{1CC8B062-DE6D-481C-84E8-74275F431F0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Insert</a:t>
                </a:r>
              </a:p>
            </p:txBody>
          </p:sp>
          <p:cxnSp>
            <p:nvCxnSpPr>
              <p:cNvPr id="67" name="Rechte verbindingslijn 66">
                <a:extLst>
                  <a:ext uri="{FF2B5EF4-FFF2-40B4-BE49-F238E27FC236}">
                    <a16:creationId xmlns:a16="http://schemas.microsoft.com/office/drawing/2014/main" id="{FD76EECA-F564-4B11-A096-A0E92E38ED0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68" name="Gelijkbenige driehoek 67">
                <a:extLst>
                  <a:ext uri="{FF2B5EF4-FFF2-40B4-BE49-F238E27FC236}">
                    <a16:creationId xmlns:a16="http://schemas.microsoft.com/office/drawing/2014/main" id="{5CF156C4-31AF-479C-97E2-581521AD72DF}"/>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75" b="1" noProof="0">
                  <a:solidFill>
                    <a:srgbClr val="211F26"/>
                  </a:solidFill>
                  <a:latin typeface="Calibri" panose="020F0502020204030204" pitchFamily="34" charset="0"/>
                  <a:cs typeface="Calibri" panose="020F0502020204030204" pitchFamily="34" charset="0"/>
                </a:endParaRPr>
              </a:p>
            </p:txBody>
          </p:sp>
        </p:grpSp>
        <p:sp>
          <p:nvSpPr>
            <p:cNvPr id="13" name="Ovaal 12">
              <a:extLst>
                <a:ext uri="{FF2B5EF4-FFF2-40B4-BE49-F238E27FC236}">
                  <a16:creationId xmlns:a16="http://schemas.microsoft.com/office/drawing/2014/main" id="{89E955ED-3DFD-4344-8EA9-69CF070721FD}"/>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 name="Rechthoek 13">
              <a:extLst>
                <a:ext uri="{FF2B5EF4-FFF2-40B4-BE49-F238E27FC236}">
                  <a16:creationId xmlns:a16="http://schemas.microsoft.com/office/drawing/2014/main" id="{194C5DFB-DD92-45DF-B967-DF20B1311946}"/>
                </a:ext>
              </a:extLst>
            </p:cNvPr>
            <p:cNvSpPr/>
            <p:nvPr userDrawn="1"/>
          </p:nvSpPr>
          <p:spPr>
            <a:xfrm>
              <a:off x="-33194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 name="Ovaal 15">
              <a:extLst>
                <a:ext uri="{FF2B5EF4-FFF2-40B4-BE49-F238E27FC236}">
                  <a16:creationId xmlns:a16="http://schemas.microsoft.com/office/drawing/2014/main" id="{470BA283-F5C2-443F-B725-D2288EC08D36}"/>
                </a:ext>
              </a:extLst>
            </p:cNvPr>
            <p:cNvSpPr/>
            <p:nvPr userDrawn="1"/>
          </p:nvSpPr>
          <p:spPr>
            <a:xfrm>
              <a:off x="-3603587"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7" name="Rechthoek 16">
              <a:extLst>
                <a:ext uri="{FF2B5EF4-FFF2-40B4-BE49-F238E27FC236}">
                  <a16:creationId xmlns:a16="http://schemas.microsoft.com/office/drawing/2014/main" id="{67776A09-2DC6-48B8-8551-3BFF80D7E582}"/>
                </a:ext>
              </a:extLst>
            </p:cNvPr>
            <p:cNvSpPr/>
            <p:nvPr userDrawn="1"/>
          </p:nvSpPr>
          <p:spPr>
            <a:xfrm>
              <a:off x="-3319415" y="4145790"/>
              <a:ext cx="2944682" cy="794700"/>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video, go to the tab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Video Tools - Forma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video itself with</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video frame with</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rackets.</a:t>
              </a:r>
            </a:p>
          </p:txBody>
        </p:sp>
        <p:grpSp>
          <p:nvGrpSpPr>
            <p:cNvPr id="18" name="Groep 17">
              <a:extLst>
                <a:ext uri="{FF2B5EF4-FFF2-40B4-BE49-F238E27FC236}">
                  <a16:creationId xmlns:a16="http://schemas.microsoft.com/office/drawing/2014/main" id="{C815EC6F-7199-4058-8ABB-5A6BEE048D40}"/>
                </a:ext>
              </a:extLst>
            </p:cNvPr>
            <p:cNvGrpSpPr/>
            <p:nvPr userDrawn="1"/>
          </p:nvGrpSpPr>
          <p:grpSpPr>
            <a:xfrm>
              <a:off x="-3449237" y="5047414"/>
              <a:ext cx="622283" cy="612919"/>
              <a:chOff x="12617641" y="3403239"/>
              <a:chExt cx="752963" cy="741634"/>
            </a:xfrm>
          </p:grpSpPr>
          <p:grpSp>
            <p:nvGrpSpPr>
              <p:cNvPr id="46" name="Groep 45">
                <a:extLst>
                  <a:ext uri="{FF2B5EF4-FFF2-40B4-BE49-F238E27FC236}">
                    <a16:creationId xmlns:a16="http://schemas.microsoft.com/office/drawing/2014/main" id="{D63C08BD-9D48-4CE7-ABC2-A240D0EDBDA1}"/>
                  </a:ext>
                </a:extLst>
              </p:cNvPr>
              <p:cNvGrpSpPr/>
              <p:nvPr userDrawn="1"/>
            </p:nvGrpSpPr>
            <p:grpSpPr>
              <a:xfrm>
                <a:off x="12771550" y="3403239"/>
                <a:ext cx="467156" cy="448491"/>
                <a:chOff x="12782177" y="3403239"/>
                <a:chExt cx="467156" cy="448491"/>
              </a:xfrm>
            </p:grpSpPr>
            <p:grpSp>
              <p:nvGrpSpPr>
                <p:cNvPr id="50" name="Groep 49">
                  <a:extLst>
                    <a:ext uri="{FF2B5EF4-FFF2-40B4-BE49-F238E27FC236}">
                      <a16:creationId xmlns:a16="http://schemas.microsoft.com/office/drawing/2014/main" id="{24DEA0C5-6662-4B81-9519-0FC7CECA199A}"/>
                    </a:ext>
                  </a:extLst>
                </p:cNvPr>
                <p:cNvGrpSpPr/>
                <p:nvPr userDrawn="1"/>
              </p:nvGrpSpPr>
              <p:grpSpPr>
                <a:xfrm>
                  <a:off x="12782177" y="3403239"/>
                  <a:ext cx="412972" cy="396132"/>
                  <a:chOff x="13554906" y="3320109"/>
                  <a:chExt cx="443912" cy="425811"/>
                </a:xfrm>
              </p:grpSpPr>
              <p:grpSp>
                <p:nvGrpSpPr>
                  <p:cNvPr id="58" name="Groep 57">
                    <a:extLst>
                      <a:ext uri="{FF2B5EF4-FFF2-40B4-BE49-F238E27FC236}">
                        <a16:creationId xmlns:a16="http://schemas.microsoft.com/office/drawing/2014/main" id="{D0F55AAE-E716-4610-9172-9C98EEF8022F}"/>
                      </a:ext>
                    </a:extLst>
                  </p:cNvPr>
                  <p:cNvGrpSpPr/>
                  <p:nvPr userDrawn="1"/>
                </p:nvGrpSpPr>
                <p:grpSpPr>
                  <a:xfrm>
                    <a:off x="13554906" y="3320109"/>
                    <a:ext cx="443912" cy="425811"/>
                    <a:chOff x="12909684" y="1276143"/>
                    <a:chExt cx="443912" cy="425811"/>
                  </a:xfrm>
                </p:grpSpPr>
                <p:sp>
                  <p:nvSpPr>
                    <p:cNvPr id="61" name="Rechthoek 60">
                      <a:extLst>
                        <a:ext uri="{FF2B5EF4-FFF2-40B4-BE49-F238E27FC236}">
                          <a16:creationId xmlns:a16="http://schemas.microsoft.com/office/drawing/2014/main" id="{2B05FD37-B1F5-4C53-AB58-1B4FFE6D57AE}"/>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62" name="Rechthoek 61">
                      <a:extLst>
                        <a:ext uri="{FF2B5EF4-FFF2-40B4-BE49-F238E27FC236}">
                          <a16:creationId xmlns:a16="http://schemas.microsoft.com/office/drawing/2014/main" id="{803AE455-D4E9-43CF-BD5A-E65FA98CAF4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63" name="Ovaal 62">
                      <a:extLst>
                        <a:ext uri="{FF2B5EF4-FFF2-40B4-BE49-F238E27FC236}">
                          <a16:creationId xmlns:a16="http://schemas.microsoft.com/office/drawing/2014/main" id="{E9503690-700B-4173-84EF-5EF96ADB3C3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pic>
                <p:nvPicPr>
                  <p:cNvPr id="59" name="Afbeelding 58">
                    <a:extLst>
                      <a:ext uri="{FF2B5EF4-FFF2-40B4-BE49-F238E27FC236}">
                        <a16:creationId xmlns:a16="http://schemas.microsoft.com/office/drawing/2014/main" id="{B9166B1F-62C8-4F80-9CE4-38297EB23EFA}"/>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60" name="Afbeelding 59">
                    <a:extLst>
                      <a:ext uri="{FF2B5EF4-FFF2-40B4-BE49-F238E27FC236}">
                        <a16:creationId xmlns:a16="http://schemas.microsoft.com/office/drawing/2014/main" id="{B0B48AAC-563D-425C-88EE-E23FEDFAA272}"/>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51" name="Groep 50">
                  <a:extLst>
                    <a:ext uri="{FF2B5EF4-FFF2-40B4-BE49-F238E27FC236}">
                      <a16:creationId xmlns:a16="http://schemas.microsoft.com/office/drawing/2014/main" id="{44713013-5FD3-492D-8B29-7D23267598A1}"/>
                    </a:ext>
                  </a:extLst>
                </p:cNvPr>
                <p:cNvGrpSpPr/>
                <p:nvPr userDrawn="1"/>
              </p:nvGrpSpPr>
              <p:grpSpPr>
                <a:xfrm>
                  <a:off x="13103513" y="3705268"/>
                  <a:ext cx="145820" cy="146462"/>
                  <a:chOff x="13096169" y="3602278"/>
                  <a:chExt cx="145820" cy="146462"/>
                </a:xfrm>
              </p:grpSpPr>
              <p:sp>
                <p:nvSpPr>
                  <p:cNvPr id="56" name="Rechthoek 55">
                    <a:extLst>
                      <a:ext uri="{FF2B5EF4-FFF2-40B4-BE49-F238E27FC236}">
                        <a16:creationId xmlns:a16="http://schemas.microsoft.com/office/drawing/2014/main" id="{33CFD1AC-2D39-4149-84B8-961EC02E3BB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05EB4536-3EC1-4958-8EFC-F46DD3991A0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52" name="Groep 51">
                  <a:extLst>
                    <a:ext uri="{FF2B5EF4-FFF2-40B4-BE49-F238E27FC236}">
                      <a16:creationId xmlns:a16="http://schemas.microsoft.com/office/drawing/2014/main" id="{FE377261-0A11-4079-A54C-B254CD0716FC}"/>
                    </a:ext>
                  </a:extLst>
                </p:cNvPr>
                <p:cNvGrpSpPr/>
                <p:nvPr userDrawn="1"/>
              </p:nvGrpSpPr>
              <p:grpSpPr>
                <a:xfrm rot="10800000">
                  <a:off x="13061402" y="3665637"/>
                  <a:ext cx="145820" cy="146462"/>
                  <a:chOff x="13096169" y="3602278"/>
                  <a:chExt cx="145820" cy="146462"/>
                </a:xfrm>
              </p:grpSpPr>
              <p:sp>
                <p:nvSpPr>
                  <p:cNvPr id="54" name="Rechthoek 53">
                    <a:extLst>
                      <a:ext uri="{FF2B5EF4-FFF2-40B4-BE49-F238E27FC236}">
                        <a16:creationId xmlns:a16="http://schemas.microsoft.com/office/drawing/2014/main" id="{F95E4E6B-A4C8-4B9D-A992-194D5D39A3A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216E3ACC-484E-48C7-9323-442B198701F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sp>
            <p:nvSpPr>
              <p:cNvPr id="47" name="Rechthoek 46">
                <a:extLst>
                  <a:ext uri="{FF2B5EF4-FFF2-40B4-BE49-F238E27FC236}">
                    <a16:creationId xmlns:a16="http://schemas.microsoft.com/office/drawing/2014/main" id="{7FD7EE53-91A5-43C8-8228-E4DFCDA5B42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Crop</a:t>
                </a:r>
              </a:p>
            </p:txBody>
          </p:sp>
          <p:sp>
            <p:nvSpPr>
              <p:cNvPr id="48" name="Gelijkbenige driehoek 47">
                <a:extLst>
                  <a:ext uri="{FF2B5EF4-FFF2-40B4-BE49-F238E27FC236}">
                    <a16:creationId xmlns:a16="http://schemas.microsoft.com/office/drawing/2014/main" id="{26EA4740-C4F2-4AD8-81F8-F3912507B591}"/>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19" name="Rechthoek 18">
              <a:extLst>
                <a:ext uri="{FF2B5EF4-FFF2-40B4-BE49-F238E27FC236}">
                  <a16:creationId xmlns:a16="http://schemas.microsoft.com/office/drawing/2014/main" id="{758DE96A-6D57-4D8D-8B69-2FB1BE57625F}"/>
                </a:ext>
              </a:extLst>
            </p:cNvPr>
            <p:cNvSpPr/>
            <p:nvPr userDrawn="1"/>
          </p:nvSpPr>
          <p:spPr>
            <a:xfrm>
              <a:off x="-331683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US" sz="750" b="0" i="1" noProof="0">
                <a:solidFill>
                  <a:srgbClr val="211F26"/>
                </a:solidFill>
                <a:latin typeface="Calibri" panose="020F0502020204030204" pitchFamily="34" charset="0"/>
                <a:cs typeface="Calibri" panose="020F0502020204030204" pitchFamily="34" charset="0"/>
              </a:endParaRPr>
            </a:p>
          </p:txBody>
        </p:sp>
        <p:grpSp>
          <p:nvGrpSpPr>
            <p:cNvPr id="20" name="Groep 19">
              <a:extLst>
                <a:ext uri="{FF2B5EF4-FFF2-40B4-BE49-F238E27FC236}">
                  <a16:creationId xmlns:a16="http://schemas.microsoft.com/office/drawing/2014/main" id="{878E6D25-57E6-4C82-80A9-623AC990DB01}"/>
                </a:ext>
              </a:extLst>
            </p:cNvPr>
            <p:cNvGrpSpPr/>
            <p:nvPr userDrawn="1"/>
          </p:nvGrpSpPr>
          <p:grpSpPr>
            <a:xfrm>
              <a:off x="-2485819" y="3399207"/>
              <a:ext cx="1222990" cy="563933"/>
              <a:chOff x="-2485819" y="3399207"/>
              <a:chExt cx="1222990" cy="563933"/>
            </a:xfrm>
          </p:grpSpPr>
          <p:sp>
            <p:nvSpPr>
              <p:cNvPr id="25" name="Rechthoek 24">
                <a:extLst>
                  <a:ext uri="{FF2B5EF4-FFF2-40B4-BE49-F238E27FC236}">
                    <a16:creationId xmlns:a16="http://schemas.microsoft.com/office/drawing/2014/main" id="{BE15962D-48B9-4B28-AEB4-ECEC20FA630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26" name="Rechthoek 25">
                <a:extLst>
                  <a:ext uri="{FF2B5EF4-FFF2-40B4-BE49-F238E27FC236}">
                    <a16:creationId xmlns:a16="http://schemas.microsoft.com/office/drawing/2014/main" id="{FF86F5D2-495A-4C0C-A6DE-C07533F82BD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27" name="Groep 26">
                <a:extLst>
                  <a:ext uri="{FF2B5EF4-FFF2-40B4-BE49-F238E27FC236}">
                    <a16:creationId xmlns:a16="http://schemas.microsoft.com/office/drawing/2014/main" id="{23990867-658A-4DFC-82CB-DD5A756EEAD5}"/>
                  </a:ext>
                </a:extLst>
              </p:cNvPr>
              <p:cNvGrpSpPr/>
              <p:nvPr userDrawn="1"/>
            </p:nvGrpSpPr>
            <p:grpSpPr>
              <a:xfrm>
                <a:off x="-2403869" y="3460544"/>
                <a:ext cx="155951" cy="131922"/>
                <a:chOff x="12968836" y="3354170"/>
                <a:chExt cx="404806" cy="342433"/>
              </a:xfrm>
            </p:grpSpPr>
            <p:sp>
              <p:nvSpPr>
                <p:cNvPr id="40" name="Rechthoek: afgeronde hoeken 39">
                  <a:extLst>
                    <a:ext uri="{FF2B5EF4-FFF2-40B4-BE49-F238E27FC236}">
                      <a16:creationId xmlns:a16="http://schemas.microsoft.com/office/drawing/2014/main" id="{F22FF768-DA3C-45EB-8442-FB4135163001}"/>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926540BE-C557-4D9C-8E63-5DFB2CF2233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F711CCF4-9C9A-4992-BC3A-F9FD4985EC2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EA00E16B-D2C8-452B-92EA-7E033BBB222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4" name="Rechthoek 43">
                  <a:extLst>
                    <a:ext uri="{FF2B5EF4-FFF2-40B4-BE49-F238E27FC236}">
                      <a16:creationId xmlns:a16="http://schemas.microsoft.com/office/drawing/2014/main" id="{FCBC88EA-B9EB-438C-96EE-C6ED206B25B3}"/>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45" name="Rechthoek 44">
                  <a:extLst>
                    <a:ext uri="{FF2B5EF4-FFF2-40B4-BE49-F238E27FC236}">
                      <a16:creationId xmlns:a16="http://schemas.microsoft.com/office/drawing/2014/main" id="{B43A9F8F-A975-4883-A189-314C2376D0E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28" name="Groep 27">
                <a:extLst>
                  <a:ext uri="{FF2B5EF4-FFF2-40B4-BE49-F238E27FC236}">
                    <a16:creationId xmlns:a16="http://schemas.microsoft.com/office/drawing/2014/main" id="{8D4A2C63-35D6-490C-9A17-E6F89366E5CD}"/>
                  </a:ext>
                </a:extLst>
              </p:cNvPr>
              <p:cNvGrpSpPr/>
              <p:nvPr userDrawn="1"/>
            </p:nvGrpSpPr>
            <p:grpSpPr>
              <a:xfrm>
                <a:off x="-2423424" y="3690208"/>
                <a:ext cx="166739" cy="218963"/>
                <a:chOff x="12940828" y="3950597"/>
                <a:chExt cx="432813" cy="568367"/>
              </a:xfrm>
            </p:grpSpPr>
            <p:grpSp>
              <p:nvGrpSpPr>
                <p:cNvPr id="32" name="Groep 31">
                  <a:extLst>
                    <a:ext uri="{FF2B5EF4-FFF2-40B4-BE49-F238E27FC236}">
                      <a16:creationId xmlns:a16="http://schemas.microsoft.com/office/drawing/2014/main" id="{8654CF4A-7A7B-42F9-9F3D-0828895B02E6}"/>
                    </a:ext>
                  </a:extLst>
                </p:cNvPr>
                <p:cNvGrpSpPr/>
                <p:nvPr userDrawn="1"/>
              </p:nvGrpSpPr>
              <p:grpSpPr>
                <a:xfrm>
                  <a:off x="13000382" y="4006891"/>
                  <a:ext cx="373259" cy="315747"/>
                  <a:chOff x="12968836" y="3354170"/>
                  <a:chExt cx="404806" cy="342433"/>
                </a:xfrm>
              </p:grpSpPr>
              <p:sp>
                <p:nvSpPr>
                  <p:cNvPr id="34" name="Rechthoek: afgeronde hoeken 33">
                    <a:extLst>
                      <a:ext uri="{FF2B5EF4-FFF2-40B4-BE49-F238E27FC236}">
                        <a16:creationId xmlns:a16="http://schemas.microsoft.com/office/drawing/2014/main" id="{5E649AC4-2CCF-48DB-BF4F-0E4B265463D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35" name="Rechthoek 34">
                    <a:extLst>
                      <a:ext uri="{FF2B5EF4-FFF2-40B4-BE49-F238E27FC236}">
                        <a16:creationId xmlns:a16="http://schemas.microsoft.com/office/drawing/2014/main" id="{CFBE57DF-7727-49A0-95D3-53CA5BD95E7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6" name="Rechthoek 35">
                    <a:extLst>
                      <a:ext uri="{FF2B5EF4-FFF2-40B4-BE49-F238E27FC236}">
                        <a16:creationId xmlns:a16="http://schemas.microsoft.com/office/drawing/2014/main" id="{69F3A051-DFEF-41E9-817B-5B24B44E7A5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7" name="Rechthoek 36">
                    <a:extLst>
                      <a:ext uri="{FF2B5EF4-FFF2-40B4-BE49-F238E27FC236}">
                        <a16:creationId xmlns:a16="http://schemas.microsoft.com/office/drawing/2014/main" id="{F93036F4-0D0C-49CA-A1CA-E22428A4409D}"/>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8" name="Rechthoek 37">
                    <a:extLst>
                      <a:ext uri="{FF2B5EF4-FFF2-40B4-BE49-F238E27FC236}">
                        <a16:creationId xmlns:a16="http://schemas.microsoft.com/office/drawing/2014/main" id="{9BCC46E3-2EBB-4079-9F35-85989566CC1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B93803D7-045E-41DE-95DE-F40B74B0E50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sp>
              <p:nvSpPr>
                <p:cNvPr id="33" name="Boog 32">
                  <a:extLst>
                    <a:ext uri="{FF2B5EF4-FFF2-40B4-BE49-F238E27FC236}">
                      <a16:creationId xmlns:a16="http://schemas.microsoft.com/office/drawing/2014/main" id="{7B08ABE4-797B-47DC-8B5A-B8DAE72BEC3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sp>
            <p:nvSpPr>
              <p:cNvPr id="29" name="Tekstvak 28">
                <a:extLst>
                  <a:ext uri="{FF2B5EF4-FFF2-40B4-BE49-F238E27FC236}">
                    <a16:creationId xmlns:a16="http://schemas.microsoft.com/office/drawing/2014/main" id="{86261A0D-59F9-48F2-9942-1192193FDDDD}"/>
                  </a:ext>
                </a:extLst>
              </p:cNvPr>
              <p:cNvSpPr txBox="1"/>
              <p:nvPr userDrawn="1"/>
            </p:nvSpPr>
            <p:spPr>
              <a:xfrm>
                <a:off x="-2245455" y="3460544"/>
                <a:ext cx="896116" cy="134709"/>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Layout</a:t>
                </a:r>
              </a:p>
            </p:txBody>
          </p:sp>
          <p:sp>
            <p:nvSpPr>
              <p:cNvPr id="30" name="Tekstvak 29">
                <a:extLst>
                  <a:ext uri="{FF2B5EF4-FFF2-40B4-BE49-F238E27FC236}">
                    <a16:creationId xmlns:a16="http://schemas.microsoft.com/office/drawing/2014/main" id="{D316BDB3-FD0C-4CF4-9DEE-7D17BC818E5F}"/>
                  </a:ext>
                </a:extLst>
              </p:cNvPr>
              <p:cNvSpPr txBox="1"/>
              <p:nvPr userDrawn="1"/>
            </p:nvSpPr>
            <p:spPr>
              <a:xfrm>
                <a:off x="-2258884" y="3712980"/>
                <a:ext cx="909545" cy="126416"/>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31" name="Vrije vorm: vorm 30">
                <a:extLst>
                  <a:ext uri="{FF2B5EF4-FFF2-40B4-BE49-F238E27FC236}">
                    <a16:creationId xmlns:a16="http://schemas.microsoft.com/office/drawing/2014/main" id="{87739DA8-84E0-4CC8-976A-16EA122D5F1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450"/>
                  </a:spcBef>
                  <a:spcAft>
                    <a:spcPts val="450"/>
                  </a:spcAft>
                </a:pPr>
                <a:endParaRPr lang="en-US" sz="1200" cap="all" baseline="0" noProof="0">
                  <a:latin typeface="Calibri" panose="020F0502020204030204" pitchFamily="34" charset="0"/>
                  <a:cs typeface="Calibri" panose="020F0502020204030204" pitchFamily="34" charset="0"/>
                </a:endParaRPr>
              </a:p>
            </p:txBody>
          </p:sp>
        </p:grpSp>
        <p:grpSp>
          <p:nvGrpSpPr>
            <p:cNvPr id="21" name="Groep 20">
              <a:extLst>
                <a:ext uri="{FF2B5EF4-FFF2-40B4-BE49-F238E27FC236}">
                  <a16:creationId xmlns:a16="http://schemas.microsoft.com/office/drawing/2014/main" id="{8D834C0F-71B9-4B78-BC0F-19265671B561}"/>
                </a:ext>
              </a:extLst>
            </p:cNvPr>
            <p:cNvGrpSpPr/>
            <p:nvPr userDrawn="1"/>
          </p:nvGrpSpPr>
          <p:grpSpPr>
            <a:xfrm>
              <a:off x="-3310781" y="1231352"/>
              <a:ext cx="311450" cy="313414"/>
              <a:chOff x="-3310781" y="1231352"/>
              <a:chExt cx="311450" cy="313414"/>
            </a:xfrm>
          </p:grpSpPr>
          <p:sp>
            <p:nvSpPr>
              <p:cNvPr id="22" name="Rechthoek 21">
                <a:extLst>
                  <a:ext uri="{FF2B5EF4-FFF2-40B4-BE49-F238E27FC236}">
                    <a16:creationId xmlns:a16="http://schemas.microsoft.com/office/drawing/2014/main" id="{979A149A-68D2-46ED-A4C6-6AB089C01C5F}"/>
                  </a:ext>
                </a:extLst>
              </p:cNvPr>
              <p:cNvSpPr/>
              <p:nvPr userDrawn="1"/>
            </p:nvSpPr>
            <p:spPr>
              <a:xfrm>
                <a:off x="-3310781" y="1231352"/>
                <a:ext cx="308978" cy="308977"/>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sp>
            <p:nvSpPr>
              <p:cNvPr id="23" name="Vrije vorm 112">
                <a:extLst>
                  <a:ext uri="{FF2B5EF4-FFF2-40B4-BE49-F238E27FC236}">
                    <a16:creationId xmlns:a16="http://schemas.microsoft.com/office/drawing/2014/main" id="{8F68DC91-95A1-47BE-8BD5-26D8D36BDD68}"/>
                  </a:ext>
                </a:extLst>
              </p:cNvPr>
              <p:cNvSpPr/>
              <p:nvPr userDrawn="1"/>
            </p:nvSpPr>
            <p:spPr>
              <a:xfrm>
                <a:off x="-3308309" y="1231352"/>
                <a:ext cx="308978" cy="46965"/>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sp>
            <p:nvSpPr>
              <p:cNvPr id="24" name="Vrije vorm 113">
                <a:extLst>
                  <a:ext uri="{FF2B5EF4-FFF2-40B4-BE49-F238E27FC236}">
                    <a16:creationId xmlns:a16="http://schemas.microsoft.com/office/drawing/2014/main" id="{7277EE36-1D3A-49BF-9FD2-E235A39D99DC}"/>
                  </a:ext>
                </a:extLst>
              </p:cNvPr>
              <p:cNvSpPr/>
              <p:nvPr userDrawn="1"/>
            </p:nvSpPr>
            <p:spPr>
              <a:xfrm>
                <a:off x="-3309640" y="1497801"/>
                <a:ext cx="308978" cy="46965"/>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grpSp>
      <p:sp>
        <p:nvSpPr>
          <p:cNvPr id="64" name="Tijdelijke aanduiding voor dianummer 5">
            <a:extLst>
              <a:ext uri="{FF2B5EF4-FFF2-40B4-BE49-F238E27FC236}">
                <a16:creationId xmlns:a16="http://schemas.microsoft.com/office/drawing/2014/main" id="{41E03927-6E9C-4EB0-A9CB-7CB6BC35F5DF}"/>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65" name="INSTRUCTION">
            <a:extLst>
              <a:ext uri="{FF2B5EF4-FFF2-40B4-BE49-F238E27FC236}">
                <a16:creationId xmlns:a16="http://schemas.microsoft.com/office/drawing/2014/main" id="{BF2F9063-D1E1-45F1-8D35-2AF26B90B6B2}"/>
              </a:ext>
            </a:extLst>
          </p:cNvPr>
          <p:cNvGrpSpPr/>
          <p:nvPr userDrawn="1"/>
        </p:nvGrpSpPr>
        <p:grpSpPr>
          <a:xfrm>
            <a:off x="4384" y="5274908"/>
            <a:ext cx="2795966" cy="1183043"/>
            <a:chOff x="5846" y="7033211"/>
            <a:chExt cx="3727954" cy="1577390"/>
          </a:xfrm>
        </p:grpSpPr>
        <p:sp>
          <p:nvSpPr>
            <p:cNvPr id="69" name="Rechthoek 68">
              <a:extLst>
                <a:ext uri="{FF2B5EF4-FFF2-40B4-BE49-F238E27FC236}">
                  <a16:creationId xmlns:a16="http://schemas.microsoft.com/office/drawing/2014/main" id="{7DD27491-F720-4DA4-8ECC-9101418BC0F4}"/>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70" name="Ovaal 69">
              <a:extLst>
                <a:ext uri="{FF2B5EF4-FFF2-40B4-BE49-F238E27FC236}">
                  <a16:creationId xmlns:a16="http://schemas.microsoft.com/office/drawing/2014/main" id="{768C2890-369A-4292-9395-560A7DCDD142}"/>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1" name="Rechthoek 70">
              <a:extLst>
                <a:ext uri="{FF2B5EF4-FFF2-40B4-BE49-F238E27FC236}">
                  <a16:creationId xmlns:a16="http://schemas.microsoft.com/office/drawing/2014/main" id="{1DEA5015-EF73-45CB-AFDA-909614D46150}"/>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72" name="Ovaal 71">
              <a:extLst>
                <a:ext uri="{FF2B5EF4-FFF2-40B4-BE49-F238E27FC236}">
                  <a16:creationId xmlns:a16="http://schemas.microsoft.com/office/drawing/2014/main" id="{8DEAC75E-217C-46DE-AD17-3FFD956939E3}"/>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3" name="Rechthoek 72">
              <a:extLst>
                <a:ext uri="{FF2B5EF4-FFF2-40B4-BE49-F238E27FC236}">
                  <a16:creationId xmlns:a16="http://schemas.microsoft.com/office/drawing/2014/main" id="{E2FCF544-3061-4F23-A16A-E91B279E32DE}"/>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74" name="Groep 73">
              <a:extLst>
                <a:ext uri="{FF2B5EF4-FFF2-40B4-BE49-F238E27FC236}">
                  <a16:creationId xmlns:a16="http://schemas.microsoft.com/office/drawing/2014/main" id="{2B330BCF-94B0-415C-882B-A2BA6BC8AFF3}"/>
                </a:ext>
              </a:extLst>
            </p:cNvPr>
            <p:cNvGrpSpPr/>
            <p:nvPr userDrawn="1"/>
          </p:nvGrpSpPr>
          <p:grpSpPr>
            <a:xfrm>
              <a:off x="2939884" y="7739834"/>
              <a:ext cx="681133" cy="750023"/>
              <a:chOff x="-910573" y="4987990"/>
              <a:chExt cx="681133" cy="750023"/>
            </a:xfrm>
          </p:grpSpPr>
          <p:grpSp>
            <p:nvGrpSpPr>
              <p:cNvPr id="75" name="Groep 74">
                <a:extLst>
                  <a:ext uri="{FF2B5EF4-FFF2-40B4-BE49-F238E27FC236}">
                    <a16:creationId xmlns:a16="http://schemas.microsoft.com/office/drawing/2014/main" id="{102E33A3-1BD4-46A7-B1A2-2CB3CE02F579}"/>
                  </a:ext>
                </a:extLst>
              </p:cNvPr>
              <p:cNvGrpSpPr/>
              <p:nvPr userDrawn="1"/>
            </p:nvGrpSpPr>
            <p:grpSpPr>
              <a:xfrm>
                <a:off x="-713542" y="4987990"/>
                <a:ext cx="287071" cy="379107"/>
                <a:chOff x="-4050578" y="288410"/>
                <a:chExt cx="322125" cy="379107"/>
              </a:xfrm>
            </p:grpSpPr>
            <p:sp>
              <p:nvSpPr>
                <p:cNvPr id="77" name="Rechthoek met één afgeknipte en afgeronde hoek 47">
                  <a:extLst>
                    <a:ext uri="{FF2B5EF4-FFF2-40B4-BE49-F238E27FC236}">
                      <a16:creationId xmlns:a16="http://schemas.microsoft.com/office/drawing/2014/main" id="{8BE538A5-BE3B-4D69-AC0C-16CC59EB4BEA}"/>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78" name="Rechthoekige driehoek 77">
                  <a:extLst>
                    <a:ext uri="{FF2B5EF4-FFF2-40B4-BE49-F238E27FC236}">
                      <a16:creationId xmlns:a16="http://schemas.microsoft.com/office/drawing/2014/main" id="{DFBDF276-4FC3-4FAF-AFE9-CBD8620D4ECD}"/>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79" name="Rechthoek 78">
                  <a:extLst>
                    <a:ext uri="{FF2B5EF4-FFF2-40B4-BE49-F238E27FC236}">
                      <a16:creationId xmlns:a16="http://schemas.microsoft.com/office/drawing/2014/main" id="{39D7E0FC-D9BB-4F25-AB74-1F994B7D90E8}"/>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0" name="Rechthoek 79">
                  <a:extLst>
                    <a:ext uri="{FF2B5EF4-FFF2-40B4-BE49-F238E27FC236}">
                      <a16:creationId xmlns:a16="http://schemas.microsoft.com/office/drawing/2014/main" id="{F4A3E89E-2751-4F95-A716-138EF957702E}"/>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76" name="Rechthoek 75">
                <a:extLst>
                  <a:ext uri="{FF2B5EF4-FFF2-40B4-BE49-F238E27FC236}">
                    <a16:creationId xmlns:a16="http://schemas.microsoft.com/office/drawing/2014/main" id="{78990039-EF63-4F39-9C36-3FB8FD5F65A6}"/>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434973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0% GRAPH, 50% TEXT">
    <p:spTree>
      <p:nvGrpSpPr>
        <p:cNvPr id="1" name=""/>
        <p:cNvGrpSpPr/>
        <p:nvPr/>
      </p:nvGrpSpPr>
      <p:grpSpPr>
        <a:xfrm>
          <a:off x="0" y="0"/>
          <a:ext cx="0" cy="0"/>
          <a:chOff x="0" y="0"/>
          <a:chExt cx="0" cy="0"/>
        </a:xfrm>
      </p:grpSpPr>
      <p:sp>
        <p:nvSpPr>
          <p:cNvPr id="13" name="Tijdelijke aanduiding voor grafiek 12"/>
          <p:cNvSpPr>
            <a:spLocks noGrp="1"/>
          </p:cNvSpPr>
          <p:nvPr>
            <p:ph type="chart" sz="quarter" idx="14" hasCustomPrompt="1"/>
          </p:nvPr>
        </p:nvSpPr>
        <p:spPr>
          <a:xfrm>
            <a:off x="4706593" y="1596577"/>
            <a:ext cx="3896864" cy="2671892"/>
          </a:xfrm>
          <a:prstGeom prst="rect">
            <a:avLst/>
          </a:prstGeom>
          <a:noFill/>
          <a:ln>
            <a:noFill/>
          </a:ln>
        </p:spPr>
        <p:txBody>
          <a:bodyPr bIns="1620000" anchor="ctr"/>
          <a:lstStyle>
            <a:lvl1pPr marL="0" indent="0" algn="ctr">
              <a:lnSpc>
                <a:spcPct val="90000"/>
              </a:lnSpc>
              <a:spcBef>
                <a:spcPts val="0"/>
              </a:spcBef>
              <a:spcAft>
                <a:spcPts val="0"/>
              </a:spcAft>
              <a:buNone/>
              <a:defRPr sz="1125" i="1">
                <a:solidFill>
                  <a:schemeClr val="tx1">
                    <a:lumMod val="50000"/>
                    <a:lumOff val="50000"/>
                  </a:schemeClr>
                </a:solidFill>
              </a:defRPr>
            </a:lvl1pPr>
          </a:lstStyle>
          <a:p>
            <a:r>
              <a:rPr lang="en-US"/>
              <a:t>Click the icon below </a:t>
            </a:r>
            <a:br>
              <a:rPr lang="en-US"/>
            </a:br>
            <a:r>
              <a:rPr lang="en-US"/>
              <a:t>to add a graph.</a:t>
            </a:r>
          </a:p>
        </p:txBody>
      </p:sp>
      <p:sp>
        <p:nvSpPr>
          <p:cNvPr id="152" name="Tekstvak 151">
            <a:extLst>
              <a:ext uri="{FF2B5EF4-FFF2-40B4-BE49-F238E27FC236}">
                <a16:creationId xmlns:a16="http://schemas.microsoft.com/office/drawing/2014/main" id="{95B0C458-0766-4499-8792-D533773E28BB}"/>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Text and Graph</a:t>
            </a:r>
          </a:p>
        </p:txBody>
      </p:sp>
      <p:sp>
        <p:nvSpPr>
          <p:cNvPr id="8" name="Titel 7">
            <a:extLst>
              <a:ext uri="{FF2B5EF4-FFF2-40B4-BE49-F238E27FC236}">
                <a16:creationId xmlns:a16="http://schemas.microsoft.com/office/drawing/2014/main" id="{7FCD1807-6EB4-40D4-B96E-5FA5EF49EF0E}"/>
              </a:ext>
            </a:extLst>
          </p:cNvPr>
          <p:cNvSpPr>
            <a:spLocks noGrp="1"/>
          </p:cNvSpPr>
          <p:nvPr>
            <p:ph type="title" hasCustomPrompt="1"/>
          </p:nvPr>
        </p:nvSpPr>
        <p:spPr>
          <a:xfrm>
            <a:off x="523874" y="435769"/>
            <a:ext cx="8079582" cy="516848"/>
          </a:xfrm>
        </p:spPr>
        <p:txBody>
          <a:bodyPr/>
          <a:lstStyle/>
          <a:p>
            <a:r>
              <a:rPr lang="en-US" noProof="0"/>
              <a:t>Add a slide title, </a:t>
            </a:r>
            <a:br>
              <a:rPr lang="en-US" noProof="0"/>
            </a:br>
            <a:r>
              <a:rPr lang="en-US" noProof="0"/>
              <a:t>max.2 lines</a:t>
            </a:r>
            <a:endParaRPr lang="en-US"/>
          </a:p>
        </p:txBody>
      </p:sp>
      <p:sp>
        <p:nvSpPr>
          <p:cNvPr id="155" name="Tijdelijke aanduiding voor verticale tekst 2">
            <a:extLst>
              <a:ext uri="{FF2B5EF4-FFF2-40B4-BE49-F238E27FC236}">
                <a16:creationId xmlns:a16="http://schemas.microsoft.com/office/drawing/2014/main" id="{44FECE07-40F0-4847-9D89-448A03574CF6}"/>
              </a:ext>
            </a:extLst>
          </p:cNvPr>
          <p:cNvSpPr>
            <a:spLocks noGrp="1"/>
          </p:cNvSpPr>
          <p:nvPr>
            <p:ph type="body" orient="vert" idx="1" hasCustomPrompt="1"/>
          </p:nvPr>
        </p:nvSpPr>
        <p:spPr>
          <a:xfrm>
            <a:off x="523875" y="1598846"/>
            <a:ext cx="3913532" cy="2669623"/>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Bullet</a:t>
            </a:r>
          </a:p>
          <a:p>
            <a:pPr lvl="1"/>
            <a:r>
              <a:rPr lang="en-US" noProof="0"/>
              <a:t>Sub-bullet</a:t>
            </a:r>
          </a:p>
          <a:p>
            <a:pPr lvl="2"/>
            <a:r>
              <a:rPr lang="en-US" noProof="0"/>
              <a:t>Default text</a:t>
            </a:r>
          </a:p>
          <a:p>
            <a:pPr lvl="3"/>
            <a:r>
              <a:rPr lang="en-US" noProof="0"/>
              <a:t>Subtitle</a:t>
            </a:r>
          </a:p>
          <a:p>
            <a:pPr lvl="4"/>
            <a:r>
              <a:rPr lang="en-US" noProof="0"/>
              <a:t>Numerical bullet</a:t>
            </a:r>
          </a:p>
          <a:p>
            <a:pPr lvl="5"/>
            <a:r>
              <a:rPr lang="en-US" noProof="0"/>
              <a:t>Bullet</a:t>
            </a:r>
          </a:p>
          <a:p>
            <a:pPr lvl="6"/>
            <a:r>
              <a:rPr lang="en-US" noProof="0"/>
              <a:t>Sub-bullet</a:t>
            </a:r>
          </a:p>
          <a:p>
            <a:pPr lvl="7"/>
            <a:r>
              <a:rPr lang="en-US" noProof="0"/>
              <a:t>Default text</a:t>
            </a:r>
          </a:p>
          <a:p>
            <a:pPr lvl="8"/>
            <a:r>
              <a:rPr lang="en-US" noProof="0"/>
              <a:t>Subtitle</a:t>
            </a:r>
          </a:p>
        </p:txBody>
      </p:sp>
      <p:grpSp>
        <p:nvGrpSpPr>
          <p:cNvPr id="165" name="Groep 164">
            <a:extLst>
              <a:ext uri="{FF2B5EF4-FFF2-40B4-BE49-F238E27FC236}">
                <a16:creationId xmlns:a16="http://schemas.microsoft.com/office/drawing/2014/main" id="{5FBD77A2-CC44-45CB-A2BC-2C6336D3A804}"/>
              </a:ext>
            </a:extLst>
          </p:cNvPr>
          <p:cNvGrpSpPr/>
          <p:nvPr userDrawn="1"/>
        </p:nvGrpSpPr>
        <p:grpSpPr>
          <a:xfrm>
            <a:off x="-2839623" y="0"/>
            <a:ext cx="2694818" cy="3481004"/>
            <a:chOff x="-3786165" y="0"/>
            <a:chExt cx="3593091" cy="4641338"/>
          </a:xfrm>
        </p:grpSpPr>
        <p:sp>
          <p:nvSpPr>
            <p:cNvPr id="166" name="Rechthoek 165">
              <a:extLst>
                <a:ext uri="{FF2B5EF4-FFF2-40B4-BE49-F238E27FC236}">
                  <a16:creationId xmlns:a16="http://schemas.microsoft.com/office/drawing/2014/main" id="{79D46F66-D59A-4313-A14D-D5F18525AC54}"/>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167" name="Ovaal 166">
              <a:extLst>
                <a:ext uri="{FF2B5EF4-FFF2-40B4-BE49-F238E27FC236}">
                  <a16:creationId xmlns:a16="http://schemas.microsoft.com/office/drawing/2014/main" id="{CF4C963D-31A2-4DCA-80CB-98991AD21622}"/>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8" name="Rechthoek 167">
              <a:extLst>
                <a:ext uri="{FF2B5EF4-FFF2-40B4-BE49-F238E27FC236}">
                  <a16:creationId xmlns:a16="http://schemas.microsoft.com/office/drawing/2014/main" id="{D9F5DF57-72D7-492B-8ED1-D23D7CFD4209}"/>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sp>
          <p:nvSpPr>
            <p:cNvPr id="169" name="Ovaal 168">
              <a:extLst>
                <a:ext uri="{FF2B5EF4-FFF2-40B4-BE49-F238E27FC236}">
                  <a16:creationId xmlns:a16="http://schemas.microsoft.com/office/drawing/2014/main" id="{095DCB79-BDA5-4ADA-9BD2-F44B33D566D7}"/>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0" name="Rechthoek 169">
              <a:extLst>
                <a:ext uri="{FF2B5EF4-FFF2-40B4-BE49-F238E27FC236}">
                  <a16:creationId xmlns:a16="http://schemas.microsoft.com/office/drawing/2014/main" id="{A01B55E1-686D-46A9-AF95-38627458ACF9}"/>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71" name="Rechthoek 170">
              <a:extLst>
                <a:ext uri="{FF2B5EF4-FFF2-40B4-BE49-F238E27FC236}">
                  <a16:creationId xmlns:a16="http://schemas.microsoft.com/office/drawing/2014/main" id="{046D4F4D-1083-4F40-8BB8-CB1A8BC811BC}"/>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172" name="Ovaal 171">
              <a:extLst>
                <a:ext uri="{FF2B5EF4-FFF2-40B4-BE49-F238E27FC236}">
                  <a16:creationId xmlns:a16="http://schemas.microsoft.com/office/drawing/2014/main" id="{393A0ECA-CE2D-4E11-9005-183015A890BF}"/>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3" name="Rechthoek 172">
              <a:extLst>
                <a:ext uri="{FF2B5EF4-FFF2-40B4-BE49-F238E27FC236}">
                  <a16:creationId xmlns:a16="http://schemas.microsoft.com/office/drawing/2014/main" id="{458D3F0B-B8D6-45BB-B241-50B0224BB2B3}"/>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174" name="Ovaal 173">
              <a:extLst>
                <a:ext uri="{FF2B5EF4-FFF2-40B4-BE49-F238E27FC236}">
                  <a16:creationId xmlns:a16="http://schemas.microsoft.com/office/drawing/2014/main" id="{B24B9E71-D195-4148-A952-5EBC382C7D0A}"/>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75" name="Rechthoek 174">
              <a:extLst>
                <a:ext uri="{FF2B5EF4-FFF2-40B4-BE49-F238E27FC236}">
                  <a16:creationId xmlns:a16="http://schemas.microsoft.com/office/drawing/2014/main" id="{D64E7ED2-3CA4-4447-A67F-B70B69C3081D}"/>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chemeClr val="accent1"/>
                </a:buClr>
                <a:buSzTx/>
                <a:buFont typeface="Arial" panose="020B0604020202020204" pitchFamily="34" charset="0"/>
                <a:buNone/>
                <a:tabLst/>
                <a:defRPr/>
              </a:pPr>
              <a:r>
                <a:rPr lang="en-US" sz="1200" b="1" kern="1200" cap="none" spc="23" baseline="0" noProof="0">
                  <a:solidFill>
                    <a:schemeClr val="tx2">
                      <a:lumMod val="50000"/>
                    </a:schemeClr>
                  </a:solidFill>
                  <a:latin typeface="+mj-lt"/>
                  <a:ea typeface="+mn-ea"/>
                  <a:cs typeface="Calibri" panose="020F0502020204030204" pitchFamily="34" charset="0"/>
                </a:rPr>
                <a:t>Subtitle</a:t>
              </a:r>
            </a:p>
          </p:txBody>
        </p:sp>
        <p:sp>
          <p:nvSpPr>
            <p:cNvPr id="176" name="Ovaal 175">
              <a:extLst>
                <a:ext uri="{FF2B5EF4-FFF2-40B4-BE49-F238E27FC236}">
                  <a16:creationId xmlns:a16="http://schemas.microsoft.com/office/drawing/2014/main" id="{857D8121-6FBA-49FE-9AC2-8E69EB40F716}"/>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77" name="Rechthoek 176">
              <a:extLst>
                <a:ext uri="{FF2B5EF4-FFF2-40B4-BE49-F238E27FC236}">
                  <a16:creationId xmlns:a16="http://schemas.microsoft.com/office/drawing/2014/main" id="{3C4BFE13-BE76-4FF0-B636-CA0C742DA336}"/>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03597" marR="0" lvl="4" indent="-203597" algn="l" defTabSz="539354" rtl="0" eaLnBrk="1" fontAlgn="auto" latinLnBrk="0" hangingPunct="1">
                <a:lnSpc>
                  <a:spcPct val="100000"/>
                </a:lnSpc>
                <a:spcBef>
                  <a:spcPts val="225"/>
                </a:spcBef>
                <a:spcAft>
                  <a:spcPts val="450"/>
                </a:spcAft>
                <a:buClr>
                  <a:srgbClr val="3F3F3F"/>
                </a:buClr>
                <a:buSzTx/>
                <a:buFont typeface="+mj-lt"/>
                <a:buAutoNum type="arabicPeriod"/>
                <a:tabLst/>
                <a:defRPr/>
              </a:pPr>
              <a:r>
                <a:rPr kumimoji="0" lang="en-US" sz="900" b="0" i="0" u="none" strike="noStrike" kern="1200" cap="none" spc="0" normalizeH="0" baseline="0" noProof="0">
                  <a:ln>
                    <a:noFill/>
                  </a:ln>
                  <a:solidFill>
                    <a:schemeClr val="tx2">
                      <a:lumMod val="50000"/>
                    </a:schemeClr>
                  </a:solidFill>
                  <a:effectLst/>
                  <a:uLnTx/>
                  <a:uFillTx/>
                  <a:latin typeface="+mn-lt"/>
                  <a:ea typeface="+mn-ea"/>
                  <a:cs typeface="+mn-cs"/>
                </a:rPr>
                <a:t>Numerical bullet</a:t>
              </a:r>
            </a:p>
          </p:txBody>
        </p:sp>
        <p:sp>
          <p:nvSpPr>
            <p:cNvPr id="178" name="Ovaal 177">
              <a:extLst>
                <a:ext uri="{FF2B5EF4-FFF2-40B4-BE49-F238E27FC236}">
                  <a16:creationId xmlns:a16="http://schemas.microsoft.com/office/drawing/2014/main" id="{20093353-A359-45B0-953B-C6DED53D0F22}"/>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79" name="Rechthoek 178">
              <a:extLst>
                <a:ext uri="{FF2B5EF4-FFF2-40B4-BE49-F238E27FC236}">
                  <a16:creationId xmlns:a16="http://schemas.microsoft.com/office/drawing/2014/main" id="{C6C545AD-358D-455D-804A-7C1FA7572086}"/>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180" name="Ovaal 179">
              <a:extLst>
                <a:ext uri="{FF2B5EF4-FFF2-40B4-BE49-F238E27FC236}">
                  <a16:creationId xmlns:a16="http://schemas.microsoft.com/office/drawing/2014/main" id="{3336B092-31DD-41A1-9A8E-19FF486B317E}"/>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81" name="Rechthoek 180">
              <a:extLst>
                <a:ext uri="{FF2B5EF4-FFF2-40B4-BE49-F238E27FC236}">
                  <a16:creationId xmlns:a16="http://schemas.microsoft.com/office/drawing/2014/main" id="{15EC5849-9D06-4D60-A547-2314DA7CBB71}"/>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182" name="Ovaal 181">
              <a:extLst>
                <a:ext uri="{FF2B5EF4-FFF2-40B4-BE49-F238E27FC236}">
                  <a16:creationId xmlns:a16="http://schemas.microsoft.com/office/drawing/2014/main" id="{3187BDA1-1D79-4D3E-954E-18361F7DC94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83" name="Rechthoek 182">
              <a:extLst>
                <a:ext uri="{FF2B5EF4-FFF2-40B4-BE49-F238E27FC236}">
                  <a16:creationId xmlns:a16="http://schemas.microsoft.com/office/drawing/2014/main" id="{414743CC-47C1-4FB4-AFB5-05B8286BEC9B}"/>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rgbClr val="04A64B"/>
                </a:buClr>
                <a:buSzTx/>
                <a:buFont typeface="Arial" panose="020B0604020202020204" pitchFamily="34" charset="0"/>
                <a:buNone/>
                <a:tabLst/>
                <a:defRPr/>
              </a:pPr>
              <a:r>
                <a:rPr kumimoji="0" lang="en-US" sz="1200" b="1" i="0" u="none" strike="noStrike" kern="1200" cap="none" spc="23" normalizeH="0" baseline="0" noProof="0">
                  <a:ln>
                    <a:noFill/>
                  </a:ln>
                  <a:solidFill>
                    <a:srgbClr val="3F3F3F">
                      <a:lumMod val="50000"/>
                    </a:srgbClr>
                  </a:solidFill>
                  <a:effectLst/>
                  <a:uLnTx/>
                  <a:uFillTx/>
                  <a:latin typeface="+mn-lt"/>
                  <a:ea typeface="+mn-ea"/>
                  <a:cs typeface="Calibri" panose="020F0502020204030204" pitchFamily="34" charset="0"/>
                </a:rPr>
                <a:t>Subtitle</a:t>
              </a:r>
            </a:p>
          </p:txBody>
        </p:sp>
        <p:sp>
          <p:nvSpPr>
            <p:cNvPr id="184" name="Ovaal 183">
              <a:extLst>
                <a:ext uri="{FF2B5EF4-FFF2-40B4-BE49-F238E27FC236}">
                  <a16:creationId xmlns:a16="http://schemas.microsoft.com/office/drawing/2014/main" id="{DD86239B-CCDC-40E7-BB67-B3F44ED9E207}"/>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85" name="Rechthoek 184">
              <a:extLst>
                <a:ext uri="{FF2B5EF4-FFF2-40B4-BE49-F238E27FC236}">
                  <a16:creationId xmlns:a16="http://schemas.microsoft.com/office/drawing/2014/main" id="{E4A2A149-55C6-4B5C-86BD-121861AAF310}"/>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grpSp>
          <p:nvGrpSpPr>
            <p:cNvPr id="186" name="VOORBEELD">
              <a:extLst>
                <a:ext uri="{FF2B5EF4-FFF2-40B4-BE49-F238E27FC236}">
                  <a16:creationId xmlns:a16="http://schemas.microsoft.com/office/drawing/2014/main" id="{A5361975-F379-4F37-B830-C3C26B2E81E1}"/>
                </a:ext>
              </a:extLst>
            </p:cNvPr>
            <p:cNvGrpSpPr/>
            <p:nvPr userDrawn="1"/>
          </p:nvGrpSpPr>
          <p:grpSpPr>
            <a:xfrm>
              <a:off x="-3605171" y="458674"/>
              <a:ext cx="3234311" cy="558875"/>
              <a:chOff x="-3605171" y="458674"/>
              <a:chExt cx="3234311" cy="558875"/>
            </a:xfrm>
          </p:grpSpPr>
          <p:sp>
            <p:nvSpPr>
              <p:cNvPr id="272" name="Rechthoek 271">
                <a:extLst>
                  <a:ext uri="{FF2B5EF4-FFF2-40B4-BE49-F238E27FC236}">
                    <a16:creationId xmlns:a16="http://schemas.microsoft.com/office/drawing/2014/main" id="{5ACBF6DF-2051-46C6-887E-D9831E0E5534}"/>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675" b="1" noProof="0">
                    <a:solidFill>
                      <a:srgbClr val="211F26"/>
                    </a:solidFill>
                    <a:latin typeface="Calibri" panose="020F0502020204030204" pitchFamily="34" charset="0"/>
                    <a:cs typeface="Calibri" panose="020F0502020204030204" pitchFamily="34" charset="0"/>
                  </a:rPr>
                  <a:t>Home</a:t>
                </a:r>
              </a:p>
            </p:txBody>
          </p:sp>
          <p:sp>
            <p:nvSpPr>
              <p:cNvPr id="273" name="Rechthoek 272">
                <a:extLst>
                  <a:ext uri="{FF2B5EF4-FFF2-40B4-BE49-F238E27FC236}">
                    <a16:creationId xmlns:a16="http://schemas.microsoft.com/office/drawing/2014/main" id="{8BA71360-9AC9-4142-A9ED-C5D2A1FD7551}"/>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274" name="Groep 273">
                <a:extLst>
                  <a:ext uri="{FF2B5EF4-FFF2-40B4-BE49-F238E27FC236}">
                    <a16:creationId xmlns:a16="http://schemas.microsoft.com/office/drawing/2014/main" id="{B8D1D054-7C73-4181-BC7D-555AC9DCEBC1}"/>
                  </a:ext>
                </a:extLst>
              </p:cNvPr>
              <p:cNvGrpSpPr/>
              <p:nvPr userDrawn="1"/>
            </p:nvGrpSpPr>
            <p:grpSpPr>
              <a:xfrm>
                <a:off x="-3386247" y="830871"/>
                <a:ext cx="139423" cy="109566"/>
                <a:chOff x="-2866744" y="827071"/>
                <a:chExt cx="168701" cy="132575"/>
              </a:xfrm>
            </p:grpSpPr>
            <p:grpSp>
              <p:nvGrpSpPr>
                <p:cNvPr id="305" name="Groep 304">
                  <a:extLst>
                    <a:ext uri="{FF2B5EF4-FFF2-40B4-BE49-F238E27FC236}">
                      <a16:creationId xmlns:a16="http://schemas.microsoft.com/office/drawing/2014/main" id="{CBE6842F-835B-4169-87F8-0A541EB122AF}"/>
                    </a:ext>
                  </a:extLst>
                </p:cNvPr>
                <p:cNvGrpSpPr/>
                <p:nvPr userDrawn="1"/>
              </p:nvGrpSpPr>
              <p:grpSpPr>
                <a:xfrm>
                  <a:off x="-2866744" y="827071"/>
                  <a:ext cx="168701" cy="132575"/>
                  <a:chOff x="-2866744" y="827071"/>
                  <a:chExt cx="168701" cy="132575"/>
                </a:xfrm>
              </p:grpSpPr>
              <p:cxnSp>
                <p:nvCxnSpPr>
                  <p:cNvPr id="307" name="Rechte verbindingslijn 306">
                    <a:extLst>
                      <a:ext uri="{FF2B5EF4-FFF2-40B4-BE49-F238E27FC236}">
                        <a16:creationId xmlns:a16="http://schemas.microsoft.com/office/drawing/2014/main" id="{D09BDF40-1C99-4868-835B-28DB48CA5139}"/>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08" name="Rechte verbindingslijn 307">
                    <a:extLst>
                      <a:ext uri="{FF2B5EF4-FFF2-40B4-BE49-F238E27FC236}">
                        <a16:creationId xmlns:a16="http://schemas.microsoft.com/office/drawing/2014/main" id="{C4FF03B9-AC0B-4735-A67D-F877B713593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09" name="Rechte verbindingslijn 308">
                    <a:extLst>
                      <a:ext uri="{FF2B5EF4-FFF2-40B4-BE49-F238E27FC236}">
                        <a16:creationId xmlns:a16="http://schemas.microsoft.com/office/drawing/2014/main" id="{5B617395-5D06-445E-9495-F62CAF1BBA7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10" name="Rechte verbindingslijn 309">
                    <a:extLst>
                      <a:ext uri="{FF2B5EF4-FFF2-40B4-BE49-F238E27FC236}">
                        <a16:creationId xmlns:a16="http://schemas.microsoft.com/office/drawing/2014/main" id="{3D4E64A4-C923-48D3-80F4-3D0A613A0FA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51EF1473-7027-4020-9342-AF8A2F2F040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6" name="Pijl: rechts 305">
                  <a:extLst>
                    <a:ext uri="{FF2B5EF4-FFF2-40B4-BE49-F238E27FC236}">
                      <a16:creationId xmlns:a16="http://schemas.microsoft.com/office/drawing/2014/main" id="{AF827EFF-F9E3-421A-AB6C-A098580AD2B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275" name="Groep 274">
                <a:extLst>
                  <a:ext uri="{FF2B5EF4-FFF2-40B4-BE49-F238E27FC236}">
                    <a16:creationId xmlns:a16="http://schemas.microsoft.com/office/drawing/2014/main" id="{3FCFB3BF-CC36-41CD-A214-068B431E4A15}"/>
                  </a:ext>
                </a:extLst>
              </p:cNvPr>
              <p:cNvGrpSpPr/>
              <p:nvPr userDrawn="1"/>
            </p:nvGrpSpPr>
            <p:grpSpPr>
              <a:xfrm>
                <a:off x="-3605171" y="830871"/>
                <a:ext cx="139423" cy="109566"/>
                <a:chOff x="-2866744" y="518074"/>
                <a:chExt cx="168701" cy="132575"/>
              </a:xfrm>
            </p:grpSpPr>
            <p:grpSp>
              <p:nvGrpSpPr>
                <p:cNvPr id="298" name="Groep 297">
                  <a:extLst>
                    <a:ext uri="{FF2B5EF4-FFF2-40B4-BE49-F238E27FC236}">
                      <a16:creationId xmlns:a16="http://schemas.microsoft.com/office/drawing/2014/main" id="{3A7DEE6C-6CE2-4638-B99A-AD6DADD1A255}"/>
                    </a:ext>
                  </a:extLst>
                </p:cNvPr>
                <p:cNvGrpSpPr/>
                <p:nvPr userDrawn="1"/>
              </p:nvGrpSpPr>
              <p:grpSpPr>
                <a:xfrm>
                  <a:off x="-2866744" y="518074"/>
                  <a:ext cx="168701" cy="132575"/>
                  <a:chOff x="-2866744" y="518074"/>
                  <a:chExt cx="168701" cy="132575"/>
                </a:xfrm>
              </p:grpSpPr>
              <p:cxnSp>
                <p:nvCxnSpPr>
                  <p:cNvPr id="300" name="Rechte verbindingslijn 299">
                    <a:extLst>
                      <a:ext uri="{FF2B5EF4-FFF2-40B4-BE49-F238E27FC236}">
                        <a16:creationId xmlns:a16="http://schemas.microsoft.com/office/drawing/2014/main" id="{572C1EBA-3D7A-4E5A-AAAE-EF2DDC170F9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01" name="Rechte verbindingslijn 300">
                    <a:extLst>
                      <a:ext uri="{FF2B5EF4-FFF2-40B4-BE49-F238E27FC236}">
                        <a16:creationId xmlns:a16="http://schemas.microsoft.com/office/drawing/2014/main" id="{72AF47A8-B632-47CF-90A9-DDDB3625110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02" name="Rechte verbindingslijn 301">
                    <a:extLst>
                      <a:ext uri="{FF2B5EF4-FFF2-40B4-BE49-F238E27FC236}">
                        <a16:creationId xmlns:a16="http://schemas.microsoft.com/office/drawing/2014/main" id="{58C0612A-0110-4803-8B14-93231D51FAA2}"/>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03" name="Rechte verbindingslijn 302">
                    <a:extLst>
                      <a:ext uri="{FF2B5EF4-FFF2-40B4-BE49-F238E27FC236}">
                        <a16:creationId xmlns:a16="http://schemas.microsoft.com/office/drawing/2014/main" id="{E3C527A8-19DA-4C4F-AB48-983FF7EE8D4A}"/>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BD954D44-3BC2-4D0F-978A-62652C46F83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99" name="Pijl: rechts 298">
                  <a:extLst>
                    <a:ext uri="{FF2B5EF4-FFF2-40B4-BE49-F238E27FC236}">
                      <a16:creationId xmlns:a16="http://schemas.microsoft.com/office/drawing/2014/main" id="{39B3E38D-C9E0-4367-9A21-F494BC8FC87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cxnSp>
            <p:nvCxnSpPr>
              <p:cNvPr id="276" name="Rechte verbindingslijn 275">
                <a:extLst>
                  <a:ext uri="{FF2B5EF4-FFF2-40B4-BE49-F238E27FC236}">
                    <a16:creationId xmlns:a16="http://schemas.microsoft.com/office/drawing/2014/main" id="{09565CBD-66DD-4ACF-AB5C-7D2222844DE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77" name="Rechte verbindingslijn 276">
                <a:extLst>
                  <a:ext uri="{FF2B5EF4-FFF2-40B4-BE49-F238E27FC236}">
                    <a16:creationId xmlns:a16="http://schemas.microsoft.com/office/drawing/2014/main" id="{9958C2E1-3998-4994-A541-5484718BE48E}"/>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78" name="Rechthoek 277">
                <a:extLst>
                  <a:ext uri="{FF2B5EF4-FFF2-40B4-BE49-F238E27FC236}">
                    <a16:creationId xmlns:a16="http://schemas.microsoft.com/office/drawing/2014/main" id="{5EA75601-4011-49D5-AE98-EC28AC278033}"/>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79" name="Rechthoek 278">
                <a:extLst>
                  <a:ext uri="{FF2B5EF4-FFF2-40B4-BE49-F238E27FC236}">
                    <a16:creationId xmlns:a16="http://schemas.microsoft.com/office/drawing/2014/main" id="{AE213FE8-B9B6-4445-B6B8-5CA977CAF653}"/>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80" name="Groep 279">
                <a:extLst>
                  <a:ext uri="{FF2B5EF4-FFF2-40B4-BE49-F238E27FC236}">
                    <a16:creationId xmlns:a16="http://schemas.microsoft.com/office/drawing/2014/main" id="{29C7F56C-3A11-4132-8835-B744D2E06E20}"/>
                  </a:ext>
                </a:extLst>
              </p:cNvPr>
              <p:cNvGrpSpPr/>
              <p:nvPr userDrawn="1"/>
            </p:nvGrpSpPr>
            <p:grpSpPr>
              <a:xfrm>
                <a:off x="-2916763" y="769168"/>
                <a:ext cx="268738" cy="248381"/>
                <a:chOff x="-2916763" y="769168"/>
                <a:chExt cx="268738" cy="248381"/>
              </a:xfrm>
            </p:grpSpPr>
            <p:sp>
              <p:nvSpPr>
                <p:cNvPr id="290" name="Rechthoek 289">
                  <a:extLst>
                    <a:ext uri="{FF2B5EF4-FFF2-40B4-BE49-F238E27FC236}">
                      <a16:creationId xmlns:a16="http://schemas.microsoft.com/office/drawing/2014/main" id="{151ED8FF-EE49-4112-8CB4-415F7276E4E2}"/>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291" name="Groep 290">
                  <a:extLst>
                    <a:ext uri="{FF2B5EF4-FFF2-40B4-BE49-F238E27FC236}">
                      <a16:creationId xmlns:a16="http://schemas.microsoft.com/office/drawing/2014/main" id="{75033FFB-CD36-4991-8CA2-7466D16BB79D}"/>
                    </a:ext>
                  </a:extLst>
                </p:cNvPr>
                <p:cNvGrpSpPr/>
                <p:nvPr userDrawn="1"/>
              </p:nvGrpSpPr>
              <p:grpSpPr>
                <a:xfrm>
                  <a:off x="-2866744" y="827071"/>
                  <a:ext cx="168701" cy="132575"/>
                  <a:chOff x="-2866744" y="827071"/>
                  <a:chExt cx="168701" cy="132575"/>
                </a:xfrm>
              </p:grpSpPr>
              <p:cxnSp>
                <p:nvCxnSpPr>
                  <p:cNvPr id="293" name="Rechte verbindingslijn 292">
                    <a:extLst>
                      <a:ext uri="{FF2B5EF4-FFF2-40B4-BE49-F238E27FC236}">
                        <a16:creationId xmlns:a16="http://schemas.microsoft.com/office/drawing/2014/main" id="{F1D79100-0D3F-4E5B-8207-B9314D7D662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94" name="Rechte verbindingslijn 293">
                    <a:extLst>
                      <a:ext uri="{FF2B5EF4-FFF2-40B4-BE49-F238E27FC236}">
                        <a16:creationId xmlns:a16="http://schemas.microsoft.com/office/drawing/2014/main" id="{ABD2DDE5-3925-4CD4-9AC3-E432A3D5F781}"/>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95" name="Rechte verbindingslijn 294">
                    <a:extLst>
                      <a:ext uri="{FF2B5EF4-FFF2-40B4-BE49-F238E27FC236}">
                        <a16:creationId xmlns:a16="http://schemas.microsoft.com/office/drawing/2014/main" id="{30AAFEE1-8677-4B58-A10E-539B0F9F0806}"/>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96" name="Rechte verbindingslijn 295">
                    <a:extLst>
                      <a:ext uri="{FF2B5EF4-FFF2-40B4-BE49-F238E27FC236}">
                        <a16:creationId xmlns:a16="http://schemas.microsoft.com/office/drawing/2014/main" id="{50560078-BDDF-4F71-9D38-556985B684D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97" name="Rechte verbindingslijn 296">
                    <a:extLst>
                      <a:ext uri="{FF2B5EF4-FFF2-40B4-BE49-F238E27FC236}">
                        <a16:creationId xmlns:a16="http://schemas.microsoft.com/office/drawing/2014/main" id="{01B51E73-19BA-4C6A-99E7-AF1090728845}"/>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92" name="Pijl: rechts 291">
                  <a:extLst>
                    <a:ext uri="{FF2B5EF4-FFF2-40B4-BE49-F238E27FC236}">
                      <a16:creationId xmlns:a16="http://schemas.microsoft.com/office/drawing/2014/main" id="{4859BCEA-87F5-4F91-A477-2A4B1ECDD53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281" name="Groep 280">
                <a:extLst>
                  <a:ext uri="{FF2B5EF4-FFF2-40B4-BE49-F238E27FC236}">
                    <a16:creationId xmlns:a16="http://schemas.microsoft.com/office/drawing/2014/main" id="{8F5D1E08-A3F6-4BAB-BAB6-1E7C22FB629A}"/>
                  </a:ext>
                </a:extLst>
              </p:cNvPr>
              <p:cNvGrpSpPr/>
              <p:nvPr userDrawn="1"/>
            </p:nvGrpSpPr>
            <p:grpSpPr>
              <a:xfrm>
                <a:off x="-2916763" y="460171"/>
                <a:ext cx="268738" cy="248381"/>
                <a:chOff x="-2916763" y="460171"/>
                <a:chExt cx="268738" cy="248381"/>
              </a:xfrm>
            </p:grpSpPr>
            <p:sp>
              <p:nvSpPr>
                <p:cNvPr id="282" name="Rechthoek 281">
                  <a:extLst>
                    <a:ext uri="{FF2B5EF4-FFF2-40B4-BE49-F238E27FC236}">
                      <a16:creationId xmlns:a16="http://schemas.microsoft.com/office/drawing/2014/main" id="{59B558B2-CD80-46AC-A883-424E47A7E6A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283" name="Groep 282">
                  <a:extLst>
                    <a:ext uri="{FF2B5EF4-FFF2-40B4-BE49-F238E27FC236}">
                      <a16:creationId xmlns:a16="http://schemas.microsoft.com/office/drawing/2014/main" id="{8DDD7A43-391C-44C5-9BAE-BC728D3D6D3F}"/>
                    </a:ext>
                  </a:extLst>
                </p:cNvPr>
                <p:cNvGrpSpPr/>
                <p:nvPr userDrawn="1"/>
              </p:nvGrpSpPr>
              <p:grpSpPr>
                <a:xfrm>
                  <a:off x="-2866744" y="518074"/>
                  <a:ext cx="168701" cy="132575"/>
                  <a:chOff x="-2866744" y="518074"/>
                  <a:chExt cx="168701" cy="132575"/>
                </a:xfrm>
              </p:grpSpPr>
              <p:cxnSp>
                <p:nvCxnSpPr>
                  <p:cNvPr id="285" name="Rechte verbindingslijn 284">
                    <a:extLst>
                      <a:ext uri="{FF2B5EF4-FFF2-40B4-BE49-F238E27FC236}">
                        <a16:creationId xmlns:a16="http://schemas.microsoft.com/office/drawing/2014/main" id="{AE11B394-7BC9-4C3E-80CF-5E3999F2112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86" name="Rechte verbindingslijn 285">
                    <a:extLst>
                      <a:ext uri="{FF2B5EF4-FFF2-40B4-BE49-F238E27FC236}">
                        <a16:creationId xmlns:a16="http://schemas.microsoft.com/office/drawing/2014/main" id="{83BEA6FB-D8EE-4254-8A6C-6B831D9930D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87" name="Rechte verbindingslijn 286">
                    <a:extLst>
                      <a:ext uri="{FF2B5EF4-FFF2-40B4-BE49-F238E27FC236}">
                        <a16:creationId xmlns:a16="http://schemas.microsoft.com/office/drawing/2014/main" id="{C872E83D-5365-46B7-B7EC-8EE3B0BC57A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88" name="Rechte verbindingslijn 287">
                    <a:extLst>
                      <a:ext uri="{FF2B5EF4-FFF2-40B4-BE49-F238E27FC236}">
                        <a16:creationId xmlns:a16="http://schemas.microsoft.com/office/drawing/2014/main" id="{F613F351-B8EB-42A7-BF71-FC5673FBD55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89" name="Rechte verbindingslijn 288">
                    <a:extLst>
                      <a:ext uri="{FF2B5EF4-FFF2-40B4-BE49-F238E27FC236}">
                        <a16:creationId xmlns:a16="http://schemas.microsoft.com/office/drawing/2014/main" id="{12D95E8D-00A6-4A71-9480-F9E50C87E75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84" name="Pijl: rechts 283">
                  <a:extLst>
                    <a:ext uri="{FF2B5EF4-FFF2-40B4-BE49-F238E27FC236}">
                      <a16:creationId xmlns:a16="http://schemas.microsoft.com/office/drawing/2014/main" id="{45923011-EF36-473A-A181-38B61599957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grpSp>
      <p:grpSp>
        <p:nvGrpSpPr>
          <p:cNvPr id="69" name="INSTRUCTION">
            <a:extLst>
              <a:ext uri="{FF2B5EF4-FFF2-40B4-BE49-F238E27FC236}">
                <a16:creationId xmlns:a16="http://schemas.microsoft.com/office/drawing/2014/main" id="{21E4774C-56DD-426F-972D-B7A92300D457}"/>
              </a:ext>
            </a:extLst>
          </p:cNvPr>
          <p:cNvGrpSpPr/>
          <p:nvPr userDrawn="1"/>
        </p:nvGrpSpPr>
        <p:grpSpPr>
          <a:xfrm>
            <a:off x="9283605" y="1"/>
            <a:ext cx="2694818" cy="3848667"/>
            <a:chOff x="-3786165" y="1"/>
            <a:chExt cx="3593091" cy="5131556"/>
          </a:xfrm>
        </p:grpSpPr>
        <p:sp>
          <p:nvSpPr>
            <p:cNvPr id="70" name="Rechthoek 69">
              <a:extLst>
                <a:ext uri="{FF2B5EF4-FFF2-40B4-BE49-F238E27FC236}">
                  <a16:creationId xmlns:a16="http://schemas.microsoft.com/office/drawing/2014/main" id="{BF9F8345-4D9B-444D-B0AF-3B85020E0094}"/>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Edit chart data</a:t>
              </a:r>
            </a:p>
          </p:txBody>
        </p:sp>
        <p:sp>
          <p:nvSpPr>
            <p:cNvPr id="71" name="Ovaal 70">
              <a:extLst>
                <a:ext uri="{FF2B5EF4-FFF2-40B4-BE49-F238E27FC236}">
                  <a16:creationId xmlns:a16="http://schemas.microsoft.com/office/drawing/2014/main" id="{B3F20282-0A8E-4B0C-A010-6955E12EA345}"/>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2" name="Rechthoek 71">
              <a:extLst>
                <a:ext uri="{FF2B5EF4-FFF2-40B4-BE49-F238E27FC236}">
                  <a16:creationId xmlns:a16="http://schemas.microsoft.com/office/drawing/2014/main" id="{EEF49201-9215-4BA2-A8A7-D8F215CED9CF}"/>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hoos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dit data’</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3" name="Groep 72">
              <a:extLst>
                <a:ext uri="{FF2B5EF4-FFF2-40B4-BE49-F238E27FC236}">
                  <a16:creationId xmlns:a16="http://schemas.microsoft.com/office/drawing/2014/main" id="{78A88FB0-772A-4041-911B-E740173942E5}"/>
                </a:ext>
              </a:extLst>
            </p:cNvPr>
            <p:cNvGrpSpPr/>
            <p:nvPr userDrawn="1"/>
          </p:nvGrpSpPr>
          <p:grpSpPr>
            <a:xfrm>
              <a:off x="-3314821" y="4275190"/>
              <a:ext cx="1495189" cy="563933"/>
              <a:chOff x="-3314821" y="3310415"/>
              <a:chExt cx="1495189" cy="563933"/>
            </a:xfrm>
          </p:grpSpPr>
          <p:sp>
            <p:nvSpPr>
              <p:cNvPr id="93" name="Rechthoek 92">
                <a:extLst>
                  <a:ext uri="{FF2B5EF4-FFF2-40B4-BE49-F238E27FC236}">
                    <a16:creationId xmlns:a16="http://schemas.microsoft.com/office/drawing/2014/main" id="{9887AFE7-3A21-431C-B03D-355B3DD281D9}"/>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94" name="Rechthoek 93">
                <a:extLst>
                  <a:ext uri="{FF2B5EF4-FFF2-40B4-BE49-F238E27FC236}">
                    <a16:creationId xmlns:a16="http://schemas.microsoft.com/office/drawing/2014/main" id="{C1D2CE12-27D5-4F95-92B5-221CB516ABC3}"/>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95" name="Tekstvak 94">
                <a:extLst>
                  <a:ext uri="{FF2B5EF4-FFF2-40B4-BE49-F238E27FC236}">
                    <a16:creationId xmlns:a16="http://schemas.microsoft.com/office/drawing/2014/main" id="{2D44DA68-6EC4-455F-8508-EDFE661E29F1}"/>
                  </a:ext>
                </a:extLst>
              </p:cNvPr>
              <p:cNvSpPr txBox="1"/>
              <p:nvPr userDrawn="1"/>
            </p:nvSpPr>
            <p:spPr>
              <a:xfrm>
                <a:off x="-3122115" y="3369117"/>
                <a:ext cx="1258624" cy="137495"/>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Change chart type</a:t>
                </a:r>
              </a:p>
            </p:txBody>
          </p:sp>
          <p:sp>
            <p:nvSpPr>
              <p:cNvPr id="96" name="Tekstvak 95">
                <a:extLst>
                  <a:ext uri="{FF2B5EF4-FFF2-40B4-BE49-F238E27FC236}">
                    <a16:creationId xmlns:a16="http://schemas.microsoft.com/office/drawing/2014/main" id="{0D589646-2B8D-444C-85AF-F2F6D80C9DB9}"/>
                  </a:ext>
                </a:extLst>
              </p:cNvPr>
              <p:cNvSpPr txBox="1"/>
              <p:nvPr userDrawn="1"/>
            </p:nvSpPr>
            <p:spPr>
              <a:xfrm>
                <a:off x="-3115840" y="3624236"/>
                <a:ext cx="1296208" cy="126416"/>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Edit data</a:t>
                </a:r>
              </a:p>
            </p:txBody>
          </p:sp>
          <p:sp>
            <p:nvSpPr>
              <p:cNvPr id="97" name="Vrije vorm: vorm 96">
                <a:extLst>
                  <a:ext uri="{FF2B5EF4-FFF2-40B4-BE49-F238E27FC236}">
                    <a16:creationId xmlns:a16="http://schemas.microsoft.com/office/drawing/2014/main" id="{A3329DD3-BBAF-4321-A69E-05145DEDDBA0}"/>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450"/>
                  </a:spcBef>
                  <a:spcAft>
                    <a:spcPts val="450"/>
                  </a:spcAft>
                </a:pPr>
                <a:endParaRPr lang="en-US" sz="1200" cap="all" baseline="0" noProof="0">
                  <a:latin typeface="Calibri" panose="020F0502020204030204" pitchFamily="34" charset="0"/>
                  <a:cs typeface="Calibri" panose="020F0502020204030204" pitchFamily="34" charset="0"/>
                </a:endParaRPr>
              </a:p>
            </p:txBody>
          </p:sp>
          <p:grpSp>
            <p:nvGrpSpPr>
              <p:cNvPr id="98" name="Groep 97">
                <a:extLst>
                  <a:ext uri="{FF2B5EF4-FFF2-40B4-BE49-F238E27FC236}">
                    <a16:creationId xmlns:a16="http://schemas.microsoft.com/office/drawing/2014/main" id="{F8CC9CEB-C6D7-46D9-A5E1-A5EA3CDFAAA5}"/>
                  </a:ext>
                </a:extLst>
              </p:cNvPr>
              <p:cNvGrpSpPr/>
              <p:nvPr userDrawn="1"/>
            </p:nvGrpSpPr>
            <p:grpSpPr>
              <a:xfrm>
                <a:off x="-3261976" y="3361742"/>
                <a:ext cx="139861" cy="152244"/>
                <a:chOff x="12574450" y="6053892"/>
                <a:chExt cx="169232" cy="184215"/>
              </a:xfrm>
            </p:grpSpPr>
            <p:sp>
              <p:nvSpPr>
                <p:cNvPr id="118" name="Rechthoek 117">
                  <a:extLst>
                    <a:ext uri="{FF2B5EF4-FFF2-40B4-BE49-F238E27FC236}">
                      <a16:creationId xmlns:a16="http://schemas.microsoft.com/office/drawing/2014/main" id="{21CA6069-B820-48B7-95DF-3BE255753AE2}"/>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noProof="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1EE20BA9-C69A-4A95-A036-915C46962C26}"/>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noProof="0">
                    <a:solidFill>
                      <a:srgbClr val="211F26"/>
                    </a:solidFill>
                    <a:latin typeface="Calibri" panose="020F0502020204030204" pitchFamily="34" charset="0"/>
                    <a:cs typeface="Calibri" panose="020F0502020204030204" pitchFamily="34" charset="0"/>
                  </a:endParaRPr>
                </a:p>
              </p:txBody>
            </p:sp>
            <p:sp>
              <p:nvSpPr>
                <p:cNvPr id="120" name="Rechthoek 119">
                  <a:extLst>
                    <a:ext uri="{FF2B5EF4-FFF2-40B4-BE49-F238E27FC236}">
                      <a16:creationId xmlns:a16="http://schemas.microsoft.com/office/drawing/2014/main" id="{66A1EF0A-7674-4790-A09D-6656A9E49EA8}"/>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noProof="0">
                    <a:solidFill>
                      <a:srgbClr val="211F26"/>
                    </a:solidFill>
                    <a:latin typeface="Calibri" panose="020F0502020204030204" pitchFamily="34" charset="0"/>
                    <a:cs typeface="Calibri" panose="020F0502020204030204" pitchFamily="34" charset="0"/>
                  </a:endParaRPr>
                </a:p>
              </p:txBody>
            </p:sp>
          </p:grpSp>
          <p:grpSp>
            <p:nvGrpSpPr>
              <p:cNvPr id="99" name="Groep 98">
                <a:extLst>
                  <a:ext uri="{FF2B5EF4-FFF2-40B4-BE49-F238E27FC236}">
                    <a16:creationId xmlns:a16="http://schemas.microsoft.com/office/drawing/2014/main" id="{ED9F214E-73CB-4769-A907-9EE71E6F6A06}"/>
                  </a:ext>
                </a:extLst>
              </p:cNvPr>
              <p:cNvGrpSpPr/>
              <p:nvPr userDrawn="1"/>
            </p:nvGrpSpPr>
            <p:grpSpPr>
              <a:xfrm>
                <a:off x="-3261070" y="3635199"/>
                <a:ext cx="168905" cy="104490"/>
                <a:chOff x="-3261070" y="3620931"/>
                <a:chExt cx="193920" cy="119965"/>
              </a:xfrm>
            </p:grpSpPr>
            <p:sp>
              <p:nvSpPr>
                <p:cNvPr id="100" name="Rechthoek 99">
                  <a:extLst>
                    <a:ext uri="{FF2B5EF4-FFF2-40B4-BE49-F238E27FC236}">
                      <a16:creationId xmlns:a16="http://schemas.microsoft.com/office/drawing/2014/main" id="{DF441A2B-B7F1-48AF-A19A-A41CE5AA73FF}"/>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nvGrpSpPr>
                <p:cNvPr id="101" name="Groep 100">
                  <a:extLst>
                    <a:ext uri="{FF2B5EF4-FFF2-40B4-BE49-F238E27FC236}">
                      <a16:creationId xmlns:a16="http://schemas.microsoft.com/office/drawing/2014/main" id="{84A329FD-79E5-484E-A78A-B4CD0F4A7345}"/>
                    </a:ext>
                  </a:extLst>
                </p:cNvPr>
                <p:cNvGrpSpPr/>
                <p:nvPr userDrawn="1"/>
              </p:nvGrpSpPr>
              <p:grpSpPr>
                <a:xfrm>
                  <a:off x="-3261070" y="3622063"/>
                  <a:ext cx="141113" cy="117345"/>
                  <a:chOff x="1094874" y="-878306"/>
                  <a:chExt cx="867364" cy="613611"/>
                </a:xfrm>
              </p:grpSpPr>
              <p:cxnSp>
                <p:nvCxnSpPr>
                  <p:cNvPr id="111" name="Rechte verbindingslijn 110">
                    <a:extLst>
                      <a:ext uri="{FF2B5EF4-FFF2-40B4-BE49-F238E27FC236}">
                        <a16:creationId xmlns:a16="http://schemas.microsoft.com/office/drawing/2014/main" id="{A6250DB0-F98C-4BB9-B84B-7D02646C3044}"/>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0B5E4718-7538-4BB6-8228-A008C9CF853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13" name="Groep 112">
                    <a:extLst>
                      <a:ext uri="{FF2B5EF4-FFF2-40B4-BE49-F238E27FC236}">
                        <a16:creationId xmlns:a16="http://schemas.microsoft.com/office/drawing/2014/main" id="{C21388D1-C5E2-4ED1-8652-35826B7E9313}"/>
                      </a:ext>
                    </a:extLst>
                  </p:cNvPr>
                  <p:cNvGrpSpPr/>
                  <p:nvPr userDrawn="1"/>
                </p:nvGrpSpPr>
                <p:grpSpPr>
                  <a:xfrm>
                    <a:off x="1270535" y="-878306"/>
                    <a:ext cx="526983" cy="613611"/>
                    <a:chOff x="1270535" y="-745959"/>
                    <a:chExt cx="526983" cy="481264"/>
                  </a:xfrm>
                </p:grpSpPr>
                <p:cxnSp>
                  <p:nvCxnSpPr>
                    <p:cNvPr id="114" name="Rechte verbindingslijn 113">
                      <a:extLst>
                        <a:ext uri="{FF2B5EF4-FFF2-40B4-BE49-F238E27FC236}">
                          <a16:creationId xmlns:a16="http://schemas.microsoft.com/office/drawing/2014/main" id="{40C251B9-DBF8-480D-A40D-8A12E4DFB6EE}"/>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7760E958-DBAB-47BF-AFAC-8F5A91B03F7D}"/>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6" name="Rechte verbindingslijn 115">
                      <a:extLst>
                        <a:ext uri="{FF2B5EF4-FFF2-40B4-BE49-F238E27FC236}">
                          <a16:creationId xmlns:a16="http://schemas.microsoft.com/office/drawing/2014/main" id="{2D76D9FC-B7BA-40F7-9EB8-B7AD0590360C}"/>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7" name="Rechte verbindingslijn 116">
                      <a:extLst>
                        <a:ext uri="{FF2B5EF4-FFF2-40B4-BE49-F238E27FC236}">
                          <a16:creationId xmlns:a16="http://schemas.microsoft.com/office/drawing/2014/main" id="{38147553-57AD-42B0-83B5-AC3B162160B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02" name="Rechte verbindingslijn 101">
                  <a:extLst>
                    <a:ext uri="{FF2B5EF4-FFF2-40B4-BE49-F238E27FC236}">
                      <a16:creationId xmlns:a16="http://schemas.microsoft.com/office/drawing/2014/main" id="{F2FB9E59-33FA-451B-87BD-2638723E5E83}"/>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3" name="Rechte verbindingslijn 102">
                  <a:extLst>
                    <a:ext uri="{FF2B5EF4-FFF2-40B4-BE49-F238E27FC236}">
                      <a16:creationId xmlns:a16="http://schemas.microsoft.com/office/drawing/2014/main" id="{E5AC52F2-83E8-4EAF-8BEE-C9CCFB79A99D}"/>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4" name="Rechte verbindingslijn 103">
                  <a:extLst>
                    <a:ext uri="{FF2B5EF4-FFF2-40B4-BE49-F238E27FC236}">
                      <a16:creationId xmlns:a16="http://schemas.microsoft.com/office/drawing/2014/main" id="{1308207D-8275-4FEA-A0D5-974716324041}"/>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5" name="Rechte verbindingslijn 104">
                  <a:extLst>
                    <a:ext uri="{FF2B5EF4-FFF2-40B4-BE49-F238E27FC236}">
                      <a16:creationId xmlns:a16="http://schemas.microsoft.com/office/drawing/2014/main" id="{A32BCB81-B0C2-4A66-8D7C-5EA3FCFF2F66}"/>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06" name="Rechthoek 105">
                  <a:extLst>
                    <a:ext uri="{FF2B5EF4-FFF2-40B4-BE49-F238E27FC236}">
                      <a16:creationId xmlns:a16="http://schemas.microsoft.com/office/drawing/2014/main" id="{BE9B8780-9B60-4035-8FCA-5B680924BDB9}"/>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nvGrpSpPr>
                <p:cNvPr id="107" name="Groep 106">
                  <a:extLst>
                    <a:ext uri="{FF2B5EF4-FFF2-40B4-BE49-F238E27FC236}">
                      <a16:creationId xmlns:a16="http://schemas.microsoft.com/office/drawing/2014/main" id="{F553A172-1FD1-45B3-8063-ABF4129D62F1}"/>
                    </a:ext>
                  </a:extLst>
                </p:cNvPr>
                <p:cNvGrpSpPr/>
                <p:nvPr userDrawn="1"/>
              </p:nvGrpSpPr>
              <p:grpSpPr>
                <a:xfrm rot="2700000">
                  <a:off x="-3158000" y="3650045"/>
                  <a:ext cx="34350" cy="147351"/>
                  <a:chOff x="3148392" y="-836646"/>
                  <a:chExt cx="132124" cy="596095"/>
                </a:xfrm>
                <a:solidFill>
                  <a:srgbClr val="3399FF"/>
                </a:solidFill>
              </p:grpSpPr>
              <p:sp>
                <p:nvSpPr>
                  <p:cNvPr id="108" name="Rechthoek 107">
                    <a:extLst>
                      <a:ext uri="{FF2B5EF4-FFF2-40B4-BE49-F238E27FC236}">
                        <a16:creationId xmlns:a16="http://schemas.microsoft.com/office/drawing/2014/main" id="{C94AEF01-4BBC-41ED-9AA8-53A32073FE3B}"/>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sp>
                <p:nvSpPr>
                  <p:cNvPr id="109" name="Rechthoek: afgeronde bovenhoeken 108">
                    <a:extLst>
                      <a:ext uri="{FF2B5EF4-FFF2-40B4-BE49-F238E27FC236}">
                        <a16:creationId xmlns:a16="http://schemas.microsoft.com/office/drawing/2014/main" id="{C2F918B4-67BF-43A4-B79B-226E86A5E2F4}"/>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sp>
                <p:nvSpPr>
                  <p:cNvPr id="110" name="Gelijkbenige driehoek 109">
                    <a:extLst>
                      <a:ext uri="{FF2B5EF4-FFF2-40B4-BE49-F238E27FC236}">
                        <a16:creationId xmlns:a16="http://schemas.microsoft.com/office/drawing/2014/main" id="{38CDF2B1-CD26-4B24-A5C5-A3EEA9A34ED1}"/>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grpSp>
        </p:grpSp>
        <p:sp>
          <p:nvSpPr>
            <p:cNvPr id="74" name="Rechthoek 73">
              <a:extLst>
                <a:ext uri="{FF2B5EF4-FFF2-40B4-BE49-F238E27FC236}">
                  <a16:creationId xmlns:a16="http://schemas.microsoft.com/office/drawing/2014/main" id="{0A42CF7B-C7D5-441F-A45A-0B42071ED5DA}"/>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Insert/edit A Chart</a:t>
              </a:r>
            </a:p>
          </p:txBody>
        </p:sp>
        <p:sp>
          <p:nvSpPr>
            <p:cNvPr id="75" name="Ovaal 74">
              <a:extLst>
                <a:ext uri="{FF2B5EF4-FFF2-40B4-BE49-F238E27FC236}">
                  <a16:creationId xmlns:a16="http://schemas.microsoft.com/office/drawing/2014/main" id="{361AB0A3-4E80-4CE8-97DF-2335A4ABB45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6" name="Rechthoek 75">
              <a:extLst>
                <a:ext uri="{FF2B5EF4-FFF2-40B4-BE49-F238E27FC236}">
                  <a16:creationId xmlns:a16="http://schemas.microsoft.com/office/drawing/2014/main" id="{137FCD7D-8D34-4D47-823A-C642D0422765}"/>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77" name="Ovaal 76">
              <a:extLst>
                <a:ext uri="{FF2B5EF4-FFF2-40B4-BE49-F238E27FC236}">
                  <a16:creationId xmlns:a16="http://schemas.microsoft.com/office/drawing/2014/main" id="{0C0C066A-6DD5-438D-9EA3-DBC72F9860DC}"/>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8" name="Rechthoek 77">
              <a:extLst>
                <a:ext uri="{FF2B5EF4-FFF2-40B4-BE49-F238E27FC236}">
                  <a16:creationId xmlns:a16="http://schemas.microsoft.com/office/drawing/2014/main" id="{DBB28F85-D269-47D2-AE29-D8D66FE9E370}"/>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9" name="Groep 78">
              <a:extLst>
                <a:ext uri="{FF2B5EF4-FFF2-40B4-BE49-F238E27FC236}">
                  <a16:creationId xmlns:a16="http://schemas.microsoft.com/office/drawing/2014/main" id="{C02091B7-DC43-4C2E-A83F-F5EC19067B61}"/>
                </a:ext>
              </a:extLst>
            </p:cNvPr>
            <p:cNvGrpSpPr/>
            <p:nvPr userDrawn="1"/>
          </p:nvGrpSpPr>
          <p:grpSpPr>
            <a:xfrm>
              <a:off x="-3311319" y="2164285"/>
              <a:ext cx="825500" cy="209550"/>
              <a:chOff x="13504624" y="2482850"/>
              <a:chExt cx="825500" cy="209550"/>
            </a:xfrm>
          </p:grpSpPr>
          <p:sp>
            <p:nvSpPr>
              <p:cNvPr id="90" name="Rechthoek 89">
                <a:extLst>
                  <a:ext uri="{FF2B5EF4-FFF2-40B4-BE49-F238E27FC236}">
                    <a16:creationId xmlns:a16="http://schemas.microsoft.com/office/drawing/2014/main" id="{DAA48E1C-41D3-4C45-A11C-205E16728C6C}"/>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Insert</a:t>
                </a:r>
              </a:p>
            </p:txBody>
          </p:sp>
          <p:cxnSp>
            <p:nvCxnSpPr>
              <p:cNvPr id="91" name="Rechte verbindingslijn 90">
                <a:extLst>
                  <a:ext uri="{FF2B5EF4-FFF2-40B4-BE49-F238E27FC236}">
                    <a16:creationId xmlns:a16="http://schemas.microsoft.com/office/drawing/2014/main" id="{0E6432F1-0C6D-4025-8B16-1F42C58D32F7}"/>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92" name="Gelijkbenige driehoek 91">
                <a:extLst>
                  <a:ext uri="{FF2B5EF4-FFF2-40B4-BE49-F238E27FC236}">
                    <a16:creationId xmlns:a16="http://schemas.microsoft.com/office/drawing/2014/main" id="{BA83E6E2-BCFC-4F35-A348-16821BA6725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75" b="1" noProof="0">
                  <a:solidFill>
                    <a:srgbClr val="211F26"/>
                  </a:solidFill>
                  <a:latin typeface="Calibri" panose="020F0502020204030204" pitchFamily="34" charset="0"/>
                  <a:cs typeface="Calibri" panose="020F0502020204030204" pitchFamily="34" charset="0"/>
                </a:endParaRPr>
              </a:p>
            </p:txBody>
          </p:sp>
        </p:grpSp>
        <p:grpSp>
          <p:nvGrpSpPr>
            <p:cNvPr id="80" name="Groep 79">
              <a:extLst>
                <a:ext uri="{FF2B5EF4-FFF2-40B4-BE49-F238E27FC236}">
                  <a16:creationId xmlns:a16="http://schemas.microsoft.com/office/drawing/2014/main" id="{8628D57B-9EAD-40F6-BD2D-FC556C72C242}"/>
                </a:ext>
              </a:extLst>
            </p:cNvPr>
            <p:cNvGrpSpPr/>
            <p:nvPr userDrawn="1"/>
          </p:nvGrpSpPr>
          <p:grpSpPr>
            <a:xfrm>
              <a:off x="-3316599" y="1232480"/>
              <a:ext cx="289372" cy="314992"/>
              <a:chOff x="7322769" y="-310267"/>
              <a:chExt cx="289372" cy="314992"/>
            </a:xfrm>
          </p:grpSpPr>
          <p:sp>
            <p:nvSpPr>
              <p:cNvPr id="87" name="Rechthoek 86">
                <a:extLst>
                  <a:ext uri="{FF2B5EF4-FFF2-40B4-BE49-F238E27FC236}">
                    <a16:creationId xmlns:a16="http://schemas.microsoft.com/office/drawing/2014/main" id="{4C27D1A5-1B80-4AB9-8594-043A922083FB}"/>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DC3D23A0-EB5B-413D-815C-652F78AD45C7}"/>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sp>
            <p:nvSpPr>
              <p:cNvPr id="89" name="Rechthoek 88">
                <a:extLst>
                  <a:ext uri="{FF2B5EF4-FFF2-40B4-BE49-F238E27FC236}">
                    <a16:creationId xmlns:a16="http://schemas.microsoft.com/office/drawing/2014/main" id="{37A99341-3A67-4EEC-80BA-1A6D094DEA0C}"/>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sp>
          <p:nvSpPr>
            <p:cNvPr id="81" name="Ovaal 80">
              <a:extLst>
                <a:ext uri="{FF2B5EF4-FFF2-40B4-BE49-F238E27FC236}">
                  <a16:creationId xmlns:a16="http://schemas.microsoft.com/office/drawing/2014/main" id="{EA090AB6-2511-4A45-A0B0-0373F7B912E3}"/>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2" name="Rechthoek 81">
              <a:extLst>
                <a:ext uri="{FF2B5EF4-FFF2-40B4-BE49-F238E27FC236}">
                  <a16:creationId xmlns:a16="http://schemas.microsoft.com/office/drawing/2014/main" id="{81E200B2-DBD3-402A-BA73-B6808F93D388}"/>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t>
              </a:r>
            </a:p>
          </p:txBody>
        </p:sp>
      </p:grpSp>
      <p:sp>
        <p:nvSpPr>
          <p:cNvPr id="121" name="Tijdelijke aanduiding voor dianummer 5">
            <a:extLst>
              <a:ext uri="{FF2B5EF4-FFF2-40B4-BE49-F238E27FC236}">
                <a16:creationId xmlns:a16="http://schemas.microsoft.com/office/drawing/2014/main" id="{ADB44852-0C53-4D75-89E0-05C73A412D76}"/>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122" name="INSTRUCTION">
            <a:extLst>
              <a:ext uri="{FF2B5EF4-FFF2-40B4-BE49-F238E27FC236}">
                <a16:creationId xmlns:a16="http://schemas.microsoft.com/office/drawing/2014/main" id="{6DD545A2-F2E3-4C6D-90B5-ED1C1E00DF05}"/>
              </a:ext>
            </a:extLst>
          </p:cNvPr>
          <p:cNvGrpSpPr/>
          <p:nvPr userDrawn="1"/>
        </p:nvGrpSpPr>
        <p:grpSpPr>
          <a:xfrm>
            <a:off x="4384" y="5274908"/>
            <a:ext cx="2795966" cy="1183043"/>
            <a:chOff x="5846" y="7033211"/>
            <a:chExt cx="3727954" cy="1577390"/>
          </a:xfrm>
        </p:grpSpPr>
        <p:sp>
          <p:nvSpPr>
            <p:cNvPr id="123" name="Rechthoek 122">
              <a:extLst>
                <a:ext uri="{FF2B5EF4-FFF2-40B4-BE49-F238E27FC236}">
                  <a16:creationId xmlns:a16="http://schemas.microsoft.com/office/drawing/2014/main" id="{47A2F57F-92A9-4324-955F-A37D521533E2}"/>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124" name="Ovaal 123">
              <a:extLst>
                <a:ext uri="{FF2B5EF4-FFF2-40B4-BE49-F238E27FC236}">
                  <a16:creationId xmlns:a16="http://schemas.microsoft.com/office/drawing/2014/main" id="{FF5F8DD1-24F2-4B21-A141-C875959FBB85}"/>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25" name="Rechthoek 124">
              <a:extLst>
                <a:ext uri="{FF2B5EF4-FFF2-40B4-BE49-F238E27FC236}">
                  <a16:creationId xmlns:a16="http://schemas.microsoft.com/office/drawing/2014/main" id="{E8B0B8F2-20AC-4CC1-8548-75E67BC57EFA}"/>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6" name="Ovaal 125">
              <a:extLst>
                <a:ext uri="{FF2B5EF4-FFF2-40B4-BE49-F238E27FC236}">
                  <a16:creationId xmlns:a16="http://schemas.microsoft.com/office/drawing/2014/main" id="{F15515D8-EB43-49A4-8359-F48737B3A912}"/>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27" name="Rechthoek 126">
              <a:extLst>
                <a:ext uri="{FF2B5EF4-FFF2-40B4-BE49-F238E27FC236}">
                  <a16:creationId xmlns:a16="http://schemas.microsoft.com/office/drawing/2014/main" id="{3962B974-938C-45DF-8B00-229402DEFDD0}"/>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128" name="Groep 127">
              <a:extLst>
                <a:ext uri="{FF2B5EF4-FFF2-40B4-BE49-F238E27FC236}">
                  <a16:creationId xmlns:a16="http://schemas.microsoft.com/office/drawing/2014/main" id="{85DA563C-AB8E-4DAF-BD23-4A5B783216E4}"/>
                </a:ext>
              </a:extLst>
            </p:cNvPr>
            <p:cNvGrpSpPr/>
            <p:nvPr userDrawn="1"/>
          </p:nvGrpSpPr>
          <p:grpSpPr>
            <a:xfrm>
              <a:off x="2939884" y="7739834"/>
              <a:ext cx="681133" cy="750023"/>
              <a:chOff x="-910573" y="4987990"/>
              <a:chExt cx="681133" cy="750023"/>
            </a:xfrm>
          </p:grpSpPr>
          <p:grpSp>
            <p:nvGrpSpPr>
              <p:cNvPr id="129" name="Groep 128">
                <a:extLst>
                  <a:ext uri="{FF2B5EF4-FFF2-40B4-BE49-F238E27FC236}">
                    <a16:creationId xmlns:a16="http://schemas.microsoft.com/office/drawing/2014/main" id="{2A6F4779-7A16-4B02-8538-009FD184E87F}"/>
                  </a:ext>
                </a:extLst>
              </p:cNvPr>
              <p:cNvGrpSpPr/>
              <p:nvPr userDrawn="1"/>
            </p:nvGrpSpPr>
            <p:grpSpPr>
              <a:xfrm>
                <a:off x="-713542" y="4987990"/>
                <a:ext cx="287071" cy="379107"/>
                <a:chOff x="-4050578" y="288410"/>
                <a:chExt cx="322125" cy="379107"/>
              </a:xfrm>
            </p:grpSpPr>
            <p:sp>
              <p:nvSpPr>
                <p:cNvPr id="131" name="Rechthoek met één afgeknipte en afgeronde hoek 47">
                  <a:extLst>
                    <a:ext uri="{FF2B5EF4-FFF2-40B4-BE49-F238E27FC236}">
                      <a16:creationId xmlns:a16="http://schemas.microsoft.com/office/drawing/2014/main" id="{752C6C9D-BC34-4E97-A075-53853DA1CA22}"/>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32" name="Rechthoekige driehoek 131">
                  <a:extLst>
                    <a:ext uri="{FF2B5EF4-FFF2-40B4-BE49-F238E27FC236}">
                      <a16:creationId xmlns:a16="http://schemas.microsoft.com/office/drawing/2014/main" id="{8A6E945D-4141-4F75-A5BD-26164FD11602}"/>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33" name="Rechthoek 132">
                  <a:extLst>
                    <a:ext uri="{FF2B5EF4-FFF2-40B4-BE49-F238E27FC236}">
                      <a16:creationId xmlns:a16="http://schemas.microsoft.com/office/drawing/2014/main" id="{5274755F-88CC-4480-A7E5-EB49F0D42F90}"/>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34" name="Rechthoek 133">
                  <a:extLst>
                    <a:ext uri="{FF2B5EF4-FFF2-40B4-BE49-F238E27FC236}">
                      <a16:creationId xmlns:a16="http://schemas.microsoft.com/office/drawing/2014/main" id="{A45A0346-A2CF-49C2-9276-CB69230607DE}"/>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30" name="Rechthoek 129">
                <a:extLst>
                  <a:ext uri="{FF2B5EF4-FFF2-40B4-BE49-F238E27FC236}">
                    <a16:creationId xmlns:a16="http://schemas.microsoft.com/office/drawing/2014/main" id="{8626F0D4-C15D-4BE4-8FCB-2D8547A8CC10}"/>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408443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0% GRAPH">
    <p:spTree>
      <p:nvGrpSpPr>
        <p:cNvPr id="1" name=""/>
        <p:cNvGrpSpPr/>
        <p:nvPr/>
      </p:nvGrpSpPr>
      <p:grpSpPr>
        <a:xfrm>
          <a:off x="0" y="0"/>
          <a:ext cx="0" cy="0"/>
          <a:chOff x="0" y="0"/>
          <a:chExt cx="0" cy="0"/>
        </a:xfrm>
      </p:grpSpPr>
      <p:sp>
        <p:nvSpPr>
          <p:cNvPr id="13" name="Tijdelijke aanduiding voor grafiek 12"/>
          <p:cNvSpPr>
            <a:spLocks noGrp="1"/>
          </p:cNvSpPr>
          <p:nvPr>
            <p:ph type="chart" sz="quarter" idx="14" hasCustomPrompt="1"/>
          </p:nvPr>
        </p:nvSpPr>
        <p:spPr>
          <a:xfrm>
            <a:off x="523875" y="1598846"/>
            <a:ext cx="8079581" cy="2669615"/>
          </a:xfrm>
          <a:prstGeom prst="rect">
            <a:avLst/>
          </a:prstGeom>
          <a:noFill/>
          <a:ln>
            <a:noFill/>
          </a:ln>
        </p:spPr>
        <p:txBody>
          <a:bodyPr bIns="1620000" anchor="ctr"/>
          <a:lstStyle>
            <a:lvl1pPr marL="0" indent="0" algn="ctr">
              <a:lnSpc>
                <a:spcPct val="90000"/>
              </a:lnSpc>
              <a:spcBef>
                <a:spcPts val="0"/>
              </a:spcBef>
              <a:spcAft>
                <a:spcPts val="0"/>
              </a:spcAft>
              <a:buNone/>
              <a:defRPr sz="1125" i="1">
                <a:solidFill>
                  <a:schemeClr val="tx1">
                    <a:lumMod val="50000"/>
                    <a:lumOff val="50000"/>
                  </a:schemeClr>
                </a:solidFill>
              </a:defRPr>
            </a:lvl1pPr>
          </a:lstStyle>
          <a:p>
            <a:r>
              <a:rPr lang="en-US"/>
              <a:t>Click the icon below </a:t>
            </a:r>
            <a:br>
              <a:rPr lang="en-US"/>
            </a:br>
            <a:r>
              <a:rPr lang="en-US"/>
              <a:t>to add a graph.</a:t>
            </a:r>
          </a:p>
        </p:txBody>
      </p:sp>
      <p:sp>
        <p:nvSpPr>
          <p:cNvPr id="67" name="Tekstvak 66">
            <a:extLst>
              <a:ext uri="{FF2B5EF4-FFF2-40B4-BE49-F238E27FC236}">
                <a16:creationId xmlns:a16="http://schemas.microsoft.com/office/drawing/2014/main" id="{A7EB06A0-8440-4E95-8663-AC0D3DBE8B99}"/>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Graph</a:t>
            </a:r>
          </a:p>
        </p:txBody>
      </p:sp>
      <p:sp>
        <p:nvSpPr>
          <p:cNvPr id="2" name="Titel 1">
            <a:extLst>
              <a:ext uri="{FF2B5EF4-FFF2-40B4-BE49-F238E27FC236}">
                <a16:creationId xmlns:a16="http://schemas.microsoft.com/office/drawing/2014/main" id="{38134469-1701-46A1-A982-974F0A589440}"/>
              </a:ext>
            </a:extLst>
          </p:cNvPr>
          <p:cNvSpPr>
            <a:spLocks noGrp="1"/>
          </p:cNvSpPr>
          <p:nvPr>
            <p:ph type="title" hasCustomPrompt="1"/>
          </p:nvPr>
        </p:nvSpPr>
        <p:spPr/>
        <p:txBody>
          <a:bodyPr/>
          <a:lstStyle/>
          <a:p>
            <a:r>
              <a:rPr lang="en-US" noProof="0"/>
              <a:t>Add a slide title, </a:t>
            </a:r>
            <a:br>
              <a:rPr lang="en-US" noProof="0"/>
            </a:br>
            <a:r>
              <a:rPr lang="en-US" noProof="0"/>
              <a:t>max.2 lines</a:t>
            </a:r>
            <a:endParaRPr lang="en-US"/>
          </a:p>
        </p:txBody>
      </p:sp>
      <p:grpSp>
        <p:nvGrpSpPr>
          <p:cNvPr id="6" name="INSTRUCTION">
            <a:extLst>
              <a:ext uri="{FF2B5EF4-FFF2-40B4-BE49-F238E27FC236}">
                <a16:creationId xmlns:a16="http://schemas.microsoft.com/office/drawing/2014/main" id="{25ECD84A-1345-4AC7-88D3-BD65DDFE873E}"/>
              </a:ext>
            </a:extLst>
          </p:cNvPr>
          <p:cNvGrpSpPr/>
          <p:nvPr userDrawn="1"/>
        </p:nvGrpSpPr>
        <p:grpSpPr>
          <a:xfrm>
            <a:off x="-2839623" y="1"/>
            <a:ext cx="2694818" cy="3848667"/>
            <a:chOff x="-3786165" y="1"/>
            <a:chExt cx="3593091" cy="5131556"/>
          </a:xfrm>
        </p:grpSpPr>
        <p:sp>
          <p:nvSpPr>
            <p:cNvPr id="7" name="Rechthoek 6">
              <a:extLst>
                <a:ext uri="{FF2B5EF4-FFF2-40B4-BE49-F238E27FC236}">
                  <a16:creationId xmlns:a16="http://schemas.microsoft.com/office/drawing/2014/main" id="{8DDE989D-6048-47BF-A58B-E88053E292F2}"/>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Edit chart data</a:t>
              </a:r>
            </a:p>
          </p:txBody>
        </p:sp>
        <p:sp>
          <p:nvSpPr>
            <p:cNvPr id="8" name="Ovaal 7">
              <a:extLst>
                <a:ext uri="{FF2B5EF4-FFF2-40B4-BE49-F238E27FC236}">
                  <a16:creationId xmlns:a16="http://schemas.microsoft.com/office/drawing/2014/main" id="{90DD3C16-E6BF-4AE1-AEBA-161062ED01B8}"/>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72AC6BC4-9B06-48C2-9885-B4F8D26E56FE}"/>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hoos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dit data’</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0" name="Groep 9">
              <a:extLst>
                <a:ext uri="{FF2B5EF4-FFF2-40B4-BE49-F238E27FC236}">
                  <a16:creationId xmlns:a16="http://schemas.microsoft.com/office/drawing/2014/main" id="{434AD8F5-22B8-4458-B6E9-EAB6C4EF04AC}"/>
                </a:ext>
              </a:extLst>
            </p:cNvPr>
            <p:cNvGrpSpPr/>
            <p:nvPr userDrawn="1"/>
          </p:nvGrpSpPr>
          <p:grpSpPr>
            <a:xfrm>
              <a:off x="-3314821" y="4275190"/>
              <a:ext cx="1495189" cy="563933"/>
              <a:chOff x="-3314821" y="3310415"/>
              <a:chExt cx="1495189" cy="563933"/>
            </a:xfrm>
          </p:grpSpPr>
          <p:sp>
            <p:nvSpPr>
              <p:cNvPr id="27" name="Rechthoek 26">
                <a:extLst>
                  <a:ext uri="{FF2B5EF4-FFF2-40B4-BE49-F238E27FC236}">
                    <a16:creationId xmlns:a16="http://schemas.microsoft.com/office/drawing/2014/main" id="{CCDF28A0-3F66-4AB3-96E9-921C5C4AD42C}"/>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450"/>
                  </a:spcBef>
                  <a:spcAft>
                    <a:spcPts val="450"/>
                  </a:spcAft>
                </a:pPr>
                <a:endParaRPr lang="en-US" sz="600" b="0" noProof="0">
                  <a:solidFill>
                    <a:srgbClr val="211F26"/>
                  </a:solidFill>
                  <a:latin typeface="Calibri" panose="020F0502020204030204" pitchFamily="34" charset="0"/>
                  <a:cs typeface="Calibri" panose="020F0502020204030204" pitchFamily="34" charset="0"/>
                </a:endParaRPr>
              </a:p>
            </p:txBody>
          </p:sp>
          <p:sp>
            <p:nvSpPr>
              <p:cNvPr id="28" name="Rechthoek 27">
                <a:extLst>
                  <a:ext uri="{FF2B5EF4-FFF2-40B4-BE49-F238E27FC236}">
                    <a16:creationId xmlns:a16="http://schemas.microsoft.com/office/drawing/2014/main" id="{6A189045-F92F-4DB2-B61D-28E415EE3BB8}"/>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sp>
            <p:nvSpPr>
              <p:cNvPr id="29" name="Tekstvak 28">
                <a:extLst>
                  <a:ext uri="{FF2B5EF4-FFF2-40B4-BE49-F238E27FC236}">
                    <a16:creationId xmlns:a16="http://schemas.microsoft.com/office/drawing/2014/main" id="{3019E0A8-091B-4A48-9539-0E93B9216416}"/>
                  </a:ext>
                </a:extLst>
              </p:cNvPr>
              <p:cNvSpPr txBox="1"/>
              <p:nvPr userDrawn="1"/>
            </p:nvSpPr>
            <p:spPr>
              <a:xfrm>
                <a:off x="-3122115" y="3369117"/>
                <a:ext cx="1258624" cy="137495"/>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Change chart type</a:t>
                </a:r>
              </a:p>
            </p:txBody>
          </p:sp>
          <p:sp>
            <p:nvSpPr>
              <p:cNvPr id="30" name="Tekstvak 29">
                <a:extLst>
                  <a:ext uri="{FF2B5EF4-FFF2-40B4-BE49-F238E27FC236}">
                    <a16:creationId xmlns:a16="http://schemas.microsoft.com/office/drawing/2014/main" id="{74C0B803-2FC1-4DCB-A833-082F0FAA090E}"/>
                  </a:ext>
                </a:extLst>
              </p:cNvPr>
              <p:cNvSpPr txBox="1"/>
              <p:nvPr userDrawn="1"/>
            </p:nvSpPr>
            <p:spPr>
              <a:xfrm>
                <a:off x="-3115840" y="3624236"/>
                <a:ext cx="1296208" cy="126416"/>
              </a:xfrm>
              <a:prstGeom prst="rect">
                <a:avLst/>
              </a:prstGeom>
              <a:noFill/>
            </p:spPr>
            <p:txBody>
              <a:bodyPr wrap="square" rtlCol="0" anchor="ctr">
                <a:noAutofit/>
              </a:bodyPr>
              <a:lstStyle/>
              <a:p>
                <a:pPr marL="0" algn="l" defTabSz="913134" rtl="0" eaLnBrk="1" latinLnBrk="0" hangingPunct="1">
                  <a:lnSpc>
                    <a:spcPct val="90000"/>
                  </a:lnSpc>
                  <a:spcBef>
                    <a:spcPts val="450"/>
                  </a:spcBef>
                  <a:spcAft>
                    <a:spcPts val="450"/>
                  </a:spcAft>
                </a:pPr>
                <a:r>
                  <a:rPr lang="en-US" sz="675" b="0" kern="1200" noProof="0">
                    <a:solidFill>
                      <a:srgbClr val="211F26"/>
                    </a:solidFill>
                    <a:latin typeface="Calibri" panose="020F0502020204030204" pitchFamily="34" charset="0"/>
                    <a:ea typeface="+mn-ea"/>
                    <a:cs typeface="Calibri" panose="020F0502020204030204" pitchFamily="34" charset="0"/>
                  </a:rPr>
                  <a:t>Edit data</a:t>
                </a:r>
              </a:p>
            </p:txBody>
          </p:sp>
          <p:sp>
            <p:nvSpPr>
              <p:cNvPr id="31" name="Vrije vorm: vorm 30">
                <a:extLst>
                  <a:ext uri="{FF2B5EF4-FFF2-40B4-BE49-F238E27FC236}">
                    <a16:creationId xmlns:a16="http://schemas.microsoft.com/office/drawing/2014/main" id="{8582F00F-3ACC-4E2D-8B4C-A77D7E932FFB}"/>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450"/>
                  </a:spcBef>
                  <a:spcAft>
                    <a:spcPts val="450"/>
                  </a:spcAft>
                </a:pPr>
                <a:endParaRPr lang="en-US" sz="1200" cap="all" baseline="0" noProof="0">
                  <a:latin typeface="Calibri" panose="020F0502020204030204" pitchFamily="34" charset="0"/>
                  <a:cs typeface="Calibri" panose="020F0502020204030204" pitchFamily="34" charset="0"/>
                </a:endParaRPr>
              </a:p>
            </p:txBody>
          </p:sp>
          <p:grpSp>
            <p:nvGrpSpPr>
              <p:cNvPr id="32" name="Groep 31">
                <a:extLst>
                  <a:ext uri="{FF2B5EF4-FFF2-40B4-BE49-F238E27FC236}">
                    <a16:creationId xmlns:a16="http://schemas.microsoft.com/office/drawing/2014/main" id="{07347EFA-3860-4F0C-AB78-B31AFE051D71}"/>
                  </a:ext>
                </a:extLst>
              </p:cNvPr>
              <p:cNvGrpSpPr/>
              <p:nvPr userDrawn="1"/>
            </p:nvGrpSpPr>
            <p:grpSpPr>
              <a:xfrm>
                <a:off x="-3261976" y="3361742"/>
                <a:ext cx="139861" cy="152244"/>
                <a:chOff x="12574450" y="6053892"/>
                <a:chExt cx="169232" cy="184215"/>
              </a:xfrm>
            </p:grpSpPr>
            <p:sp>
              <p:nvSpPr>
                <p:cNvPr id="52" name="Rechthoek 51">
                  <a:extLst>
                    <a:ext uri="{FF2B5EF4-FFF2-40B4-BE49-F238E27FC236}">
                      <a16:creationId xmlns:a16="http://schemas.microsoft.com/office/drawing/2014/main" id="{135DB9D2-508C-4974-8A55-751AEC249BDC}"/>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noProof="0">
                    <a:solidFill>
                      <a:srgbClr val="211F26"/>
                    </a:solidFill>
                    <a:latin typeface="Calibri" panose="020F0502020204030204" pitchFamily="34" charset="0"/>
                    <a:cs typeface="Calibri" panose="020F0502020204030204" pitchFamily="34" charset="0"/>
                  </a:endParaRPr>
                </a:p>
              </p:txBody>
            </p:sp>
            <p:sp>
              <p:nvSpPr>
                <p:cNvPr id="53" name="Rechthoek 52">
                  <a:extLst>
                    <a:ext uri="{FF2B5EF4-FFF2-40B4-BE49-F238E27FC236}">
                      <a16:creationId xmlns:a16="http://schemas.microsoft.com/office/drawing/2014/main" id="{E112A2CF-B2D3-4832-98E9-3A42ED8BAA4B}"/>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noProof="0">
                    <a:solidFill>
                      <a:srgbClr val="211F26"/>
                    </a:solidFill>
                    <a:latin typeface="Calibri" panose="020F0502020204030204" pitchFamily="34" charset="0"/>
                    <a:cs typeface="Calibri" panose="020F0502020204030204" pitchFamily="34" charset="0"/>
                  </a:endParaRPr>
                </a:p>
              </p:txBody>
            </p:sp>
            <p:sp>
              <p:nvSpPr>
                <p:cNvPr id="54" name="Rechthoek 53">
                  <a:extLst>
                    <a:ext uri="{FF2B5EF4-FFF2-40B4-BE49-F238E27FC236}">
                      <a16:creationId xmlns:a16="http://schemas.microsoft.com/office/drawing/2014/main" id="{E2EBDCEA-C308-44EB-A880-12712D784F25}"/>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noProof="0">
                    <a:solidFill>
                      <a:srgbClr val="211F26"/>
                    </a:solidFill>
                    <a:latin typeface="Calibri" panose="020F0502020204030204" pitchFamily="34" charset="0"/>
                    <a:cs typeface="Calibri" panose="020F0502020204030204" pitchFamily="34" charset="0"/>
                  </a:endParaRPr>
                </a:p>
              </p:txBody>
            </p:sp>
          </p:grpSp>
          <p:grpSp>
            <p:nvGrpSpPr>
              <p:cNvPr id="33" name="Groep 32">
                <a:extLst>
                  <a:ext uri="{FF2B5EF4-FFF2-40B4-BE49-F238E27FC236}">
                    <a16:creationId xmlns:a16="http://schemas.microsoft.com/office/drawing/2014/main" id="{E306537F-3D1C-4AD0-8BD3-2D978FB98549}"/>
                  </a:ext>
                </a:extLst>
              </p:cNvPr>
              <p:cNvGrpSpPr/>
              <p:nvPr userDrawn="1"/>
            </p:nvGrpSpPr>
            <p:grpSpPr>
              <a:xfrm>
                <a:off x="-3261070" y="3635199"/>
                <a:ext cx="168905" cy="104490"/>
                <a:chOff x="-3261070" y="3620931"/>
                <a:chExt cx="193920" cy="119965"/>
              </a:xfrm>
            </p:grpSpPr>
            <p:sp>
              <p:nvSpPr>
                <p:cNvPr id="34" name="Rechthoek 33">
                  <a:extLst>
                    <a:ext uri="{FF2B5EF4-FFF2-40B4-BE49-F238E27FC236}">
                      <a16:creationId xmlns:a16="http://schemas.microsoft.com/office/drawing/2014/main" id="{12E31BC6-0AC0-4594-BE25-1E0D6DE84E1F}"/>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nvGrpSpPr>
                <p:cNvPr id="35" name="Groep 34">
                  <a:extLst>
                    <a:ext uri="{FF2B5EF4-FFF2-40B4-BE49-F238E27FC236}">
                      <a16:creationId xmlns:a16="http://schemas.microsoft.com/office/drawing/2014/main" id="{BAA14BD0-C9DA-4539-892B-04CE736910B6}"/>
                    </a:ext>
                  </a:extLst>
                </p:cNvPr>
                <p:cNvGrpSpPr/>
                <p:nvPr userDrawn="1"/>
              </p:nvGrpSpPr>
              <p:grpSpPr>
                <a:xfrm>
                  <a:off x="-3261070" y="3622063"/>
                  <a:ext cx="141113" cy="117345"/>
                  <a:chOff x="1094874" y="-878306"/>
                  <a:chExt cx="867364" cy="613611"/>
                </a:xfrm>
              </p:grpSpPr>
              <p:cxnSp>
                <p:nvCxnSpPr>
                  <p:cNvPr id="45" name="Rechte verbindingslijn 44">
                    <a:extLst>
                      <a:ext uri="{FF2B5EF4-FFF2-40B4-BE49-F238E27FC236}">
                        <a16:creationId xmlns:a16="http://schemas.microsoft.com/office/drawing/2014/main" id="{20429A1E-E46D-47D9-9D5E-5889840F851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a:extLst>
                      <a:ext uri="{FF2B5EF4-FFF2-40B4-BE49-F238E27FC236}">
                        <a16:creationId xmlns:a16="http://schemas.microsoft.com/office/drawing/2014/main" id="{1BE1574B-9F9B-4F15-912D-F6E188522B9D}"/>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7" name="Groep 46">
                    <a:extLst>
                      <a:ext uri="{FF2B5EF4-FFF2-40B4-BE49-F238E27FC236}">
                        <a16:creationId xmlns:a16="http://schemas.microsoft.com/office/drawing/2014/main" id="{5723ED6D-19C1-4E9A-9353-1D0005B8ED35}"/>
                      </a:ext>
                    </a:extLst>
                  </p:cNvPr>
                  <p:cNvGrpSpPr/>
                  <p:nvPr userDrawn="1"/>
                </p:nvGrpSpPr>
                <p:grpSpPr>
                  <a:xfrm>
                    <a:off x="1270535" y="-878306"/>
                    <a:ext cx="526983" cy="613611"/>
                    <a:chOff x="1270535" y="-745959"/>
                    <a:chExt cx="526983" cy="481264"/>
                  </a:xfrm>
                </p:grpSpPr>
                <p:cxnSp>
                  <p:nvCxnSpPr>
                    <p:cNvPr id="48" name="Rechte verbindingslijn 47">
                      <a:extLst>
                        <a:ext uri="{FF2B5EF4-FFF2-40B4-BE49-F238E27FC236}">
                          <a16:creationId xmlns:a16="http://schemas.microsoft.com/office/drawing/2014/main" id="{C7CD14CC-FA2C-485A-84EB-8AA2590B2D79}"/>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a:extLst>
                        <a:ext uri="{FF2B5EF4-FFF2-40B4-BE49-F238E27FC236}">
                          <a16:creationId xmlns:a16="http://schemas.microsoft.com/office/drawing/2014/main" id="{3621BBE7-AA1F-4CD6-9C5B-D30024EF820D}"/>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a:extLst>
                        <a:ext uri="{FF2B5EF4-FFF2-40B4-BE49-F238E27FC236}">
                          <a16:creationId xmlns:a16="http://schemas.microsoft.com/office/drawing/2014/main" id="{DF1696E6-8D40-4048-AA43-9B5947D3411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A8BBB0C8-E12A-451D-898A-CEA548F5B6E2}"/>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36" name="Rechte verbindingslijn 35">
                  <a:extLst>
                    <a:ext uri="{FF2B5EF4-FFF2-40B4-BE49-F238E27FC236}">
                      <a16:creationId xmlns:a16="http://schemas.microsoft.com/office/drawing/2014/main" id="{12D9522D-DD1E-40DC-9A9C-928475AA845D}"/>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37" name="Rechte verbindingslijn 36">
                  <a:extLst>
                    <a:ext uri="{FF2B5EF4-FFF2-40B4-BE49-F238E27FC236}">
                      <a16:creationId xmlns:a16="http://schemas.microsoft.com/office/drawing/2014/main" id="{1CD22304-8B0A-41FB-AF49-273AEA994EF7}"/>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DD7EEDE8-F943-49D9-BC20-09AF77C06F7A}"/>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EEFF026C-508B-4831-AEC7-803707C2BF4E}"/>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40" name="Rechthoek 39">
                  <a:extLst>
                    <a:ext uri="{FF2B5EF4-FFF2-40B4-BE49-F238E27FC236}">
                      <a16:creationId xmlns:a16="http://schemas.microsoft.com/office/drawing/2014/main" id="{0200F47B-164B-489E-A8AF-9348CB9437A0}"/>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nvGrpSpPr>
                <p:cNvPr id="41" name="Groep 40">
                  <a:extLst>
                    <a:ext uri="{FF2B5EF4-FFF2-40B4-BE49-F238E27FC236}">
                      <a16:creationId xmlns:a16="http://schemas.microsoft.com/office/drawing/2014/main" id="{74825809-3BB9-410A-A617-A24610E3A9D8}"/>
                    </a:ext>
                  </a:extLst>
                </p:cNvPr>
                <p:cNvGrpSpPr/>
                <p:nvPr userDrawn="1"/>
              </p:nvGrpSpPr>
              <p:grpSpPr>
                <a:xfrm rot="2700000">
                  <a:off x="-3158000" y="3650045"/>
                  <a:ext cx="34350" cy="147351"/>
                  <a:chOff x="3148392" y="-836646"/>
                  <a:chExt cx="132124" cy="596095"/>
                </a:xfrm>
                <a:solidFill>
                  <a:srgbClr val="3399FF"/>
                </a:solidFill>
              </p:grpSpPr>
              <p:sp>
                <p:nvSpPr>
                  <p:cNvPr id="42" name="Rechthoek 41">
                    <a:extLst>
                      <a:ext uri="{FF2B5EF4-FFF2-40B4-BE49-F238E27FC236}">
                        <a16:creationId xmlns:a16="http://schemas.microsoft.com/office/drawing/2014/main" id="{92095A4A-FA24-4830-B6EB-38F0CAF92F4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sp>
                <p:nvSpPr>
                  <p:cNvPr id="43" name="Rechthoek: afgeronde bovenhoeken 42">
                    <a:extLst>
                      <a:ext uri="{FF2B5EF4-FFF2-40B4-BE49-F238E27FC236}">
                        <a16:creationId xmlns:a16="http://schemas.microsoft.com/office/drawing/2014/main" id="{5CA1353A-8E47-4EF5-A956-3D85E6AC0D03}"/>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sp>
                <p:nvSpPr>
                  <p:cNvPr id="44" name="Gelijkbenige driehoek 43">
                    <a:extLst>
                      <a:ext uri="{FF2B5EF4-FFF2-40B4-BE49-F238E27FC236}">
                        <a16:creationId xmlns:a16="http://schemas.microsoft.com/office/drawing/2014/main" id="{1615F9A7-1641-4BEF-A107-F0DFBCE6A3B3}"/>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grpSp>
        </p:grpSp>
        <p:sp>
          <p:nvSpPr>
            <p:cNvPr id="11" name="Rechthoek 10">
              <a:extLst>
                <a:ext uri="{FF2B5EF4-FFF2-40B4-BE49-F238E27FC236}">
                  <a16:creationId xmlns:a16="http://schemas.microsoft.com/office/drawing/2014/main" id="{94A503D9-8507-421E-8677-44E9A8B11855}"/>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Insert/edit A Chart</a:t>
              </a:r>
            </a:p>
          </p:txBody>
        </p:sp>
        <p:sp>
          <p:nvSpPr>
            <p:cNvPr id="12" name="Ovaal 11">
              <a:extLst>
                <a:ext uri="{FF2B5EF4-FFF2-40B4-BE49-F238E27FC236}">
                  <a16:creationId xmlns:a16="http://schemas.microsoft.com/office/drawing/2014/main" id="{BFB1A5C2-6EF8-488F-8497-F8564447042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4" name="Rechthoek 13">
              <a:extLst>
                <a:ext uri="{FF2B5EF4-FFF2-40B4-BE49-F238E27FC236}">
                  <a16:creationId xmlns:a16="http://schemas.microsoft.com/office/drawing/2014/main" id="{96DDE66F-D859-48BE-B24F-976962E66976}"/>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Ovaal 14">
              <a:extLst>
                <a:ext uri="{FF2B5EF4-FFF2-40B4-BE49-F238E27FC236}">
                  <a16:creationId xmlns:a16="http://schemas.microsoft.com/office/drawing/2014/main" id="{4511C6F7-9E2D-4882-9E1C-E62BBA2683CA}"/>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BA9C0F71-37E4-44C1-8C6D-AE63C807AC62}"/>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7" name="Groep 16">
              <a:extLst>
                <a:ext uri="{FF2B5EF4-FFF2-40B4-BE49-F238E27FC236}">
                  <a16:creationId xmlns:a16="http://schemas.microsoft.com/office/drawing/2014/main" id="{7356E731-7050-4A4C-9991-747D9600C8F7}"/>
                </a:ext>
              </a:extLst>
            </p:cNvPr>
            <p:cNvGrpSpPr/>
            <p:nvPr userDrawn="1"/>
          </p:nvGrpSpPr>
          <p:grpSpPr>
            <a:xfrm>
              <a:off x="-3311319" y="2164285"/>
              <a:ext cx="825500" cy="209550"/>
              <a:chOff x="13504624" y="2482850"/>
              <a:chExt cx="825500" cy="209550"/>
            </a:xfrm>
          </p:grpSpPr>
          <p:sp>
            <p:nvSpPr>
              <p:cNvPr id="24" name="Rechthoek 23">
                <a:extLst>
                  <a:ext uri="{FF2B5EF4-FFF2-40B4-BE49-F238E27FC236}">
                    <a16:creationId xmlns:a16="http://schemas.microsoft.com/office/drawing/2014/main" id="{287A1E5B-926E-471D-8E7C-74A4563DAFB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Insert</a:t>
                </a:r>
              </a:p>
            </p:txBody>
          </p:sp>
          <p:cxnSp>
            <p:nvCxnSpPr>
              <p:cNvPr id="25" name="Rechte verbindingslijn 24">
                <a:extLst>
                  <a:ext uri="{FF2B5EF4-FFF2-40B4-BE49-F238E27FC236}">
                    <a16:creationId xmlns:a16="http://schemas.microsoft.com/office/drawing/2014/main" id="{E9D29A40-5A01-45B0-8470-746603733DC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6" name="Gelijkbenige driehoek 25">
                <a:extLst>
                  <a:ext uri="{FF2B5EF4-FFF2-40B4-BE49-F238E27FC236}">
                    <a16:creationId xmlns:a16="http://schemas.microsoft.com/office/drawing/2014/main" id="{649B3B5C-1A67-46F7-862B-8082E1A63A5F}"/>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75" b="1" noProof="0">
                  <a:solidFill>
                    <a:srgbClr val="211F26"/>
                  </a:solidFill>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BFB23AC5-E2FD-4A67-86A4-1E2E1AA635D1}"/>
                </a:ext>
              </a:extLst>
            </p:cNvPr>
            <p:cNvGrpSpPr/>
            <p:nvPr userDrawn="1"/>
          </p:nvGrpSpPr>
          <p:grpSpPr>
            <a:xfrm>
              <a:off x="-3316599" y="1232480"/>
              <a:ext cx="289372" cy="314992"/>
              <a:chOff x="7322769" y="-310267"/>
              <a:chExt cx="289372" cy="314992"/>
            </a:xfrm>
          </p:grpSpPr>
          <p:sp>
            <p:nvSpPr>
              <p:cNvPr id="21" name="Rechthoek 20">
                <a:extLst>
                  <a:ext uri="{FF2B5EF4-FFF2-40B4-BE49-F238E27FC236}">
                    <a16:creationId xmlns:a16="http://schemas.microsoft.com/office/drawing/2014/main" id="{95C0E42B-2312-41D6-88BF-532979CC2D34}"/>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sp>
            <p:nvSpPr>
              <p:cNvPr id="22" name="Rechthoek 21">
                <a:extLst>
                  <a:ext uri="{FF2B5EF4-FFF2-40B4-BE49-F238E27FC236}">
                    <a16:creationId xmlns:a16="http://schemas.microsoft.com/office/drawing/2014/main" id="{48A5E1E9-03BF-4CA2-AD85-ECCBE185CDC4}"/>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sp>
            <p:nvSpPr>
              <p:cNvPr id="23" name="Rechthoek 22">
                <a:extLst>
                  <a:ext uri="{FF2B5EF4-FFF2-40B4-BE49-F238E27FC236}">
                    <a16:creationId xmlns:a16="http://schemas.microsoft.com/office/drawing/2014/main" id="{F60F3915-5A94-4CDB-A9DB-B94E0B975127}"/>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rgbClr val="211F26"/>
                  </a:solidFill>
                  <a:latin typeface="Calibri" panose="020F0502020204030204" pitchFamily="34" charset="0"/>
                  <a:cs typeface="Calibri" panose="020F0502020204030204" pitchFamily="34" charset="0"/>
                </a:endParaRPr>
              </a:p>
            </p:txBody>
          </p:sp>
        </p:grpSp>
        <p:sp>
          <p:nvSpPr>
            <p:cNvPr id="19" name="Ovaal 18">
              <a:extLst>
                <a:ext uri="{FF2B5EF4-FFF2-40B4-BE49-F238E27FC236}">
                  <a16:creationId xmlns:a16="http://schemas.microsoft.com/office/drawing/2014/main" id="{41C4AF57-7DB7-4C98-9622-7C4FAA294B26}"/>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0" name="Rechthoek 19">
              <a:extLst>
                <a:ext uri="{FF2B5EF4-FFF2-40B4-BE49-F238E27FC236}">
                  <a16:creationId xmlns:a16="http://schemas.microsoft.com/office/drawing/2014/main" id="{0D2AB07C-710B-4A14-848D-C4B1753E6211}"/>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t>
              </a:r>
            </a:p>
          </p:txBody>
        </p:sp>
      </p:grpSp>
      <p:sp>
        <p:nvSpPr>
          <p:cNvPr id="55" name="Tijdelijke aanduiding voor dianummer 5">
            <a:extLst>
              <a:ext uri="{FF2B5EF4-FFF2-40B4-BE49-F238E27FC236}">
                <a16:creationId xmlns:a16="http://schemas.microsoft.com/office/drawing/2014/main" id="{C4FF95CB-174E-4672-A004-9B7F1F0FA772}"/>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56" name="INSTRUCTION">
            <a:extLst>
              <a:ext uri="{FF2B5EF4-FFF2-40B4-BE49-F238E27FC236}">
                <a16:creationId xmlns:a16="http://schemas.microsoft.com/office/drawing/2014/main" id="{506E82AE-EBDC-40D2-A570-052AF5607544}"/>
              </a:ext>
            </a:extLst>
          </p:cNvPr>
          <p:cNvGrpSpPr/>
          <p:nvPr userDrawn="1"/>
        </p:nvGrpSpPr>
        <p:grpSpPr>
          <a:xfrm>
            <a:off x="4384" y="5274908"/>
            <a:ext cx="2795966" cy="1183043"/>
            <a:chOff x="5846" y="7033211"/>
            <a:chExt cx="3727954" cy="1577390"/>
          </a:xfrm>
        </p:grpSpPr>
        <p:sp>
          <p:nvSpPr>
            <p:cNvPr id="57" name="Rechthoek 56">
              <a:extLst>
                <a:ext uri="{FF2B5EF4-FFF2-40B4-BE49-F238E27FC236}">
                  <a16:creationId xmlns:a16="http://schemas.microsoft.com/office/drawing/2014/main" id="{F00E8FDD-3C4A-4DB8-AD3F-AF2728726090}"/>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58" name="Ovaal 57">
              <a:extLst>
                <a:ext uri="{FF2B5EF4-FFF2-40B4-BE49-F238E27FC236}">
                  <a16:creationId xmlns:a16="http://schemas.microsoft.com/office/drawing/2014/main" id="{808A73B1-C779-4F58-8DBC-1E8DCA4D7997}"/>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59" name="Rechthoek 58">
              <a:extLst>
                <a:ext uri="{FF2B5EF4-FFF2-40B4-BE49-F238E27FC236}">
                  <a16:creationId xmlns:a16="http://schemas.microsoft.com/office/drawing/2014/main" id="{92890DEE-7539-4280-88A0-C0C8AAF4151D}"/>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60" name="Ovaal 59">
              <a:extLst>
                <a:ext uri="{FF2B5EF4-FFF2-40B4-BE49-F238E27FC236}">
                  <a16:creationId xmlns:a16="http://schemas.microsoft.com/office/drawing/2014/main" id="{DEB43F4D-567B-4FD9-AA74-DFF81CB7CCBE}"/>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61" name="Rechthoek 60">
              <a:extLst>
                <a:ext uri="{FF2B5EF4-FFF2-40B4-BE49-F238E27FC236}">
                  <a16:creationId xmlns:a16="http://schemas.microsoft.com/office/drawing/2014/main" id="{038E218F-3EC7-4327-ABC4-2CE25AF7BDE2}"/>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62" name="Groep 61">
              <a:extLst>
                <a:ext uri="{FF2B5EF4-FFF2-40B4-BE49-F238E27FC236}">
                  <a16:creationId xmlns:a16="http://schemas.microsoft.com/office/drawing/2014/main" id="{EEA4B543-639F-4451-8243-5530AB8139C8}"/>
                </a:ext>
              </a:extLst>
            </p:cNvPr>
            <p:cNvGrpSpPr/>
            <p:nvPr userDrawn="1"/>
          </p:nvGrpSpPr>
          <p:grpSpPr>
            <a:xfrm>
              <a:off x="2939884" y="7739834"/>
              <a:ext cx="681133" cy="750023"/>
              <a:chOff x="-910573" y="4987990"/>
              <a:chExt cx="681133" cy="750023"/>
            </a:xfrm>
          </p:grpSpPr>
          <p:grpSp>
            <p:nvGrpSpPr>
              <p:cNvPr id="63" name="Groep 62">
                <a:extLst>
                  <a:ext uri="{FF2B5EF4-FFF2-40B4-BE49-F238E27FC236}">
                    <a16:creationId xmlns:a16="http://schemas.microsoft.com/office/drawing/2014/main" id="{18C8FA3C-3516-457E-B27A-3A3DE41F2CCA}"/>
                  </a:ext>
                </a:extLst>
              </p:cNvPr>
              <p:cNvGrpSpPr/>
              <p:nvPr userDrawn="1"/>
            </p:nvGrpSpPr>
            <p:grpSpPr>
              <a:xfrm>
                <a:off x="-713542" y="4987990"/>
                <a:ext cx="287071" cy="379107"/>
                <a:chOff x="-4050578" y="288410"/>
                <a:chExt cx="322125" cy="379107"/>
              </a:xfrm>
            </p:grpSpPr>
            <p:sp>
              <p:nvSpPr>
                <p:cNvPr id="65" name="Rechthoek met één afgeknipte en afgeronde hoek 47">
                  <a:extLst>
                    <a:ext uri="{FF2B5EF4-FFF2-40B4-BE49-F238E27FC236}">
                      <a16:creationId xmlns:a16="http://schemas.microsoft.com/office/drawing/2014/main" id="{EB40C5CC-4CC9-49BF-B43F-78F7D5BB522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66" name="Rechthoekige driehoek 65">
                  <a:extLst>
                    <a:ext uri="{FF2B5EF4-FFF2-40B4-BE49-F238E27FC236}">
                      <a16:creationId xmlns:a16="http://schemas.microsoft.com/office/drawing/2014/main" id="{A9619EC3-13B0-4ED6-9779-27344D9686CE}"/>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68" name="Rechthoek 67">
                  <a:extLst>
                    <a:ext uri="{FF2B5EF4-FFF2-40B4-BE49-F238E27FC236}">
                      <a16:creationId xmlns:a16="http://schemas.microsoft.com/office/drawing/2014/main" id="{C834FCB1-968D-4EE3-8F07-A481E3CF6E3A}"/>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69" name="Rechthoek 68">
                  <a:extLst>
                    <a:ext uri="{FF2B5EF4-FFF2-40B4-BE49-F238E27FC236}">
                      <a16:creationId xmlns:a16="http://schemas.microsoft.com/office/drawing/2014/main" id="{23B8FB9A-FEA5-4274-830E-516A8D4B2322}"/>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64" name="Rechthoek 63">
                <a:extLst>
                  <a:ext uri="{FF2B5EF4-FFF2-40B4-BE49-F238E27FC236}">
                    <a16:creationId xmlns:a16="http://schemas.microsoft.com/office/drawing/2014/main" id="{0B9CE1E3-C97D-44DF-BAC3-9686067BDF79}"/>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414492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 TABLE, 50% TEXT">
    <p:spTree>
      <p:nvGrpSpPr>
        <p:cNvPr id="1" name=""/>
        <p:cNvGrpSpPr/>
        <p:nvPr/>
      </p:nvGrpSpPr>
      <p:grpSpPr>
        <a:xfrm>
          <a:off x="0" y="0"/>
          <a:ext cx="0" cy="0"/>
          <a:chOff x="0" y="0"/>
          <a:chExt cx="0" cy="0"/>
        </a:xfrm>
      </p:grpSpPr>
      <p:sp>
        <p:nvSpPr>
          <p:cNvPr id="11" name="Tijdelijke aanduiding voor tabel 8"/>
          <p:cNvSpPr>
            <a:spLocks noGrp="1"/>
          </p:cNvSpPr>
          <p:nvPr>
            <p:ph type="tbl" sz="quarter" idx="15" hasCustomPrompt="1"/>
          </p:nvPr>
        </p:nvSpPr>
        <p:spPr>
          <a:xfrm>
            <a:off x="4706593" y="1596577"/>
            <a:ext cx="3896863" cy="2671892"/>
          </a:xfrm>
        </p:spPr>
        <p:txBody>
          <a:bodyPr bIns="1620000" anchor="ctr"/>
          <a:lstStyle>
            <a:lvl1pPr marL="0" indent="0" algn="ctr">
              <a:lnSpc>
                <a:spcPct val="90000"/>
              </a:lnSpc>
              <a:spcBef>
                <a:spcPts val="0"/>
              </a:spcBef>
              <a:spcAft>
                <a:spcPts val="0"/>
              </a:spcAft>
              <a:buNone/>
              <a:defRPr sz="1125" i="1">
                <a:solidFill>
                  <a:schemeClr val="tx1">
                    <a:lumMod val="50000"/>
                    <a:lumOff val="50000"/>
                  </a:schemeClr>
                </a:solidFill>
              </a:defRPr>
            </a:lvl1pPr>
          </a:lstStyle>
          <a:p>
            <a:r>
              <a:rPr lang="en-US"/>
              <a:t>Click the icon below </a:t>
            </a:r>
            <a:br>
              <a:rPr lang="en-US"/>
            </a:br>
            <a:r>
              <a:rPr lang="en-US"/>
              <a:t>to add a table.</a:t>
            </a:r>
          </a:p>
        </p:txBody>
      </p:sp>
      <p:sp>
        <p:nvSpPr>
          <p:cNvPr id="202" name="Tekstvak 201">
            <a:extLst>
              <a:ext uri="{FF2B5EF4-FFF2-40B4-BE49-F238E27FC236}">
                <a16:creationId xmlns:a16="http://schemas.microsoft.com/office/drawing/2014/main" id="{4B703060-4FCA-4D78-8852-B4821CA735FB}"/>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Text and table</a:t>
            </a:r>
          </a:p>
        </p:txBody>
      </p:sp>
      <p:sp>
        <p:nvSpPr>
          <p:cNvPr id="8" name="Titel 7">
            <a:extLst>
              <a:ext uri="{FF2B5EF4-FFF2-40B4-BE49-F238E27FC236}">
                <a16:creationId xmlns:a16="http://schemas.microsoft.com/office/drawing/2014/main" id="{7C233064-515F-4BF1-92B0-F07F82431D42}"/>
              </a:ext>
            </a:extLst>
          </p:cNvPr>
          <p:cNvSpPr>
            <a:spLocks noGrp="1"/>
          </p:cNvSpPr>
          <p:nvPr>
            <p:ph type="title" hasCustomPrompt="1"/>
          </p:nvPr>
        </p:nvSpPr>
        <p:spPr>
          <a:xfrm>
            <a:off x="523875" y="435769"/>
            <a:ext cx="8079581" cy="516848"/>
          </a:xfrm>
        </p:spPr>
        <p:txBody>
          <a:bodyPr/>
          <a:lstStyle/>
          <a:p>
            <a:r>
              <a:rPr lang="en-US" noProof="0"/>
              <a:t>Add a slide title, </a:t>
            </a:r>
            <a:br>
              <a:rPr lang="en-US" noProof="0"/>
            </a:br>
            <a:r>
              <a:rPr lang="en-US" noProof="0"/>
              <a:t>max.2 lines</a:t>
            </a:r>
            <a:endParaRPr lang="en-US"/>
          </a:p>
        </p:txBody>
      </p:sp>
      <p:sp>
        <p:nvSpPr>
          <p:cNvPr id="203" name="Tijdelijke aanduiding voor verticale tekst 2">
            <a:extLst>
              <a:ext uri="{FF2B5EF4-FFF2-40B4-BE49-F238E27FC236}">
                <a16:creationId xmlns:a16="http://schemas.microsoft.com/office/drawing/2014/main" id="{DEA60144-24BB-49A9-95CE-B48D14F0CF8B}"/>
              </a:ext>
            </a:extLst>
          </p:cNvPr>
          <p:cNvSpPr>
            <a:spLocks noGrp="1"/>
          </p:cNvSpPr>
          <p:nvPr>
            <p:ph type="body" orient="vert" idx="1" hasCustomPrompt="1"/>
          </p:nvPr>
        </p:nvSpPr>
        <p:spPr>
          <a:xfrm>
            <a:off x="523875" y="1598846"/>
            <a:ext cx="3913532" cy="2669623"/>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Bullet</a:t>
            </a:r>
          </a:p>
          <a:p>
            <a:pPr lvl="1"/>
            <a:r>
              <a:rPr lang="en-US" noProof="0"/>
              <a:t>Sub-bullet</a:t>
            </a:r>
          </a:p>
          <a:p>
            <a:pPr lvl="2"/>
            <a:r>
              <a:rPr lang="en-US" noProof="0"/>
              <a:t>Default text</a:t>
            </a:r>
          </a:p>
          <a:p>
            <a:pPr lvl="3"/>
            <a:r>
              <a:rPr lang="en-US" noProof="0"/>
              <a:t>Subtitle</a:t>
            </a:r>
          </a:p>
          <a:p>
            <a:pPr lvl="4"/>
            <a:r>
              <a:rPr lang="en-US" noProof="0"/>
              <a:t>Numerical bullet</a:t>
            </a:r>
          </a:p>
          <a:p>
            <a:pPr lvl="5"/>
            <a:r>
              <a:rPr lang="en-US" noProof="0"/>
              <a:t>Bullet</a:t>
            </a:r>
          </a:p>
          <a:p>
            <a:pPr lvl="6"/>
            <a:r>
              <a:rPr lang="en-US" noProof="0"/>
              <a:t>Sub-bullet</a:t>
            </a:r>
          </a:p>
          <a:p>
            <a:pPr lvl="7"/>
            <a:r>
              <a:rPr lang="en-US" noProof="0"/>
              <a:t>Default text</a:t>
            </a:r>
          </a:p>
          <a:p>
            <a:pPr lvl="8"/>
            <a:r>
              <a:rPr lang="en-US" noProof="0"/>
              <a:t>Subtitle</a:t>
            </a:r>
          </a:p>
        </p:txBody>
      </p:sp>
      <p:grpSp>
        <p:nvGrpSpPr>
          <p:cNvPr id="208" name="Groep 207">
            <a:extLst>
              <a:ext uri="{FF2B5EF4-FFF2-40B4-BE49-F238E27FC236}">
                <a16:creationId xmlns:a16="http://schemas.microsoft.com/office/drawing/2014/main" id="{B9CD2490-2336-4D3B-82A8-A40B903A6530}"/>
              </a:ext>
            </a:extLst>
          </p:cNvPr>
          <p:cNvGrpSpPr/>
          <p:nvPr userDrawn="1"/>
        </p:nvGrpSpPr>
        <p:grpSpPr>
          <a:xfrm>
            <a:off x="-2839623" y="0"/>
            <a:ext cx="2694818" cy="3481004"/>
            <a:chOff x="-3786165" y="0"/>
            <a:chExt cx="3593091" cy="4641338"/>
          </a:xfrm>
        </p:grpSpPr>
        <p:sp>
          <p:nvSpPr>
            <p:cNvPr id="209" name="Rechthoek 208">
              <a:extLst>
                <a:ext uri="{FF2B5EF4-FFF2-40B4-BE49-F238E27FC236}">
                  <a16:creationId xmlns:a16="http://schemas.microsoft.com/office/drawing/2014/main" id="{B3949ED6-B3CD-4558-8560-B042EA7B65F1}"/>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210" name="Ovaal 209">
              <a:extLst>
                <a:ext uri="{FF2B5EF4-FFF2-40B4-BE49-F238E27FC236}">
                  <a16:creationId xmlns:a16="http://schemas.microsoft.com/office/drawing/2014/main" id="{6161EB5E-7E1D-4245-9E3B-BACFB7000232}"/>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11" name="Rechthoek 210">
              <a:extLst>
                <a:ext uri="{FF2B5EF4-FFF2-40B4-BE49-F238E27FC236}">
                  <a16:creationId xmlns:a16="http://schemas.microsoft.com/office/drawing/2014/main" id="{0F179D49-2C5A-4F80-865D-9E30AECE57E3}"/>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sp>
          <p:nvSpPr>
            <p:cNvPr id="212" name="Ovaal 211">
              <a:extLst>
                <a:ext uri="{FF2B5EF4-FFF2-40B4-BE49-F238E27FC236}">
                  <a16:creationId xmlns:a16="http://schemas.microsoft.com/office/drawing/2014/main" id="{47ECED15-A5B0-4FE4-83C5-57E2FB367157}"/>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13" name="Rechthoek 212">
              <a:extLst>
                <a:ext uri="{FF2B5EF4-FFF2-40B4-BE49-F238E27FC236}">
                  <a16:creationId xmlns:a16="http://schemas.microsoft.com/office/drawing/2014/main" id="{3CCC5D9D-3769-4F64-8835-7BA47D214660}"/>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14" name="Rechthoek 213">
              <a:extLst>
                <a:ext uri="{FF2B5EF4-FFF2-40B4-BE49-F238E27FC236}">
                  <a16:creationId xmlns:a16="http://schemas.microsoft.com/office/drawing/2014/main" id="{93FACAB3-9B27-4724-A7A7-F6BEE82107FC}"/>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215" name="Ovaal 214">
              <a:extLst>
                <a:ext uri="{FF2B5EF4-FFF2-40B4-BE49-F238E27FC236}">
                  <a16:creationId xmlns:a16="http://schemas.microsoft.com/office/drawing/2014/main" id="{F2ACBB3D-FBA8-43AE-8532-7A219B09AAC1}"/>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16" name="Rechthoek 215">
              <a:extLst>
                <a:ext uri="{FF2B5EF4-FFF2-40B4-BE49-F238E27FC236}">
                  <a16:creationId xmlns:a16="http://schemas.microsoft.com/office/drawing/2014/main" id="{69AA0690-A141-424B-A839-5EA2A1288929}"/>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217" name="Ovaal 216">
              <a:extLst>
                <a:ext uri="{FF2B5EF4-FFF2-40B4-BE49-F238E27FC236}">
                  <a16:creationId xmlns:a16="http://schemas.microsoft.com/office/drawing/2014/main" id="{5698069D-3300-424E-9C42-C0CA28ABADAE}"/>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18" name="Rechthoek 217">
              <a:extLst>
                <a:ext uri="{FF2B5EF4-FFF2-40B4-BE49-F238E27FC236}">
                  <a16:creationId xmlns:a16="http://schemas.microsoft.com/office/drawing/2014/main" id="{6FC7A256-E73C-4E6D-9225-10B6E5AD3972}"/>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chemeClr val="accent1"/>
                </a:buClr>
                <a:buSzTx/>
                <a:buFont typeface="Arial" panose="020B0604020202020204" pitchFamily="34" charset="0"/>
                <a:buNone/>
                <a:tabLst/>
                <a:defRPr/>
              </a:pPr>
              <a:r>
                <a:rPr lang="en-US" sz="1200" b="1" kern="1200" cap="none" spc="23" baseline="0" noProof="0">
                  <a:solidFill>
                    <a:schemeClr val="tx2">
                      <a:lumMod val="50000"/>
                    </a:schemeClr>
                  </a:solidFill>
                  <a:latin typeface="+mj-lt"/>
                  <a:ea typeface="+mn-ea"/>
                  <a:cs typeface="Calibri" panose="020F0502020204030204" pitchFamily="34" charset="0"/>
                </a:rPr>
                <a:t>Subtitle</a:t>
              </a:r>
            </a:p>
          </p:txBody>
        </p:sp>
        <p:sp>
          <p:nvSpPr>
            <p:cNvPr id="219" name="Ovaal 218">
              <a:extLst>
                <a:ext uri="{FF2B5EF4-FFF2-40B4-BE49-F238E27FC236}">
                  <a16:creationId xmlns:a16="http://schemas.microsoft.com/office/drawing/2014/main" id="{C352A9BC-AD87-4942-9C13-78BB620B1564}"/>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0" name="Rechthoek 219">
              <a:extLst>
                <a:ext uri="{FF2B5EF4-FFF2-40B4-BE49-F238E27FC236}">
                  <a16:creationId xmlns:a16="http://schemas.microsoft.com/office/drawing/2014/main" id="{EA4B43E8-7477-4D04-A27A-0570FCBBE8F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03597" marR="0" lvl="4" indent="-203597" algn="l" defTabSz="539354" rtl="0" eaLnBrk="1" fontAlgn="auto" latinLnBrk="0" hangingPunct="1">
                <a:lnSpc>
                  <a:spcPct val="100000"/>
                </a:lnSpc>
                <a:spcBef>
                  <a:spcPts val="225"/>
                </a:spcBef>
                <a:spcAft>
                  <a:spcPts val="450"/>
                </a:spcAft>
                <a:buClr>
                  <a:srgbClr val="3F3F3F"/>
                </a:buClr>
                <a:buSzTx/>
                <a:buFont typeface="+mj-lt"/>
                <a:buAutoNum type="arabicPeriod"/>
                <a:tabLst/>
                <a:defRPr/>
              </a:pPr>
              <a:r>
                <a:rPr kumimoji="0" lang="en-US" sz="900" b="0" i="0" u="none" strike="noStrike" kern="1200" cap="none" spc="0" normalizeH="0" baseline="0" noProof="0">
                  <a:ln>
                    <a:noFill/>
                  </a:ln>
                  <a:solidFill>
                    <a:schemeClr val="tx2">
                      <a:lumMod val="50000"/>
                    </a:schemeClr>
                  </a:solidFill>
                  <a:effectLst/>
                  <a:uLnTx/>
                  <a:uFillTx/>
                  <a:latin typeface="+mn-lt"/>
                  <a:ea typeface="+mn-ea"/>
                  <a:cs typeface="+mn-cs"/>
                </a:rPr>
                <a:t>Numerical bullet</a:t>
              </a:r>
            </a:p>
          </p:txBody>
        </p:sp>
        <p:sp>
          <p:nvSpPr>
            <p:cNvPr id="221" name="Ovaal 220">
              <a:extLst>
                <a:ext uri="{FF2B5EF4-FFF2-40B4-BE49-F238E27FC236}">
                  <a16:creationId xmlns:a16="http://schemas.microsoft.com/office/drawing/2014/main" id="{3F450D51-8DB7-4701-9998-F436E4DCA230}"/>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22" name="Rechthoek 221">
              <a:extLst>
                <a:ext uri="{FF2B5EF4-FFF2-40B4-BE49-F238E27FC236}">
                  <a16:creationId xmlns:a16="http://schemas.microsoft.com/office/drawing/2014/main" id="{E07452B1-E54A-48A8-A324-C91F08D1B8CE}"/>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3616" marR="0" lvl="1" indent="-190500" algn="l" defTabSz="539354" rtl="0" eaLnBrk="1" fontAlgn="auto" latinLnBrk="0" hangingPunct="1">
                <a:lnSpc>
                  <a:spcPct val="100000"/>
                </a:lnSpc>
                <a:spcBef>
                  <a:spcPts val="225"/>
                </a:spcBef>
                <a:spcAft>
                  <a:spcPts val="450"/>
                </a:spcAft>
                <a:buClr>
                  <a:srgbClr val="3F3F3F"/>
                </a:buClr>
                <a:buSzPct val="100000"/>
                <a:buFont typeface="Calibri Light" panose="020F030202020403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Sub-bullet</a:t>
              </a:r>
            </a:p>
          </p:txBody>
        </p:sp>
        <p:sp>
          <p:nvSpPr>
            <p:cNvPr id="223" name="Ovaal 222">
              <a:extLst>
                <a:ext uri="{FF2B5EF4-FFF2-40B4-BE49-F238E27FC236}">
                  <a16:creationId xmlns:a16="http://schemas.microsoft.com/office/drawing/2014/main" id="{A78841F4-570C-452A-98A4-B1461A805558}"/>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24" name="Rechthoek 223">
              <a:extLst>
                <a:ext uri="{FF2B5EF4-FFF2-40B4-BE49-F238E27FC236}">
                  <a16:creationId xmlns:a16="http://schemas.microsoft.com/office/drawing/2014/main" id="{9256FF63-6488-4858-AAD6-61C93A325D6D}"/>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2" indent="0" algn="l" defTabSz="539354" rtl="0" eaLnBrk="1" fontAlgn="auto" latinLnBrk="0" hangingPunct="1">
                <a:lnSpc>
                  <a:spcPct val="100000"/>
                </a:lnSpc>
                <a:spcBef>
                  <a:spcPts val="225"/>
                </a:spcBef>
                <a:spcAft>
                  <a:spcPts val="450"/>
                </a:spcAft>
                <a:buClr>
                  <a:srgbClr val="0070C0"/>
                </a:buClr>
                <a:buSzPct val="85000"/>
                <a:buFont typeface="Arial" panose="020B0604020202020204" pitchFamily="34" charset="0"/>
                <a:buNone/>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Default text</a:t>
              </a:r>
            </a:p>
          </p:txBody>
        </p:sp>
        <p:sp>
          <p:nvSpPr>
            <p:cNvPr id="225" name="Ovaal 224">
              <a:extLst>
                <a:ext uri="{FF2B5EF4-FFF2-40B4-BE49-F238E27FC236}">
                  <a16:creationId xmlns:a16="http://schemas.microsoft.com/office/drawing/2014/main" id="{1117C3F4-9EB2-430E-886D-75BCD59D1F3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26" name="Rechthoek 225">
              <a:extLst>
                <a:ext uri="{FF2B5EF4-FFF2-40B4-BE49-F238E27FC236}">
                  <a16:creationId xmlns:a16="http://schemas.microsoft.com/office/drawing/2014/main" id="{8BAD187E-5240-440E-8DB9-7DA6BDDC9999}"/>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539354" rtl="0" eaLnBrk="1" fontAlgn="auto" latinLnBrk="0" hangingPunct="1">
                <a:lnSpc>
                  <a:spcPct val="100000"/>
                </a:lnSpc>
                <a:spcBef>
                  <a:spcPts val="225"/>
                </a:spcBef>
                <a:spcAft>
                  <a:spcPts val="900"/>
                </a:spcAft>
                <a:buClr>
                  <a:srgbClr val="04A64B"/>
                </a:buClr>
                <a:buSzTx/>
                <a:buFont typeface="Arial" panose="020B0604020202020204" pitchFamily="34" charset="0"/>
                <a:buNone/>
                <a:tabLst/>
                <a:defRPr/>
              </a:pPr>
              <a:r>
                <a:rPr kumimoji="0" lang="en-US" sz="1200" b="1" i="0" u="none" strike="noStrike" kern="1200" cap="none" spc="23" normalizeH="0" baseline="0" noProof="0">
                  <a:ln>
                    <a:noFill/>
                  </a:ln>
                  <a:solidFill>
                    <a:srgbClr val="3F3F3F">
                      <a:lumMod val="50000"/>
                    </a:srgbClr>
                  </a:solidFill>
                  <a:effectLst/>
                  <a:uLnTx/>
                  <a:uFillTx/>
                  <a:latin typeface="+mn-lt"/>
                  <a:ea typeface="+mn-ea"/>
                  <a:cs typeface="Calibri" panose="020F0502020204030204" pitchFamily="34" charset="0"/>
                </a:rPr>
                <a:t>Subtitle</a:t>
              </a:r>
            </a:p>
          </p:txBody>
        </p:sp>
        <p:sp>
          <p:nvSpPr>
            <p:cNvPr id="227" name="Ovaal 226">
              <a:extLst>
                <a:ext uri="{FF2B5EF4-FFF2-40B4-BE49-F238E27FC236}">
                  <a16:creationId xmlns:a16="http://schemas.microsoft.com/office/drawing/2014/main" id="{FB951C35-B0ED-47A7-A782-04835A16F172}"/>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28" name="Rechthoek 227">
              <a:extLst>
                <a:ext uri="{FF2B5EF4-FFF2-40B4-BE49-F238E27FC236}">
                  <a16:creationId xmlns:a16="http://schemas.microsoft.com/office/drawing/2014/main" id="{2A7FB3D1-FF20-48D4-BE8C-A5F47027FC59}"/>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163116" marR="0" lvl="5" indent="-163116" algn="l" defTabSz="685800" rtl="0" eaLnBrk="1" fontAlgn="auto" latinLnBrk="0" hangingPunct="1">
                <a:lnSpc>
                  <a:spcPct val="100000"/>
                </a:lnSpc>
                <a:spcBef>
                  <a:spcPts val="225"/>
                </a:spcBef>
                <a:spcAft>
                  <a:spcPts val="450"/>
                </a:spcAft>
                <a:buClr>
                  <a:srgbClr val="3F3F3F">
                    <a:lumMod val="50000"/>
                  </a:srgbClr>
                </a:buClr>
                <a:buSzTx/>
                <a:buFont typeface="Arial" panose="020B0604020202020204" pitchFamily="34" charset="0"/>
                <a:buChar char="•"/>
                <a:tabLst/>
                <a:defRPr/>
              </a:pPr>
              <a:r>
                <a:rPr kumimoji="0" lang="en-US" sz="900" b="0" i="0" u="none" strike="noStrike" kern="1200" cap="none" spc="0" normalizeH="0" baseline="0" noProof="0">
                  <a:ln>
                    <a:noFill/>
                  </a:ln>
                  <a:solidFill>
                    <a:srgbClr val="3F3F3F">
                      <a:lumMod val="50000"/>
                    </a:srgbClr>
                  </a:solidFill>
                  <a:effectLst/>
                  <a:uLnTx/>
                  <a:uFillTx/>
                  <a:latin typeface="+mn-lt"/>
                  <a:ea typeface="+mn-ea"/>
                  <a:cs typeface="+mn-cs"/>
                </a:rPr>
                <a:t>Bullet</a:t>
              </a:r>
            </a:p>
          </p:txBody>
        </p:sp>
        <p:grpSp>
          <p:nvGrpSpPr>
            <p:cNvPr id="229" name="VOORBEELD">
              <a:extLst>
                <a:ext uri="{FF2B5EF4-FFF2-40B4-BE49-F238E27FC236}">
                  <a16:creationId xmlns:a16="http://schemas.microsoft.com/office/drawing/2014/main" id="{E91B1DD1-13CE-4C25-AED4-C2A02925882C}"/>
                </a:ext>
              </a:extLst>
            </p:cNvPr>
            <p:cNvGrpSpPr/>
            <p:nvPr userDrawn="1"/>
          </p:nvGrpSpPr>
          <p:grpSpPr>
            <a:xfrm>
              <a:off x="-3605171" y="458674"/>
              <a:ext cx="3234311" cy="558875"/>
              <a:chOff x="-3605171" y="458674"/>
              <a:chExt cx="3234311" cy="558875"/>
            </a:xfrm>
          </p:grpSpPr>
          <p:sp>
            <p:nvSpPr>
              <p:cNvPr id="230" name="Rechthoek 229">
                <a:extLst>
                  <a:ext uri="{FF2B5EF4-FFF2-40B4-BE49-F238E27FC236}">
                    <a16:creationId xmlns:a16="http://schemas.microsoft.com/office/drawing/2014/main" id="{D15A5825-2C6E-4992-B6DD-333279D34268}"/>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675" b="1" noProof="0">
                    <a:solidFill>
                      <a:srgbClr val="211F26"/>
                    </a:solidFill>
                    <a:latin typeface="Calibri" panose="020F0502020204030204" pitchFamily="34" charset="0"/>
                    <a:cs typeface="Calibri" panose="020F0502020204030204" pitchFamily="34" charset="0"/>
                  </a:rPr>
                  <a:t>Home</a:t>
                </a:r>
              </a:p>
            </p:txBody>
          </p:sp>
          <p:sp>
            <p:nvSpPr>
              <p:cNvPr id="231" name="Rechthoek 230">
                <a:extLst>
                  <a:ext uri="{FF2B5EF4-FFF2-40B4-BE49-F238E27FC236}">
                    <a16:creationId xmlns:a16="http://schemas.microsoft.com/office/drawing/2014/main" id="{AB3214D8-FCF8-4641-A125-711E6F017CF5}"/>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nvGrpSpPr>
              <p:cNvPr id="232" name="Groep 231">
                <a:extLst>
                  <a:ext uri="{FF2B5EF4-FFF2-40B4-BE49-F238E27FC236}">
                    <a16:creationId xmlns:a16="http://schemas.microsoft.com/office/drawing/2014/main" id="{997D7C6F-4DA3-47CB-A241-CDCCFC6EF770}"/>
                  </a:ext>
                </a:extLst>
              </p:cNvPr>
              <p:cNvGrpSpPr/>
              <p:nvPr userDrawn="1"/>
            </p:nvGrpSpPr>
            <p:grpSpPr>
              <a:xfrm>
                <a:off x="-3386247" y="830871"/>
                <a:ext cx="139423" cy="109566"/>
                <a:chOff x="-2866744" y="827071"/>
                <a:chExt cx="168701" cy="132575"/>
              </a:xfrm>
            </p:grpSpPr>
            <p:grpSp>
              <p:nvGrpSpPr>
                <p:cNvPr id="263" name="Groep 262">
                  <a:extLst>
                    <a:ext uri="{FF2B5EF4-FFF2-40B4-BE49-F238E27FC236}">
                      <a16:creationId xmlns:a16="http://schemas.microsoft.com/office/drawing/2014/main" id="{2D2040E8-D22C-4726-B030-B8B165A84669}"/>
                    </a:ext>
                  </a:extLst>
                </p:cNvPr>
                <p:cNvGrpSpPr/>
                <p:nvPr userDrawn="1"/>
              </p:nvGrpSpPr>
              <p:grpSpPr>
                <a:xfrm>
                  <a:off x="-2866744" y="827071"/>
                  <a:ext cx="168701" cy="132575"/>
                  <a:chOff x="-2866744" y="827071"/>
                  <a:chExt cx="168701" cy="132575"/>
                </a:xfrm>
              </p:grpSpPr>
              <p:cxnSp>
                <p:nvCxnSpPr>
                  <p:cNvPr id="265" name="Rechte verbindingslijn 264">
                    <a:extLst>
                      <a:ext uri="{FF2B5EF4-FFF2-40B4-BE49-F238E27FC236}">
                        <a16:creationId xmlns:a16="http://schemas.microsoft.com/office/drawing/2014/main" id="{F56B1FED-D3BB-4EB3-AA30-8DE82F0ABA8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66" name="Rechte verbindingslijn 265">
                    <a:extLst>
                      <a:ext uri="{FF2B5EF4-FFF2-40B4-BE49-F238E27FC236}">
                        <a16:creationId xmlns:a16="http://schemas.microsoft.com/office/drawing/2014/main" id="{CAC13F86-99FC-429C-BD66-014419CBEBF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67" name="Rechte verbindingslijn 266">
                    <a:extLst>
                      <a:ext uri="{FF2B5EF4-FFF2-40B4-BE49-F238E27FC236}">
                        <a16:creationId xmlns:a16="http://schemas.microsoft.com/office/drawing/2014/main" id="{172CE801-A179-4C87-9186-64EB8BC3540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68" name="Rechte verbindingslijn 267">
                    <a:extLst>
                      <a:ext uri="{FF2B5EF4-FFF2-40B4-BE49-F238E27FC236}">
                        <a16:creationId xmlns:a16="http://schemas.microsoft.com/office/drawing/2014/main" id="{93D0D40E-710E-48FC-9016-40D6B6DC26F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69" name="Rechte verbindingslijn 268">
                    <a:extLst>
                      <a:ext uri="{FF2B5EF4-FFF2-40B4-BE49-F238E27FC236}">
                        <a16:creationId xmlns:a16="http://schemas.microsoft.com/office/drawing/2014/main" id="{9F550A4B-6EF2-4F56-87A0-FB8ECC2FF07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64" name="Pijl: rechts 263">
                  <a:extLst>
                    <a:ext uri="{FF2B5EF4-FFF2-40B4-BE49-F238E27FC236}">
                      <a16:creationId xmlns:a16="http://schemas.microsoft.com/office/drawing/2014/main" id="{DF91EE72-2A08-4072-9DB6-E462D0C5C5C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233" name="Groep 232">
                <a:extLst>
                  <a:ext uri="{FF2B5EF4-FFF2-40B4-BE49-F238E27FC236}">
                    <a16:creationId xmlns:a16="http://schemas.microsoft.com/office/drawing/2014/main" id="{08C214E3-9542-45A0-9E03-936C737739EE}"/>
                  </a:ext>
                </a:extLst>
              </p:cNvPr>
              <p:cNvGrpSpPr/>
              <p:nvPr userDrawn="1"/>
            </p:nvGrpSpPr>
            <p:grpSpPr>
              <a:xfrm>
                <a:off x="-3605171" y="830871"/>
                <a:ext cx="139423" cy="109566"/>
                <a:chOff x="-2866744" y="518074"/>
                <a:chExt cx="168701" cy="132575"/>
              </a:xfrm>
            </p:grpSpPr>
            <p:grpSp>
              <p:nvGrpSpPr>
                <p:cNvPr id="256" name="Groep 255">
                  <a:extLst>
                    <a:ext uri="{FF2B5EF4-FFF2-40B4-BE49-F238E27FC236}">
                      <a16:creationId xmlns:a16="http://schemas.microsoft.com/office/drawing/2014/main" id="{57F58A57-FE8D-46E7-843D-34C09A411384}"/>
                    </a:ext>
                  </a:extLst>
                </p:cNvPr>
                <p:cNvGrpSpPr/>
                <p:nvPr userDrawn="1"/>
              </p:nvGrpSpPr>
              <p:grpSpPr>
                <a:xfrm>
                  <a:off x="-2866744" y="518074"/>
                  <a:ext cx="168701" cy="132575"/>
                  <a:chOff x="-2866744" y="518074"/>
                  <a:chExt cx="168701" cy="132575"/>
                </a:xfrm>
              </p:grpSpPr>
              <p:cxnSp>
                <p:nvCxnSpPr>
                  <p:cNvPr id="258" name="Rechte verbindingslijn 257">
                    <a:extLst>
                      <a:ext uri="{FF2B5EF4-FFF2-40B4-BE49-F238E27FC236}">
                        <a16:creationId xmlns:a16="http://schemas.microsoft.com/office/drawing/2014/main" id="{1A08E6C0-9EC1-4B6A-946D-5F4EED467B1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59" name="Rechte verbindingslijn 258">
                    <a:extLst>
                      <a:ext uri="{FF2B5EF4-FFF2-40B4-BE49-F238E27FC236}">
                        <a16:creationId xmlns:a16="http://schemas.microsoft.com/office/drawing/2014/main" id="{94820668-9F13-45C7-9825-D3A40421D3A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60" name="Rechte verbindingslijn 259">
                    <a:extLst>
                      <a:ext uri="{FF2B5EF4-FFF2-40B4-BE49-F238E27FC236}">
                        <a16:creationId xmlns:a16="http://schemas.microsoft.com/office/drawing/2014/main" id="{F52216CD-EA14-4CB8-AC7E-723C34DFB5E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61" name="Rechte verbindingslijn 260">
                    <a:extLst>
                      <a:ext uri="{FF2B5EF4-FFF2-40B4-BE49-F238E27FC236}">
                        <a16:creationId xmlns:a16="http://schemas.microsoft.com/office/drawing/2014/main" id="{AB3C8E2F-7E33-4A7A-A7D9-1DD6346EA8F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62" name="Rechte verbindingslijn 261">
                    <a:extLst>
                      <a:ext uri="{FF2B5EF4-FFF2-40B4-BE49-F238E27FC236}">
                        <a16:creationId xmlns:a16="http://schemas.microsoft.com/office/drawing/2014/main" id="{C4A0D3FC-D580-4F89-A0B6-87B3F7DF11B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57" name="Pijl: rechts 256">
                  <a:extLst>
                    <a:ext uri="{FF2B5EF4-FFF2-40B4-BE49-F238E27FC236}">
                      <a16:creationId xmlns:a16="http://schemas.microsoft.com/office/drawing/2014/main" id="{FBCB343A-8595-4F32-89E8-1F40998A014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cxnSp>
            <p:nvCxnSpPr>
              <p:cNvPr id="234" name="Rechte verbindingslijn 233">
                <a:extLst>
                  <a:ext uri="{FF2B5EF4-FFF2-40B4-BE49-F238E27FC236}">
                    <a16:creationId xmlns:a16="http://schemas.microsoft.com/office/drawing/2014/main" id="{6868B19D-CD4E-488D-94DF-BF55701D987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35" name="Rechte verbindingslijn 234">
                <a:extLst>
                  <a:ext uri="{FF2B5EF4-FFF2-40B4-BE49-F238E27FC236}">
                    <a16:creationId xmlns:a16="http://schemas.microsoft.com/office/drawing/2014/main" id="{36ECBA60-0791-475E-BD51-8145BFD63E7B}"/>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36" name="Rechthoek 235">
                <a:extLst>
                  <a:ext uri="{FF2B5EF4-FFF2-40B4-BE49-F238E27FC236}">
                    <a16:creationId xmlns:a16="http://schemas.microsoft.com/office/drawing/2014/main" id="{A086BBF7-4C69-4EB1-9C99-EB2BFE45F77A}"/>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37" name="Rechthoek 236">
                <a:extLst>
                  <a:ext uri="{FF2B5EF4-FFF2-40B4-BE49-F238E27FC236}">
                    <a16:creationId xmlns:a16="http://schemas.microsoft.com/office/drawing/2014/main" id="{68381C66-4E57-4316-A64F-0742F336F38F}"/>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825"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38" name="Groep 237">
                <a:extLst>
                  <a:ext uri="{FF2B5EF4-FFF2-40B4-BE49-F238E27FC236}">
                    <a16:creationId xmlns:a16="http://schemas.microsoft.com/office/drawing/2014/main" id="{94EE9115-0FB6-4505-9083-1DB5926C7A3C}"/>
                  </a:ext>
                </a:extLst>
              </p:cNvPr>
              <p:cNvGrpSpPr/>
              <p:nvPr userDrawn="1"/>
            </p:nvGrpSpPr>
            <p:grpSpPr>
              <a:xfrm>
                <a:off x="-2916763" y="769168"/>
                <a:ext cx="268738" cy="248381"/>
                <a:chOff x="-2916763" y="769168"/>
                <a:chExt cx="268738" cy="248381"/>
              </a:xfrm>
            </p:grpSpPr>
            <p:sp>
              <p:nvSpPr>
                <p:cNvPr id="248" name="Rechthoek 247">
                  <a:extLst>
                    <a:ext uri="{FF2B5EF4-FFF2-40B4-BE49-F238E27FC236}">
                      <a16:creationId xmlns:a16="http://schemas.microsoft.com/office/drawing/2014/main" id="{4FD8B41E-9FA9-4BA4-8F87-3DC0DD055669}"/>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249" name="Groep 248">
                  <a:extLst>
                    <a:ext uri="{FF2B5EF4-FFF2-40B4-BE49-F238E27FC236}">
                      <a16:creationId xmlns:a16="http://schemas.microsoft.com/office/drawing/2014/main" id="{EE676424-14B1-486A-9B49-63ED06348676}"/>
                    </a:ext>
                  </a:extLst>
                </p:cNvPr>
                <p:cNvGrpSpPr/>
                <p:nvPr userDrawn="1"/>
              </p:nvGrpSpPr>
              <p:grpSpPr>
                <a:xfrm>
                  <a:off x="-2866744" y="827071"/>
                  <a:ext cx="168701" cy="132575"/>
                  <a:chOff x="-2866744" y="827071"/>
                  <a:chExt cx="168701" cy="132575"/>
                </a:xfrm>
              </p:grpSpPr>
              <p:cxnSp>
                <p:nvCxnSpPr>
                  <p:cNvPr id="251" name="Rechte verbindingslijn 250">
                    <a:extLst>
                      <a:ext uri="{FF2B5EF4-FFF2-40B4-BE49-F238E27FC236}">
                        <a16:creationId xmlns:a16="http://schemas.microsoft.com/office/drawing/2014/main" id="{3D3F7212-068A-48DD-B6A0-A05B33C3AB3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52" name="Rechte verbindingslijn 251">
                    <a:extLst>
                      <a:ext uri="{FF2B5EF4-FFF2-40B4-BE49-F238E27FC236}">
                        <a16:creationId xmlns:a16="http://schemas.microsoft.com/office/drawing/2014/main" id="{B09766F9-3046-492A-A71B-662C091B7BC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53" name="Rechte verbindingslijn 252">
                    <a:extLst>
                      <a:ext uri="{FF2B5EF4-FFF2-40B4-BE49-F238E27FC236}">
                        <a16:creationId xmlns:a16="http://schemas.microsoft.com/office/drawing/2014/main" id="{C9E5E348-BD0A-40AD-A825-94636BC2DEA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54" name="Rechte verbindingslijn 253">
                    <a:extLst>
                      <a:ext uri="{FF2B5EF4-FFF2-40B4-BE49-F238E27FC236}">
                        <a16:creationId xmlns:a16="http://schemas.microsoft.com/office/drawing/2014/main" id="{F794FF71-08FB-4EBF-BFD8-D5A384B0C8A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55" name="Rechte verbindingslijn 254">
                    <a:extLst>
                      <a:ext uri="{FF2B5EF4-FFF2-40B4-BE49-F238E27FC236}">
                        <a16:creationId xmlns:a16="http://schemas.microsoft.com/office/drawing/2014/main" id="{671792F6-9835-4D42-85C2-00117EABA353}"/>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50" name="Pijl: rechts 249">
                  <a:extLst>
                    <a:ext uri="{FF2B5EF4-FFF2-40B4-BE49-F238E27FC236}">
                      <a16:creationId xmlns:a16="http://schemas.microsoft.com/office/drawing/2014/main" id="{D9D45B66-2243-4984-ACA7-532C3A7476C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nvGrpSpPr>
              <p:cNvPr id="239" name="Groep 238">
                <a:extLst>
                  <a:ext uri="{FF2B5EF4-FFF2-40B4-BE49-F238E27FC236}">
                    <a16:creationId xmlns:a16="http://schemas.microsoft.com/office/drawing/2014/main" id="{7890E904-FB8D-4742-B041-B0589D1CFD8B}"/>
                  </a:ext>
                </a:extLst>
              </p:cNvPr>
              <p:cNvGrpSpPr/>
              <p:nvPr userDrawn="1"/>
            </p:nvGrpSpPr>
            <p:grpSpPr>
              <a:xfrm>
                <a:off x="-2916763" y="460171"/>
                <a:ext cx="268738" cy="248381"/>
                <a:chOff x="-2916763" y="460171"/>
                <a:chExt cx="268738" cy="248381"/>
              </a:xfrm>
            </p:grpSpPr>
            <p:sp>
              <p:nvSpPr>
                <p:cNvPr id="240" name="Rechthoek 239">
                  <a:extLst>
                    <a:ext uri="{FF2B5EF4-FFF2-40B4-BE49-F238E27FC236}">
                      <a16:creationId xmlns:a16="http://schemas.microsoft.com/office/drawing/2014/main" id="{CA898135-B0EE-4999-8606-E867E6C2F4DC}"/>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788" b="0" noProof="0">
                    <a:solidFill>
                      <a:srgbClr val="211F26"/>
                    </a:solidFill>
                    <a:latin typeface="Calibri" panose="020F0502020204030204" pitchFamily="34" charset="0"/>
                    <a:cs typeface="Calibri" panose="020F0502020204030204" pitchFamily="34" charset="0"/>
                  </a:endParaRPr>
                </a:p>
              </p:txBody>
            </p:sp>
            <p:grpSp>
              <p:nvGrpSpPr>
                <p:cNvPr id="241" name="Groep 240">
                  <a:extLst>
                    <a:ext uri="{FF2B5EF4-FFF2-40B4-BE49-F238E27FC236}">
                      <a16:creationId xmlns:a16="http://schemas.microsoft.com/office/drawing/2014/main" id="{C981CD90-3F03-46F2-A55F-95124271BB65}"/>
                    </a:ext>
                  </a:extLst>
                </p:cNvPr>
                <p:cNvGrpSpPr/>
                <p:nvPr userDrawn="1"/>
              </p:nvGrpSpPr>
              <p:grpSpPr>
                <a:xfrm>
                  <a:off x="-2866744" y="518074"/>
                  <a:ext cx="168701" cy="132575"/>
                  <a:chOff x="-2866744" y="518074"/>
                  <a:chExt cx="168701" cy="132575"/>
                </a:xfrm>
              </p:grpSpPr>
              <p:cxnSp>
                <p:nvCxnSpPr>
                  <p:cNvPr id="243" name="Rechte verbindingslijn 242">
                    <a:extLst>
                      <a:ext uri="{FF2B5EF4-FFF2-40B4-BE49-F238E27FC236}">
                        <a16:creationId xmlns:a16="http://schemas.microsoft.com/office/drawing/2014/main" id="{CE53251D-12D9-45F7-A637-2CE6A283366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44" name="Rechte verbindingslijn 243">
                    <a:extLst>
                      <a:ext uri="{FF2B5EF4-FFF2-40B4-BE49-F238E27FC236}">
                        <a16:creationId xmlns:a16="http://schemas.microsoft.com/office/drawing/2014/main" id="{E433E242-C70D-49AF-92BB-83FAA536D28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45" name="Rechte verbindingslijn 244">
                    <a:extLst>
                      <a:ext uri="{FF2B5EF4-FFF2-40B4-BE49-F238E27FC236}">
                        <a16:creationId xmlns:a16="http://schemas.microsoft.com/office/drawing/2014/main" id="{1445626D-125E-4A1E-AC1A-7D904483300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46" name="Rechte verbindingslijn 245">
                    <a:extLst>
                      <a:ext uri="{FF2B5EF4-FFF2-40B4-BE49-F238E27FC236}">
                        <a16:creationId xmlns:a16="http://schemas.microsoft.com/office/drawing/2014/main" id="{E0FDA35B-008A-403F-B766-14B1697D2B1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47" name="Rechte verbindingslijn 246">
                    <a:extLst>
                      <a:ext uri="{FF2B5EF4-FFF2-40B4-BE49-F238E27FC236}">
                        <a16:creationId xmlns:a16="http://schemas.microsoft.com/office/drawing/2014/main" id="{38A604F1-96E6-4D0A-B86F-FFB6C516C995}"/>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42" name="Pijl: rechts 241">
                  <a:extLst>
                    <a:ext uri="{FF2B5EF4-FFF2-40B4-BE49-F238E27FC236}">
                      <a16:creationId xmlns:a16="http://schemas.microsoft.com/office/drawing/2014/main" id="{3AA1B83E-CB6D-400A-9D8A-C9521495C85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750" b="1" noProof="0">
                    <a:solidFill>
                      <a:srgbClr val="211F26"/>
                    </a:solidFill>
                    <a:latin typeface="Calibri" panose="020F0502020204030204" pitchFamily="34" charset="0"/>
                    <a:cs typeface="Calibri" panose="020F0502020204030204" pitchFamily="34" charset="0"/>
                  </a:endParaRPr>
                </a:p>
              </p:txBody>
            </p:sp>
          </p:grpSp>
        </p:grpSp>
      </p:grpSp>
      <p:grpSp>
        <p:nvGrpSpPr>
          <p:cNvPr id="69" name="INSTRUCTION">
            <a:extLst>
              <a:ext uri="{FF2B5EF4-FFF2-40B4-BE49-F238E27FC236}">
                <a16:creationId xmlns:a16="http://schemas.microsoft.com/office/drawing/2014/main" id="{EFA1EFD2-C2D4-4E8E-A8FE-4D433ABC53C5}"/>
              </a:ext>
            </a:extLst>
          </p:cNvPr>
          <p:cNvGrpSpPr/>
          <p:nvPr userDrawn="1"/>
        </p:nvGrpSpPr>
        <p:grpSpPr>
          <a:xfrm>
            <a:off x="9283401" y="1"/>
            <a:ext cx="2694818" cy="2487303"/>
            <a:chOff x="-3786165" y="2"/>
            <a:chExt cx="3593091" cy="3316404"/>
          </a:xfrm>
        </p:grpSpPr>
        <p:sp>
          <p:nvSpPr>
            <p:cNvPr id="70" name="Rechthoek 69">
              <a:extLst>
                <a:ext uri="{FF2B5EF4-FFF2-40B4-BE49-F238E27FC236}">
                  <a16:creationId xmlns:a16="http://schemas.microsoft.com/office/drawing/2014/main" id="{E4850191-B894-49B4-A4B4-157EE8B3D6C8}"/>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Insert/Edit a table</a:t>
              </a:r>
            </a:p>
          </p:txBody>
        </p:sp>
        <p:sp>
          <p:nvSpPr>
            <p:cNvPr id="72" name="Ovaal 71">
              <a:extLst>
                <a:ext uri="{FF2B5EF4-FFF2-40B4-BE49-F238E27FC236}">
                  <a16:creationId xmlns:a16="http://schemas.microsoft.com/office/drawing/2014/main" id="{FED6D89D-3179-4B4E-8CA8-F6A917517AA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3" name="Rechthoek 72">
              <a:extLst>
                <a:ext uri="{FF2B5EF4-FFF2-40B4-BE49-F238E27FC236}">
                  <a16:creationId xmlns:a16="http://schemas.microsoft.com/office/drawing/2014/main" id="{D5AABF92-CA62-4428-BB03-977FB4430AAE}"/>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74" name="Ovaal 73">
              <a:extLst>
                <a:ext uri="{FF2B5EF4-FFF2-40B4-BE49-F238E27FC236}">
                  <a16:creationId xmlns:a16="http://schemas.microsoft.com/office/drawing/2014/main" id="{6672C8DE-07FC-437D-A7FF-D36516383D4F}"/>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5" name="Rechthoek 74">
              <a:extLst>
                <a:ext uri="{FF2B5EF4-FFF2-40B4-BE49-F238E27FC236}">
                  <a16:creationId xmlns:a16="http://schemas.microsoft.com/office/drawing/2014/main" id="{F442BA0C-1612-4D42-A5FE-3EFFEF8ECEA8}"/>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K’</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6" name="Groep 75">
              <a:extLst>
                <a:ext uri="{FF2B5EF4-FFF2-40B4-BE49-F238E27FC236}">
                  <a16:creationId xmlns:a16="http://schemas.microsoft.com/office/drawing/2014/main" id="{00C3E5C1-BA97-4709-8E6B-C5200FDB99D0}"/>
                </a:ext>
              </a:extLst>
            </p:cNvPr>
            <p:cNvGrpSpPr/>
            <p:nvPr userDrawn="1"/>
          </p:nvGrpSpPr>
          <p:grpSpPr>
            <a:xfrm>
              <a:off x="-3311319" y="2164285"/>
              <a:ext cx="825500" cy="209550"/>
              <a:chOff x="13504624" y="2482850"/>
              <a:chExt cx="825500" cy="209550"/>
            </a:xfrm>
          </p:grpSpPr>
          <p:sp>
            <p:nvSpPr>
              <p:cNvPr id="91" name="Rechthoek 90">
                <a:extLst>
                  <a:ext uri="{FF2B5EF4-FFF2-40B4-BE49-F238E27FC236}">
                    <a16:creationId xmlns:a16="http://schemas.microsoft.com/office/drawing/2014/main" id="{41411A7D-78FB-4A03-A451-951295235BC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OK</a:t>
                </a:r>
              </a:p>
            </p:txBody>
          </p:sp>
          <p:cxnSp>
            <p:nvCxnSpPr>
              <p:cNvPr id="92" name="Rechte verbindingslijn 91">
                <a:extLst>
                  <a:ext uri="{FF2B5EF4-FFF2-40B4-BE49-F238E27FC236}">
                    <a16:creationId xmlns:a16="http://schemas.microsoft.com/office/drawing/2014/main" id="{FDC8DAF0-6460-4DE8-968D-BF4051F6BEF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93" name="Gelijkbenige driehoek 92">
                <a:extLst>
                  <a:ext uri="{FF2B5EF4-FFF2-40B4-BE49-F238E27FC236}">
                    <a16:creationId xmlns:a16="http://schemas.microsoft.com/office/drawing/2014/main" id="{06FBBCC7-6552-4B6D-AF32-40F7FCB68777}"/>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75" b="1" noProof="0">
                  <a:solidFill>
                    <a:srgbClr val="211F26"/>
                  </a:solidFill>
                  <a:latin typeface="Calibri" panose="020F0502020204030204" pitchFamily="34" charset="0"/>
                  <a:cs typeface="Calibri" panose="020F0502020204030204" pitchFamily="34" charset="0"/>
                </a:endParaRPr>
              </a:p>
            </p:txBody>
          </p:sp>
        </p:grpSp>
        <p:sp>
          <p:nvSpPr>
            <p:cNvPr id="77" name="Ovaal 76">
              <a:extLst>
                <a:ext uri="{FF2B5EF4-FFF2-40B4-BE49-F238E27FC236}">
                  <a16:creationId xmlns:a16="http://schemas.microsoft.com/office/drawing/2014/main" id="{6810904D-C38F-453F-A8A5-D3DDA9733FBA}"/>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78" name="Rechthoek 77">
              <a:extLst>
                <a:ext uri="{FF2B5EF4-FFF2-40B4-BE49-F238E27FC236}">
                  <a16:creationId xmlns:a16="http://schemas.microsoft.com/office/drawing/2014/main" id="{F43C3149-6377-4546-8989-606F2643321E}"/>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79" name="Tabel icoon">
              <a:extLst>
                <a:ext uri="{FF2B5EF4-FFF2-40B4-BE49-F238E27FC236}">
                  <a16:creationId xmlns:a16="http://schemas.microsoft.com/office/drawing/2014/main" id="{F40B2521-6FDA-4318-B893-DF0DDACBD8D8}"/>
                </a:ext>
              </a:extLst>
            </p:cNvPr>
            <p:cNvGrpSpPr/>
            <p:nvPr userDrawn="1"/>
          </p:nvGrpSpPr>
          <p:grpSpPr>
            <a:xfrm>
              <a:off x="-3308869" y="1240695"/>
              <a:ext cx="338201" cy="305477"/>
              <a:chOff x="6072040" y="3376043"/>
              <a:chExt cx="1227920" cy="1109109"/>
            </a:xfrm>
          </p:grpSpPr>
          <p:sp>
            <p:nvSpPr>
              <p:cNvPr id="83" name="Rechthoek 82">
                <a:extLst>
                  <a:ext uri="{FF2B5EF4-FFF2-40B4-BE49-F238E27FC236}">
                    <a16:creationId xmlns:a16="http://schemas.microsoft.com/office/drawing/2014/main" id="{7414DA92-76D7-4A73-9CAC-2D1868CA2472}"/>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chemeClr val="accent1"/>
                  </a:solidFill>
                  <a:latin typeface="Calibri" panose="020F0502020204030204" pitchFamily="34" charset="0"/>
                  <a:cs typeface="Calibri" panose="020F0502020204030204" pitchFamily="34" charset="0"/>
                </a:endParaRPr>
              </a:p>
            </p:txBody>
          </p:sp>
          <p:sp>
            <p:nvSpPr>
              <p:cNvPr id="84" name="Rechthoek 83">
                <a:extLst>
                  <a:ext uri="{FF2B5EF4-FFF2-40B4-BE49-F238E27FC236}">
                    <a16:creationId xmlns:a16="http://schemas.microsoft.com/office/drawing/2014/main" id="{D2C8DCF7-B78E-4BDB-9442-A603F05EF515}"/>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chemeClr val="accent1"/>
                  </a:solidFill>
                  <a:latin typeface="Calibri" panose="020F0502020204030204" pitchFamily="34" charset="0"/>
                  <a:cs typeface="Calibri" panose="020F0502020204030204" pitchFamily="34" charset="0"/>
                </a:endParaRPr>
              </a:p>
            </p:txBody>
          </p:sp>
          <p:cxnSp>
            <p:nvCxnSpPr>
              <p:cNvPr id="85" name="Rechte verbindingslijn 84">
                <a:extLst>
                  <a:ext uri="{FF2B5EF4-FFF2-40B4-BE49-F238E27FC236}">
                    <a16:creationId xmlns:a16="http://schemas.microsoft.com/office/drawing/2014/main" id="{DCF3CF9F-B298-41DB-9EE8-D6F1D6BC691C}"/>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6" name="Rechte verbindingslijn 85">
                <a:extLst>
                  <a:ext uri="{FF2B5EF4-FFF2-40B4-BE49-F238E27FC236}">
                    <a16:creationId xmlns:a16="http://schemas.microsoft.com/office/drawing/2014/main" id="{C5CFE44F-9B0F-4425-969B-351C7E6CF666}"/>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7" name="Rechte verbindingslijn 86">
                <a:extLst>
                  <a:ext uri="{FF2B5EF4-FFF2-40B4-BE49-F238E27FC236}">
                    <a16:creationId xmlns:a16="http://schemas.microsoft.com/office/drawing/2014/main" id="{3079C210-915A-4C0A-8273-6282338983B0}"/>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8" name="Rechte verbindingslijn 87">
                <a:extLst>
                  <a:ext uri="{FF2B5EF4-FFF2-40B4-BE49-F238E27FC236}">
                    <a16:creationId xmlns:a16="http://schemas.microsoft.com/office/drawing/2014/main" id="{67B15033-0B63-4CD6-A5EB-259E974F7C77}"/>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9" name="Rechte verbindingslijn 88">
                <a:extLst>
                  <a:ext uri="{FF2B5EF4-FFF2-40B4-BE49-F238E27FC236}">
                    <a16:creationId xmlns:a16="http://schemas.microsoft.com/office/drawing/2014/main" id="{27B8C975-7A53-411F-9750-26F3555A306B}"/>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90" name="Rechthoek 89">
                <a:extLst>
                  <a:ext uri="{FF2B5EF4-FFF2-40B4-BE49-F238E27FC236}">
                    <a16:creationId xmlns:a16="http://schemas.microsoft.com/office/drawing/2014/main" id="{8B49BAC6-78A7-4C43-A547-4A74040E04C0}"/>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chemeClr val="accent1"/>
                  </a:solidFill>
                  <a:latin typeface="Calibri" panose="020F0502020204030204" pitchFamily="34" charset="0"/>
                  <a:cs typeface="Calibri" panose="020F0502020204030204" pitchFamily="34" charset="0"/>
                </a:endParaRPr>
              </a:p>
            </p:txBody>
          </p:sp>
        </p:grpSp>
      </p:grpSp>
      <p:sp>
        <p:nvSpPr>
          <p:cNvPr id="94" name="Tijdelijke aanduiding voor dianummer 5">
            <a:extLst>
              <a:ext uri="{FF2B5EF4-FFF2-40B4-BE49-F238E27FC236}">
                <a16:creationId xmlns:a16="http://schemas.microsoft.com/office/drawing/2014/main" id="{AFE540B5-0098-46B8-A4CC-81086ED86B6E}"/>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95" name="INSTRUCTION">
            <a:extLst>
              <a:ext uri="{FF2B5EF4-FFF2-40B4-BE49-F238E27FC236}">
                <a16:creationId xmlns:a16="http://schemas.microsoft.com/office/drawing/2014/main" id="{36031292-2AD7-447A-A2F2-127D2C501EB9}"/>
              </a:ext>
            </a:extLst>
          </p:cNvPr>
          <p:cNvGrpSpPr/>
          <p:nvPr userDrawn="1"/>
        </p:nvGrpSpPr>
        <p:grpSpPr>
          <a:xfrm>
            <a:off x="4384" y="5274908"/>
            <a:ext cx="2795966" cy="1183043"/>
            <a:chOff x="5846" y="7033211"/>
            <a:chExt cx="3727954" cy="1577390"/>
          </a:xfrm>
        </p:grpSpPr>
        <p:sp>
          <p:nvSpPr>
            <p:cNvPr id="96" name="Rechthoek 95">
              <a:extLst>
                <a:ext uri="{FF2B5EF4-FFF2-40B4-BE49-F238E27FC236}">
                  <a16:creationId xmlns:a16="http://schemas.microsoft.com/office/drawing/2014/main" id="{5ABD2B53-29A9-4EE1-B80F-A512946AEAD6}"/>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97" name="Ovaal 96">
              <a:extLst>
                <a:ext uri="{FF2B5EF4-FFF2-40B4-BE49-F238E27FC236}">
                  <a16:creationId xmlns:a16="http://schemas.microsoft.com/office/drawing/2014/main" id="{3999C298-6F6E-4FF9-A81E-9793F91E7FF2}"/>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8" name="Rechthoek 97">
              <a:extLst>
                <a:ext uri="{FF2B5EF4-FFF2-40B4-BE49-F238E27FC236}">
                  <a16:creationId xmlns:a16="http://schemas.microsoft.com/office/drawing/2014/main" id="{F465A299-9524-4798-B234-E6A44C2C3F60}"/>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9" name="Ovaal 98">
              <a:extLst>
                <a:ext uri="{FF2B5EF4-FFF2-40B4-BE49-F238E27FC236}">
                  <a16:creationId xmlns:a16="http://schemas.microsoft.com/office/drawing/2014/main" id="{B130C3B3-AB26-4944-936F-D9C0DD8B9590}"/>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00" name="Rechthoek 99">
              <a:extLst>
                <a:ext uri="{FF2B5EF4-FFF2-40B4-BE49-F238E27FC236}">
                  <a16:creationId xmlns:a16="http://schemas.microsoft.com/office/drawing/2014/main" id="{4CAFB034-3278-4F02-8AB3-8E52DB034CD1}"/>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101" name="Groep 100">
              <a:extLst>
                <a:ext uri="{FF2B5EF4-FFF2-40B4-BE49-F238E27FC236}">
                  <a16:creationId xmlns:a16="http://schemas.microsoft.com/office/drawing/2014/main" id="{6EE850FF-EC41-4654-BAC5-35DD8C7E5DE4}"/>
                </a:ext>
              </a:extLst>
            </p:cNvPr>
            <p:cNvGrpSpPr/>
            <p:nvPr userDrawn="1"/>
          </p:nvGrpSpPr>
          <p:grpSpPr>
            <a:xfrm>
              <a:off x="2939884" y="7739834"/>
              <a:ext cx="681133" cy="750023"/>
              <a:chOff x="-910573" y="4987990"/>
              <a:chExt cx="681133" cy="750023"/>
            </a:xfrm>
          </p:grpSpPr>
          <p:grpSp>
            <p:nvGrpSpPr>
              <p:cNvPr id="102" name="Groep 101">
                <a:extLst>
                  <a:ext uri="{FF2B5EF4-FFF2-40B4-BE49-F238E27FC236}">
                    <a16:creationId xmlns:a16="http://schemas.microsoft.com/office/drawing/2014/main" id="{64B73D96-B2DE-413B-B8D1-33B3557812FE}"/>
                  </a:ext>
                </a:extLst>
              </p:cNvPr>
              <p:cNvGrpSpPr/>
              <p:nvPr userDrawn="1"/>
            </p:nvGrpSpPr>
            <p:grpSpPr>
              <a:xfrm>
                <a:off x="-713542" y="4987990"/>
                <a:ext cx="287071" cy="379107"/>
                <a:chOff x="-4050578" y="288410"/>
                <a:chExt cx="322125" cy="379107"/>
              </a:xfrm>
            </p:grpSpPr>
            <p:sp>
              <p:nvSpPr>
                <p:cNvPr id="104" name="Rechthoek met één afgeknipte en afgeronde hoek 47">
                  <a:extLst>
                    <a:ext uri="{FF2B5EF4-FFF2-40B4-BE49-F238E27FC236}">
                      <a16:creationId xmlns:a16="http://schemas.microsoft.com/office/drawing/2014/main" id="{778C9914-AC3A-46AE-87A2-1B659F6E973A}"/>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05" name="Rechthoekige driehoek 104">
                  <a:extLst>
                    <a:ext uri="{FF2B5EF4-FFF2-40B4-BE49-F238E27FC236}">
                      <a16:creationId xmlns:a16="http://schemas.microsoft.com/office/drawing/2014/main" id="{3C98B1E5-93D6-46D7-9EA7-1ACED0E38767}"/>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06" name="Rechthoek 105">
                  <a:extLst>
                    <a:ext uri="{FF2B5EF4-FFF2-40B4-BE49-F238E27FC236}">
                      <a16:creationId xmlns:a16="http://schemas.microsoft.com/office/drawing/2014/main" id="{1F7A5A4D-75EC-4AE8-8A5A-CC77CCD2E91D}"/>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07" name="Rechthoek 106">
                  <a:extLst>
                    <a:ext uri="{FF2B5EF4-FFF2-40B4-BE49-F238E27FC236}">
                      <a16:creationId xmlns:a16="http://schemas.microsoft.com/office/drawing/2014/main" id="{BB8AC672-93AD-4A2F-81C8-ABFC2ECAA28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03" name="Rechthoek 102">
                <a:extLst>
                  <a:ext uri="{FF2B5EF4-FFF2-40B4-BE49-F238E27FC236}">
                    <a16:creationId xmlns:a16="http://schemas.microsoft.com/office/drawing/2014/main" id="{EDF37C59-7E72-46F5-A919-9259418E00D8}"/>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100960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0% TABLE">
    <p:spTree>
      <p:nvGrpSpPr>
        <p:cNvPr id="1" name=""/>
        <p:cNvGrpSpPr/>
        <p:nvPr/>
      </p:nvGrpSpPr>
      <p:grpSpPr>
        <a:xfrm>
          <a:off x="0" y="0"/>
          <a:ext cx="0" cy="0"/>
          <a:chOff x="0" y="0"/>
          <a:chExt cx="0" cy="0"/>
        </a:xfrm>
      </p:grpSpPr>
      <p:sp>
        <p:nvSpPr>
          <p:cNvPr id="11" name="Tijdelijke aanduiding voor tabel 8"/>
          <p:cNvSpPr>
            <a:spLocks noGrp="1"/>
          </p:cNvSpPr>
          <p:nvPr>
            <p:ph type="tbl" sz="quarter" idx="15" hasCustomPrompt="1"/>
          </p:nvPr>
        </p:nvSpPr>
        <p:spPr>
          <a:xfrm>
            <a:off x="523875" y="1598161"/>
            <a:ext cx="8079581" cy="2670300"/>
          </a:xfrm>
        </p:spPr>
        <p:txBody>
          <a:bodyPr bIns="1620000" anchor="ctr"/>
          <a:lstStyle>
            <a:lvl1pPr marL="0" indent="0" algn="ctr">
              <a:lnSpc>
                <a:spcPct val="90000"/>
              </a:lnSpc>
              <a:spcBef>
                <a:spcPts val="0"/>
              </a:spcBef>
              <a:spcAft>
                <a:spcPts val="0"/>
              </a:spcAft>
              <a:buNone/>
              <a:defRPr sz="1125" i="1">
                <a:solidFill>
                  <a:schemeClr val="tx1">
                    <a:lumMod val="50000"/>
                    <a:lumOff val="50000"/>
                  </a:schemeClr>
                </a:solidFill>
              </a:defRPr>
            </a:lvl1pPr>
          </a:lstStyle>
          <a:p>
            <a:r>
              <a:rPr lang="en-US"/>
              <a:t>Click the icon below </a:t>
            </a:r>
            <a:br>
              <a:rPr lang="en-US"/>
            </a:br>
            <a:r>
              <a:rPr lang="en-US"/>
              <a:t>to add a table.</a:t>
            </a:r>
          </a:p>
        </p:txBody>
      </p:sp>
      <p:sp>
        <p:nvSpPr>
          <p:cNvPr id="39" name="Titel 38"/>
          <p:cNvSpPr>
            <a:spLocks noGrp="1"/>
          </p:cNvSpPr>
          <p:nvPr>
            <p:ph type="title" hasCustomPrompt="1"/>
          </p:nvPr>
        </p:nvSpPr>
        <p:spPr/>
        <p:txBody>
          <a:bodyPr/>
          <a:lstStyle>
            <a:lvl1pPr>
              <a:defRPr/>
            </a:lvl1pPr>
          </a:lstStyle>
          <a:p>
            <a:r>
              <a:rPr lang="en-US" noProof="0"/>
              <a:t>Add a slide title, </a:t>
            </a:r>
            <a:br>
              <a:rPr lang="en-US" noProof="0"/>
            </a:br>
            <a:r>
              <a:rPr lang="en-US" noProof="0"/>
              <a:t>max.2 lines</a:t>
            </a:r>
            <a:endParaRPr lang="en-US"/>
          </a:p>
        </p:txBody>
      </p:sp>
      <p:sp>
        <p:nvSpPr>
          <p:cNvPr id="34" name="Tekstvak 33">
            <a:extLst>
              <a:ext uri="{FF2B5EF4-FFF2-40B4-BE49-F238E27FC236}">
                <a16:creationId xmlns:a16="http://schemas.microsoft.com/office/drawing/2014/main" id="{B2205660-FE05-4E7B-8184-EEBA0424515C}"/>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Table</a:t>
            </a:r>
            <a:endParaRPr lang="en-US" sz="788" b="0" spc="38" baseline="0">
              <a:solidFill>
                <a:schemeClr val="accent2"/>
              </a:solidFill>
              <a:latin typeface="+mj-lt"/>
              <a:cs typeface="Calibri" panose="020F0502020204030204" pitchFamily="34" charset="0"/>
            </a:endParaRPr>
          </a:p>
        </p:txBody>
      </p:sp>
      <p:grpSp>
        <p:nvGrpSpPr>
          <p:cNvPr id="6" name="INSTRUCTION">
            <a:extLst>
              <a:ext uri="{FF2B5EF4-FFF2-40B4-BE49-F238E27FC236}">
                <a16:creationId xmlns:a16="http://schemas.microsoft.com/office/drawing/2014/main" id="{7F1DDC5B-4B2B-4E27-BD1E-9C7ED56DA17A}"/>
              </a:ext>
            </a:extLst>
          </p:cNvPr>
          <p:cNvGrpSpPr/>
          <p:nvPr userDrawn="1"/>
        </p:nvGrpSpPr>
        <p:grpSpPr>
          <a:xfrm>
            <a:off x="-2839623" y="1"/>
            <a:ext cx="2694818" cy="2487303"/>
            <a:chOff x="-3786165" y="2"/>
            <a:chExt cx="3593091" cy="3316404"/>
          </a:xfrm>
        </p:grpSpPr>
        <p:sp>
          <p:nvSpPr>
            <p:cNvPr id="7" name="Rechthoek 6">
              <a:extLst>
                <a:ext uri="{FF2B5EF4-FFF2-40B4-BE49-F238E27FC236}">
                  <a16:creationId xmlns:a16="http://schemas.microsoft.com/office/drawing/2014/main" id="{39B9F5C5-81E9-4120-A71A-7874079B456D}"/>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US" sz="1050" b="1" cap="all" baseline="0" noProof="0">
                  <a:solidFill>
                    <a:schemeClr val="accent1"/>
                  </a:solidFill>
                  <a:latin typeface="Calibri" panose="020F0502020204030204" pitchFamily="34" charset="0"/>
                  <a:cs typeface="Calibri" panose="020F0502020204030204" pitchFamily="34" charset="0"/>
                </a:rPr>
                <a:t>Insert/Edit a table</a:t>
              </a:r>
            </a:p>
          </p:txBody>
        </p:sp>
        <p:sp>
          <p:nvSpPr>
            <p:cNvPr id="9" name="Ovaal 8">
              <a:extLst>
                <a:ext uri="{FF2B5EF4-FFF2-40B4-BE49-F238E27FC236}">
                  <a16:creationId xmlns:a16="http://schemas.microsoft.com/office/drawing/2014/main" id="{F95CADBA-8ED9-48E1-833F-CC57795B7FB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7BF4C50C-8D96-4070-980D-9A430A4FCF1A}"/>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E79393A5-57E0-4D53-AD17-2AF16E3E1CC8}"/>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DE002484-B239-408B-AADC-11B90CD62620}"/>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K’</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4" name="Groep 13">
              <a:extLst>
                <a:ext uri="{FF2B5EF4-FFF2-40B4-BE49-F238E27FC236}">
                  <a16:creationId xmlns:a16="http://schemas.microsoft.com/office/drawing/2014/main" id="{35D48BAC-90C7-4533-9647-DC9F8806DC07}"/>
                </a:ext>
              </a:extLst>
            </p:cNvPr>
            <p:cNvGrpSpPr/>
            <p:nvPr userDrawn="1"/>
          </p:nvGrpSpPr>
          <p:grpSpPr>
            <a:xfrm>
              <a:off x="-3311319" y="2164285"/>
              <a:ext cx="825500" cy="209550"/>
              <a:chOff x="13504624" y="2482850"/>
              <a:chExt cx="825500" cy="209550"/>
            </a:xfrm>
          </p:grpSpPr>
          <p:sp>
            <p:nvSpPr>
              <p:cNvPr id="29" name="Rechthoek 28">
                <a:extLst>
                  <a:ext uri="{FF2B5EF4-FFF2-40B4-BE49-F238E27FC236}">
                    <a16:creationId xmlns:a16="http://schemas.microsoft.com/office/drawing/2014/main" id="{64D1BDE8-D8A0-49A1-9B15-76F72CAFF75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450"/>
                  </a:spcBef>
                  <a:spcAft>
                    <a:spcPts val="450"/>
                  </a:spcAft>
                </a:pPr>
                <a:r>
                  <a:rPr lang="en-US" sz="675" b="0" noProof="0">
                    <a:solidFill>
                      <a:srgbClr val="211F26"/>
                    </a:solidFill>
                    <a:latin typeface="Calibri" panose="020F0502020204030204" pitchFamily="34" charset="0"/>
                    <a:cs typeface="Calibri" panose="020F0502020204030204" pitchFamily="34" charset="0"/>
                  </a:rPr>
                  <a:t>OK</a:t>
                </a:r>
              </a:p>
            </p:txBody>
          </p:sp>
          <p:cxnSp>
            <p:nvCxnSpPr>
              <p:cNvPr id="30" name="Rechte verbindingslijn 29">
                <a:extLst>
                  <a:ext uri="{FF2B5EF4-FFF2-40B4-BE49-F238E27FC236}">
                    <a16:creationId xmlns:a16="http://schemas.microsoft.com/office/drawing/2014/main" id="{2E9293B5-5F49-4530-A5FC-392A8619A35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1" name="Gelijkbenige driehoek 30">
                <a:extLst>
                  <a:ext uri="{FF2B5EF4-FFF2-40B4-BE49-F238E27FC236}">
                    <a16:creationId xmlns:a16="http://schemas.microsoft.com/office/drawing/2014/main" id="{F5ED67E4-27DE-44E6-9A1B-8F8D99C84F3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675" b="1" noProof="0">
                  <a:solidFill>
                    <a:srgbClr val="211F26"/>
                  </a:solidFill>
                  <a:latin typeface="Calibri" panose="020F0502020204030204" pitchFamily="34" charset="0"/>
                  <a:cs typeface="Calibri" panose="020F0502020204030204" pitchFamily="34" charset="0"/>
                </a:endParaRPr>
              </a:p>
            </p:txBody>
          </p:sp>
        </p:grpSp>
        <p:sp>
          <p:nvSpPr>
            <p:cNvPr id="15" name="Ovaal 14">
              <a:extLst>
                <a:ext uri="{FF2B5EF4-FFF2-40B4-BE49-F238E27FC236}">
                  <a16:creationId xmlns:a16="http://schemas.microsoft.com/office/drawing/2014/main" id="{73011215-9269-4FDD-8107-3F27D0B77248}"/>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AD20CE82-EEC2-478D-9F8E-5D3D4F0356D2}"/>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US"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US"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17" name="Tabel icoon">
              <a:extLst>
                <a:ext uri="{FF2B5EF4-FFF2-40B4-BE49-F238E27FC236}">
                  <a16:creationId xmlns:a16="http://schemas.microsoft.com/office/drawing/2014/main" id="{59B7685D-1D6D-4673-960F-F7567EF0A84C}"/>
                </a:ext>
              </a:extLst>
            </p:cNvPr>
            <p:cNvGrpSpPr/>
            <p:nvPr userDrawn="1"/>
          </p:nvGrpSpPr>
          <p:grpSpPr>
            <a:xfrm>
              <a:off x="-3308869" y="1240695"/>
              <a:ext cx="338201" cy="305477"/>
              <a:chOff x="6072040" y="3376043"/>
              <a:chExt cx="1227920" cy="1109109"/>
            </a:xfrm>
          </p:grpSpPr>
          <p:sp>
            <p:nvSpPr>
              <p:cNvPr id="21" name="Rechthoek 20">
                <a:extLst>
                  <a:ext uri="{FF2B5EF4-FFF2-40B4-BE49-F238E27FC236}">
                    <a16:creationId xmlns:a16="http://schemas.microsoft.com/office/drawing/2014/main" id="{82E06C3E-749E-4F74-8C07-B11E82A4DC3C}"/>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chemeClr val="accent1"/>
                  </a:solidFill>
                  <a:latin typeface="Calibri" panose="020F0502020204030204" pitchFamily="34" charset="0"/>
                  <a:cs typeface="Calibri" panose="020F0502020204030204" pitchFamily="34" charset="0"/>
                </a:endParaRPr>
              </a:p>
            </p:txBody>
          </p:sp>
          <p:sp>
            <p:nvSpPr>
              <p:cNvPr id="22" name="Rechthoek 21">
                <a:extLst>
                  <a:ext uri="{FF2B5EF4-FFF2-40B4-BE49-F238E27FC236}">
                    <a16:creationId xmlns:a16="http://schemas.microsoft.com/office/drawing/2014/main" id="{8E934ECF-ED62-4D26-8314-9E52C66E83CE}"/>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chemeClr val="accent1"/>
                  </a:solidFill>
                  <a:latin typeface="Calibri" panose="020F0502020204030204" pitchFamily="34" charset="0"/>
                  <a:cs typeface="Calibri" panose="020F0502020204030204" pitchFamily="34" charset="0"/>
                </a:endParaRPr>
              </a:p>
            </p:txBody>
          </p:sp>
          <p:cxnSp>
            <p:nvCxnSpPr>
              <p:cNvPr id="23" name="Rechte verbindingslijn 22">
                <a:extLst>
                  <a:ext uri="{FF2B5EF4-FFF2-40B4-BE49-F238E27FC236}">
                    <a16:creationId xmlns:a16="http://schemas.microsoft.com/office/drawing/2014/main" id="{BFF3179E-D3A4-4F96-A613-430767211D3C}"/>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2DFEF8F8-5E3E-4A03-A4BE-E1F7F7BA194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8F8B159B-4917-4002-AC71-4AAF433F63FB}"/>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FC5DE088-F61E-45E4-9078-ED8D6D729BC8}"/>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a:extLst>
                  <a:ext uri="{FF2B5EF4-FFF2-40B4-BE49-F238E27FC236}">
                    <a16:creationId xmlns:a16="http://schemas.microsoft.com/office/drawing/2014/main" id="{020FD412-F356-4442-9E3D-2C36828B2DA0}"/>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28" name="Rechthoek 27">
                <a:extLst>
                  <a:ext uri="{FF2B5EF4-FFF2-40B4-BE49-F238E27FC236}">
                    <a16:creationId xmlns:a16="http://schemas.microsoft.com/office/drawing/2014/main" id="{73F01216-B116-4A70-83DB-6011A8F6F9F0}"/>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chemeClr val="accent1"/>
                  </a:solidFill>
                  <a:latin typeface="Calibri" panose="020F0502020204030204" pitchFamily="34" charset="0"/>
                  <a:cs typeface="Calibri" panose="020F0502020204030204" pitchFamily="34" charset="0"/>
                </a:endParaRPr>
              </a:p>
            </p:txBody>
          </p:sp>
        </p:grpSp>
      </p:grpSp>
      <p:sp>
        <p:nvSpPr>
          <p:cNvPr id="32" name="Tijdelijke aanduiding voor dianummer 5">
            <a:extLst>
              <a:ext uri="{FF2B5EF4-FFF2-40B4-BE49-F238E27FC236}">
                <a16:creationId xmlns:a16="http://schemas.microsoft.com/office/drawing/2014/main" id="{8B033BA8-155B-4070-9CCC-B29E03786695}"/>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grpSp>
        <p:nvGrpSpPr>
          <p:cNvPr id="33" name="INSTRUCTION">
            <a:extLst>
              <a:ext uri="{FF2B5EF4-FFF2-40B4-BE49-F238E27FC236}">
                <a16:creationId xmlns:a16="http://schemas.microsoft.com/office/drawing/2014/main" id="{2D1C82EC-5A74-4599-B684-374A6ADFE2F8}"/>
              </a:ext>
            </a:extLst>
          </p:cNvPr>
          <p:cNvGrpSpPr/>
          <p:nvPr userDrawn="1"/>
        </p:nvGrpSpPr>
        <p:grpSpPr>
          <a:xfrm>
            <a:off x="4384" y="5274908"/>
            <a:ext cx="2795966" cy="1183043"/>
            <a:chOff x="5846" y="7033211"/>
            <a:chExt cx="3727954" cy="1577390"/>
          </a:xfrm>
        </p:grpSpPr>
        <p:sp>
          <p:nvSpPr>
            <p:cNvPr id="35" name="Rechthoek 34">
              <a:extLst>
                <a:ext uri="{FF2B5EF4-FFF2-40B4-BE49-F238E27FC236}">
                  <a16:creationId xmlns:a16="http://schemas.microsoft.com/office/drawing/2014/main" id="{29E39DA4-BDD6-45E4-B3D9-811055C239D9}"/>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36" name="Ovaal 35">
              <a:extLst>
                <a:ext uri="{FF2B5EF4-FFF2-40B4-BE49-F238E27FC236}">
                  <a16:creationId xmlns:a16="http://schemas.microsoft.com/office/drawing/2014/main" id="{D26DE460-5130-4A63-A3E3-0D9BDE82705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7" name="Rechthoek 36">
              <a:extLst>
                <a:ext uri="{FF2B5EF4-FFF2-40B4-BE49-F238E27FC236}">
                  <a16:creationId xmlns:a16="http://schemas.microsoft.com/office/drawing/2014/main" id="{823306A9-DA1E-4704-8A2D-EED50DB436ED}"/>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40" name="Ovaal 39">
              <a:extLst>
                <a:ext uri="{FF2B5EF4-FFF2-40B4-BE49-F238E27FC236}">
                  <a16:creationId xmlns:a16="http://schemas.microsoft.com/office/drawing/2014/main" id="{1CA839DA-D0C2-4409-99FF-11FF50133D4A}"/>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41" name="Rechthoek 40">
              <a:extLst>
                <a:ext uri="{FF2B5EF4-FFF2-40B4-BE49-F238E27FC236}">
                  <a16:creationId xmlns:a16="http://schemas.microsoft.com/office/drawing/2014/main" id="{7B7E765D-7CAC-40B9-85F6-B5B70A2F05CB}"/>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42" name="Groep 41">
              <a:extLst>
                <a:ext uri="{FF2B5EF4-FFF2-40B4-BE49-F238E27FC236}">
                  <a16:creationId xmlns:a16="http://schemas.microsoft.com/office/drawing/2014/main" id="{43F04625-7B5D-47AB-8E75-6E9DFB987A15}"/>
                </a:ext>
              </a:extLst>
            </p:cNvPr>
            <p:cNvGrpSpPr/>
            <p:nvPr userDrawn="1"/>
          </p:nvGrpSpPr>
          <p:grpSpPr>
            <a:xfrm>
              <a:off x="2939884" y="7739834"/>
              <a:ext cx="681133" cy="750023"/>
              <a:chOff x="-910573" y="4987990"/>
              <a:chExt cx="681133" cy="750023"/>
            </a:xfrm>
          </p:grpSpPr>
          <p:grpSp>
            <p:nvGrpSpPr>
              <p:cNvPr id="43" name="Groep 42">
                <a:extLst>
                  <a:ext uri="{FF2B5EF4-FFF2-40B4-BE49-F238E27FC236}">
                    <a16:creationId xmlns:a16="http://schemas.microsoft.com/office/drawing/2014/main" id="{13D8DBC8-22EF-4E73-A9C4-06E9B0FC6DFA}"/>
                  </a:ext>
                </a:extLst>
              </p:cNvPr>
              <p:cNvGrpSpPr/>
              <p:nvPr userDrawn="1"/>
            </p:nvGrpSpPr>
            <p:grpSpPr>
              <a:xfrm>
                <a:off x="-713542" y="4987990"/>
                <a:ext cx="287071" cy="379107"/>
                <a:chOff x="-4050578" y="288410"/>
                <a:chExt cx="322125" cy="379107"/>
              </a:xfrm>
            </p:grpSpPr>
            <p:sp>
              <p:nvSpPr>
                <p:cNvPr id="45" name="Rechthoek met één afgeknipte en afgeronde hoek 47">
                  <a:extLst>
                    <a:ext uri="{FF2B5EF4-FFF2-40B4-BE49-F238E27FC236}">
                      <a16:creationId xmlns:a16="http://schemas.microsoft.com/office/drawing/2014/main" id="{1581829A-683D-4059-9AB9-27CA65A1FC36}"/>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46" name="Rechthoekige driehoek 45">
                  <a:extLst>
                    <a:ext uri="{FF2B5EF4-FFF2-40B4-BE49-F238E27FC236}">
                      <a16:creationId xmlns:a16="http://schemas.microsoft.com/office/drawing/2014/main" id="{9FC27CC7-079B-4A2A-BB35-FB03A92C6520}"/>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47" name="Rechthoek 46">
                  <a:extLst>
                    <a:ext uri="{FF2B5EF4-FFF2-40B4-BE49-F238E27FC236}">
                      <a16:creationId xmlns:a16="http://schemas.microsoft.com/office/drawing/2014/main" id="{741F4B9F-5FCD-40B5-86CF-A048C531C0F7}"/>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48" name="Rechthoek 47">
                  <a:extLst>
                    <a:ext uri="{FF2B5EF4-FFF2-40B4-BE49-F238E27FC236}">
                      <a16:creationId xmlns:a16="http://schemas.microsoft.com/office/drawing/2014/main" id="{BCF6A7FC-E619-4D03-9CBE-0D50B1F6FC35}"/>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44" name="Rechthoek 43">
                <a:extLst>
                  <a:ext uri="{FF2B5EF4-FFF2-40B4-BE49-F238E27FC236}">
                    <a16:creationId xmlns:a16="http://schemas.microsoft.com/office/drawing/2014/main" id="{7A8269B5-0E36-4F2B-A11E-83DE7E9719A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Tree>
    <p:extLst>
      <p:ext uri="{BB962C8B-B14F-4D97-AF65-F5344CB8AC3E}">
        <p14:creationId xmlns:p14="http://schemas.microsoft.com/office/powerpoint/2010/main" val="1739853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accent1"/>
        </a:solidFill>
        <a:effectLst/>
      </p:bgPr>
    </p:bg>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49A35512-E66C-4B0E-B778-F0E5B281D968}"/>
              </a:ext>
            </a:extLst>
          </p:cNvPr>
          <p:cNvSpPr/>
          <p:nvPr userDrawn="1"/>
        </p:nvSpPr>
        <p:spPr>
          <a:xfrm>
            <a:off x="-8063"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34" name="Tekstvak 33">
            <a:extLst>
              <a:ext uri="{FF2B5EF4-FFF2-40B4-BE49-F238E27FC236}">
                <a16:creationId xmlns:a16="http://schemas.microsoft.com/office/drawing/2014/main" id="{B2205660-FE05-4E7B-8184-EEBA0424515C}"/>
              </a:ext>
            </a:extLst>
          </p:cNvPr>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Closing</a:t>
            </a:r>
            <a:endParaRPr lang="en-US" sz="788" b="0" spc="38" baseline="0">
              <a:solidFill>
                <a:schemeClr val="accent2"/>
              </a:solidFill>
              <a:latin typeface="+mj-lt"/>
              <a:cs typeface="Calibri" panose="020F0502020204030204" pitchFamily="34" charset="0"/>
            </a:endParaRPr>
          </a:p>
        </p:txBody>
      </p:sp>
      <p:pic>
        <p:nvPicPr>
          <p:cNvPr id="4" name="Afbeelding 3">
            <a:extLst>
              <a:ext uri="{FF2B5EF4-FFF2-40B4-BE49-F238E27FC236}">
                <a16:creationId xmlns:a16="http://schemas.microsoft.com/office/drawing/2014/main" id="{ED8AFDC3-1D45-4EB5-8176-44D162FD463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3199175"/>
            <a:ext cx="9144000" cy="697735"/>
          </a:xfrm>
          <a:prstGeom prst="rect">
            <a:avLst/>
          </a:prstGeom>
        </p:spPr>
      </p:pic>
      <p:grpSp>
        <p:nvGrpSpPr>
          <p:cNvPr id="6" name="Graphic 4">
            <a:extLst>
              <a:ext uri="{FF2B5EF4-FFF2-40B4-BE49-F238E27FC236}">
                <a16:creationId xmlns:a16="http://schemas.microsoft.com/office/drawing/2014/main" id="{7D8F12DC-C536-4BBB-8858-BD20A9DA6D26}"/>
              </a:ext>
            </a:extLst>
          </p:cNvPr>
          <p:cNvGrpSpPr/>
          <p:nvPr/>
        </p:nvGrpSpPr>
        <p:grpSpPr>
          <a:xfrm>
            <a:off x="488333" y="3888007"/>
            <a:ext cx="1391044" cy="742231"/>
            <a:chOff x="5024437" y="2857404"/>
            <a:chExt cx="2143791" cy="1143880"/>
          </a:xfrm>
          <a:solidFill>
            <a:schemeClr val="bg1"/>
          </a:solidFill>
        </p:grpSpPr>
        <p:grpSp>
          <p:nvGrpSpPr>
            <p:cNvPr id="7" name="Graphic 4">
              <a:extLst>
                <a:ext uri="{FF2B5EF4-FFF2-40B4-BE49-F238E27FC236}">
                  <a16:creationId xmlns:a16="http://schemas.microsoft.com/office/drawing/2014/main" id="{7D8F12DC-C536-4BBB-8858-BD20A9DA6D26}"/>
                </a:ext>
              </a:extLst>
            </p:cNvPr>
            <p:cNvGrpSpPr/>
            <p:nvPr/>
          </p:nvGrpSpPr>
          <p:grpSpPr>
            <a:xfrm>
              <a:off x="5161787" y="3182683"/>
              <a:ext cx="1868805" cy="403764"/>
              <a:chOff x="5161787" y="3182683"/>
              <a:chExt cx="1868805" cy="403764"/>
            </a:xfrm>
            <a:grpFill/>
          </p:grpSpPr>
          <p:sp>
            <p:nvSpPr>
              <p:cNvPr id="8" name="Vrije vorm: vorm 7">
                <a:extLst>
                  <a:ext uri="{FF2B5EF4-FFF2-40B4-BE49-F238E27FC236}">
                    <a16:creationId xmlns:a16="http://schemas.microsoft.com/office/drawing/2014/main" id="{17F19E38-900F-446B-BBEF-045691CC69B3}"/>
                  </a:ext>
                </a:extLst>
              </p:cNvPr>
              <p:cNvSpPr/>
              <p:nvPr/>
            </p:nvSpPr>
            <p:spPr>
              <a:xfrm>
                <a:off x="5161787" y="3183516"/>
                <a:ext cx="304990" cy="394169"/>
              </a:xfrm>
              <a:custGeom>
                <a:avLst/>
                <a:gdLst>
                  <a:gd name="connsiteX0" fmla="*/ 89344 w 304990"/>
                  <a:gd name="connsiteY0" fmla="*/ 56889 h 394169"/>
                  <a:gd name="connsiteX1" fmla="*/ 169164 w 304990"/>
                  <a:gd name="connsiteY1" fmla="*/ 118230 h 394169"/>
                  <a:gd name="connsiteX2" fmla="*/ 89344 w 304990"/>
                  <a:gd name="connsiteY2" fmla="*/ 182809 h 394169"/>
                  <a:gd name="connsiteX3" fmla="*/ 89344 w 304990"/>
                  <a:gd name="connsiteY3" fmla="*/ 56889 h 394169"/>
                  <a:gd name="connsiteX4" fmla="*/ 10668 w 304990"/>
                  <a:gd name="connsiteY4" fmla="*/ 292156 h 394169"/>
                  <a:gd name="connsiteX5" fmla="*/ 95 w 304990"/>
                  <a:gd name="connsiteY5" fmla="*/ 394169 h 394169"/>
                  <a:gd name="connsiteX6" fmla="*/ 100298 w 304990"/>
                  <a:gd name="connsiteY6" fmla="*/ 394169 h 394169"/>
                  <a:gd name="connsiteX7" fmla="*/ 89249 w 304990"/>
                  <a:gd name="connsiteY7" fmla="*/ 309016 h 394169"/>
                  <a:gd name="connsiteX8" fmla="*/ 89249 w 304990"/>
                  <a:gd name="connsiteY8" fmla="*/ 237959 h 394169"/>
                  <a:gd name="connsiteX9" fmla="*/ 233458 w 304990"/>
                  <a:gd name="connsiteY9" fmla="*/ 394169 h 394169"/>
                  <a:gd name="connsiteX10" fmla="*/ 304991 w 304990"/>
                  <a:gd name="connsiteY10" fmla="*/ 394169 h 394169"/>
                  <a:gd name="connsiteX11" fmla="*/ 168878 w 304990"/>
                  <a:gd name="connsiteY11" fmla="*/ 217576 h 394169"/>
                  <a:gd name="connsiteX12" fmla="*/ 255080 w 304990"/>
                  <a:gd name="connsiteY12" fmla="*/ 112515 h 394169"/>
                  <a:gd name="connsiteX13" fmla="*/ 100013 w 304990"/>
                  <a:gd name="connsiteY13" fmla="*/ 25 h 394169"/>
                  <a:gd name="connsiteX14" fmla="*/ 0 w 304990"/>
                  <a:gd name="connsiteY14" fmla="*/ 1072 h 394169"/>
                  <a:gd name="connsiteX15" fmla="*/ 10573 w 304990"/>
                  <a:gd name="connsiteY15" fmla="*/ 82511 h 394169"/>
                  <a:gd name="connsiteX16" fmla="*/ 10573 w 304990"/>
                  <a:gd name="connsiteY16" fmla="*/ 292156 h 39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4990" h="394169">
                    <a:moveTo>
                      <a:pt x="89344" y="56889"/>
                    </a:moveTo>
                    <a:cubicBezTo>
                      <a:pt x="142113" y="60699"/>
                      <a:pt x="169164" y="88798"/>
                      <a:pt x="169164" y="118230"/>
                    </a:cubicBezTo>
                    <a:cubicBezTo>
                      <a:pt x="169164" y="178714"/>
                      <a:pt x="107728" y="181095"/>
                      <a:pt x="89344" y="182809"/>
                    </a:cubicBezTo>
                    <a:lnTo>
                      <a:pt x="89344" y="56889"/>
                    </a:lnTo>
                    <a:close/>
                    <a:moveTo>
                      <a:pt x="10668" y="292156"/>
                    </a:moveTo>
                    <a:cubicBezTo>
                      <a:pt x="10668" y="326351"/>
                      <a:pt x="8572" y="355212"/>
                      <a:pt x="95" y="394169"/>
                    </a:cubicBezTo>
                    <a:lnTo>
                      <a:pt x="100298" y="394169"/>
                    </a:lnTo>
                    <a:cubicBezTo>
                      <a:pt x="89726" y="352164"/>
                      <a:pt x="89249" y="339496"/>
                      <a:pt x="89249" y="309016"/>
                    </a:cubicBezTo>
                    <a:lnTo>
                      <a:pt x="89249" y="237959"/>
                    </a:lnTo>
                    <a:cubicBezTo>
                      <a:pt x="170688" y="346258"/>
                      <a:pt x="180404" y="348449"/>
                      <a:pt x="233458" y="394169"/>
                    </a:cubicBezTo>
                    <a:lnTo>
                      <a:pt x="304991" y="394169"/>
                    </a:lnTo>
                    <a:cubicBezTo>
                      <a:pt x="258223" y="337972"/>
                      <a:pt x="204026" y="279583"/>
                      <a:pt x="168878" y="217576"/>
                    </a:cubicBezTo>
                    <a:cubicBezTo>
                      <a:pt x="186785" y="208146"/>
                      <a:pt x="255080" y="197573"/>
                      <a:pt x="255080" y="112515"/>
                    </a:cubicBezTo>
                    <a:cubicBezTo>
                      <a:pt x="255080" y="59461"/>
                      <a:pt x="222790" y="-1404"/>
                      <a:pt x="100013" y="25"/>
                    </a:cubicBezTo>
                    <a:lnTo>
                      <a:pt x="0" y="1072"/>
                    </a:lnTo>
                    <a:cubicBezTo>
                      <a:pt x="4191" y="14693"/>
                      <a:pt x="10573" y="36315"/>
                      <a:pt x="10573" y="82511"/>
                    </a:cubicBezTo>
                    <a:lnTo>
                      <a:pt x="10573" y="292156"/>
                    </a:lnTo>
                    <a:close/>
                  </a:path>
                </a:pathLst>
              </a:custGeom>
              <a:grpFill/>
              <a:ln w="9525" cap="flat">
                <a:noFill/>
                <a:prstDash val="solid"/>
                <a:miter/>
              </a:ln>
            </p:spPr>
            <p:txBody>
              <a:bodyPr rtlCol="0" anchor="ctr"/>
              <a:lstStyle/>
              <a:p>
                <a:endParaRPr lang="en-US" sz="1050"/>
              </a:p>
            </p:txBody>
          </p:sp>
          <p:sp>
            <p:nvSpPr>
              <p:cNvPr id="9" name="Vrije vorm: vorm 8">
                <a:extLst>
                  <a:ext uri="{FF2B5EF4-FFF2-40B4-BE49-F238E27FC236}">
                    <a16:creationId xmlns:a16="http://schemas.microsoft.com/office/drawing/2014/main" id="{E4072D40-577B-422C-B33C-DEAB2A6644C1}"/>
                  </a:ext>
                </a:extLst>
              </p:cNvPr>
              <p:cNvSpPr/>
              <p:nvPr/>
            </p:nvSpPr>
            <p:spPr>
              <a:xfrm>
                <a:off x="5462015" y="3296983"/>
                <a:ext cx="218422" cy="289464"/>
              </a:xfrm>
              <a:custGeom>
                <a:avLst/>
                <a:gdLst>
                  <a:gd name="connsiteX0" fmla="*/ 64484 w 218422"/>
                  <a:gd name="connsiteY0" fmla="*/ 114395 h 289464"/>
                  <a:gd name="connsiteX1" fmla="*/ 113538 w 218422"/>
                  <a:gd name="connsiteY1" fmla="*/ 47625 h 289464"/>
                  <a:gd name="connsiteX2" fmla="*/ 156591 w 218422"/>
                  <a:gd name="connsiteY2" fmla="*/ 114395 h 289464"/>
                  <a:gd name="connsiteX3" fmla="*/ 64484 w 218422"/>
                  <a:gd name="connsiteY3" fmla="*/ 114395 h 289464"/>
                  <a:gd name="connsiteX4" fmla="*/ 214027 w 218422"/>
                  <a:gd name="connsiteY4" fmla="*/ 211074 h 289464"/>
                  <a:gd name="connsiteX5" fmla="*/ 150781 w 218422"/>
                  <a:gd name="connsiteY5" fmla="*/ 229743 h 289464"/>
                  <a:gd name="connsiteX6" fmla="*/ 71914 w 218422"/>
                  <a:gd name="connsiteY6" fmla="*/ 158305 h 289464"/>
                  <a:gd name="connsiteX7" fmla="*/ 216980 w 218422"/>
                  <a:gd name="connsiteY7" fmla="*/ 158020 h 289464"/>
                  <a:gd name="connsiteX8" fmla="*/ 216694 w 218422"/>
                  <a:gd name="connsiteY8" fmla="*/ 85725 h 289464"/>
                  <a:gd name="connsiteX9" fmla="*/ 116205 w 218422"/>
                  <a:gd name="connsiteY9" fmla="*/ 0 h 289464"/>
                  <a:gd name="connsiteX10" fmla="*/ 0 w 218422"/>
                  <a:gd name="connsiteY10" fmla="*/ 147733 h 289464"/>
                  <a:gd name="connsiteX11" fmla="*/ 133064 w 218422"/>
                  <a:gd name="connsiteY11" fmla="*/ 289465 h 289464"/>
                  <a:gd name="connsiteX12" fmla="*/ 191167 w 218422"/>
                  <a:gd name="connsiteY12" fmla="*/ 274511 h 289464"/>
                  <a:gd name="connsiteX13" fmla="*/ 214027 w 218422"/>
                  <a:gd name="connsiteY13" fmla="*/ 211074 h 28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8422" h="289464">
                    <a:moveTo>
                      <a:pt x="64484" y="114395"/>
                    </a:moveTo>
                    <a:cubicBezTo>
                      <a:pt x="64484" y="85630"/>
                      <a:pt x="85820" y="47625"/>
                      <a:pt x="113538" y="47625"/>
                    </a:cubicBezTo>
                    <a:cubicBezTo>
                      <a:pt x="136589" y="47625"/>
                      <a:pt x="156591" y="72866"/>
                      <a:pt x="156591" y="114395"/>
                    </a:cubicBezTo>
                    <a:lnTo>
                      <a:pt x="64484" y="114395"/>
                    </a:lnTo>
                    <a:close/>
                    <a:moveTo>
                      <a:pt x="214027" y="211074"/>
                    </a:moveTo>
                    <a:cubicBezTo>
                      <a:pt x="183071" y="225266"/>
                      <a:pt x="172784" y="229743"/>
                      <a:pt x="150781" y="229743"/>
                    </a:cubicBezTo>
                    <a:cubicBezTo>
                      <a:pt x="89821" y="229743"/>
                      <a:pt x="73438" y="177260"/>
                      <a:pt x="71914" y="158305"/>
                    </a:cubicBezTo>
                    <a:lnTo>
                      <a:pt x="216980" y="158020"/>
                    </a:lnTo>
                    <a:cubicBezTo>
                      <a:pt x="216980" y="128111"/>
                      <a:pt x="220409" y="107823"/>
                      <a:pt x="216694" y="85725"/>
                    </a:cubicBezTo>
                    <a:cubicBezTo>
                      <a:pt x="208788" y="33147"/>
                      <a:pt x="161449" y="0"/>
                      <a:pt x="116205" y="0"/>
                    </a:cubicBezTo>
                    <a:cubicBezTo>
                      <a:pt x="51530" y="0"/>
                      <a:pt x="0" y="56293"/>
                      <a:pt x="0" y="147733"/>
                    </a:cubicBezTo>
                    <a:cubicBezTo>
                      <a:pt x="0" y="209741"/>
                      <a:pt x="45339" y="289465"/>
                      <a:pt x="133064" y="289465"/>
                    </a:cubicBezTo>
                    <a:cubicBezTo>
                      <a:pt x="158782" y="289465"/>
                      <a:pt x="174308" y="280321"/>
                      <a:pt x="191167" y="274511"/>
                    </a:cubicBezTo>
                    <a:lnTo>
                      <a:pt x="214027" y="211074"/>
                    </a:lnTo>
                    <a:close/>
                  </a:path>
                </a:pathLst>
              </a:custGeom>
              <a:grpFill/>
              <a:ln w="9525" cap="flat">
                <a:noFill/>
                <a:prstDash val="solid"/>
                <a:miter/>
              </a:ln>
            </p:spPr>
            <p:txBody>
              <a:bodyPr rtlCol="0" anchor="ctr"/>
              <a:lstStyle/>
              <a:p>
                <a:endParaRPr lang="en-US" sz="1050"/>
              </a:p>
            </p:txBody>
          </p:sp>
          <p:sp>
            <p:nvSpPr>
              <p:cNvPr id="10" name="Vrije vorm: vorm 9">
                <a:extLst>
                  <a:ext uri="{FF2B5EF4-FFF2-40B4-BE49-F238E27FC236}">
                    <a16:creationId xmlns:a16="http://schemas.microsoft.com/office/drawing/2014/main" id="{EBFF6469-4AD4-4C96-ADE0-F9317E47B6B5}"/>
                  </a:ext>
                </a:extLst>
              </p:cNvPr>
              <p:cNvSpPr/>
              <p:nvPr/>
            </p:nvSpPr>
            <p:spPr>
              <a:xfrm>
                <a:off x="5702236" y="3182683"/>
                <a:ext cx="188023" cy="395001"/>
              </a:xfrm>
              <a:custGeom>
                <a:avLst/>
                <a:gdLst>
                  <a:gd name="connsiteX0" fmla="*/ 158782 w 188023"/>
                  <a:gd name="connsiteY0" fmla="*/ 169831 h 395001"/>
                  <a:gd name="connsiteX1" fmla="*/ 101822 w 188023"/>
                  <a:gd name="connsiteY1" fmla="*/ 169831 h 395001"/>
                  <a:gd name="connsiteX2" fmla="*/ 101822 w 188023"/>
                  <a:gd name="connsiteY2" fmla="*/ 328232 h 395001"/>
                  <a:gd name="connsiteX3" fmla="*/ 116491 w 188023"/>
                  <a:gd name="connsiteY3" fmla="*/ 393954 h 395001"/>
                  <a:gd name="connsiteX4" fmla="*/ 23717 w 188023"/>
                  <a:gd name="connsiteY4" fmla="*/ 395002 h 395001"/>
                  <a:gd name="connsiteX5" fmla="*/ 38957 w 188023"/>
                  <a:gd name="connsiteY5" fmla="*/ 324041 h 395001"/>
                  <a:gd name="connsiteX6" fmla="*/ 38957 w 188023"/>
                  <a:gd name="connsiteY6" fmla="*/ 169831 h 395001"/>
                  <a:gd name="connsiteX7" fmla="*/ 0 w 188023"/>
                  <a:gd name="connsiteY7" fmla="*/ 168783 h 395001"/>
                  <a:gd name="connsiteX8" fmla="*/ 24479 w 188023"/>
                  <a:gd name="connsiteY8" fmla="*/ 121253 h 395001"/>
                  <a:gd name="connsiteX9" fmla="*/ 38957 w 188023"/>
                  <a:gd name="connsiteY9" fmla="*/ 121158 h 395001"/>
                  <a:gd name="connsiteX10" fmla="*/ 38957 w 188023"/>
                  <a:gd name="connsiteY10" fmla="*/ 104870 h 395001"/>
                  <a:gd name="connsiteX11" fmla="*/ 129349 w 188023"/>
                  <a:gd name="connsiteY11" fmla="*/ 0 h 395001"/>
                  <a:gd name="connsiteX12" fmla="*/ 188023 w 188023"/>
                  <a:gd name="connsiteY12" fmla="*/ 9716 h 395001"/>
                  <a:gd name="connsiteX13" fmla="*/ 177546 w 188023"/>
                  <a:gd name="connsiteY13" fmla="*/ 62770 h 395001"/>
                  <a:gd name="connsiteX14" fmla="*/ 137636 w 188023"/>
                  <a:gd name="connsiteY14" fmla="*/ 47625 h 395001"/>
                  <a:gd name="connsiteX15" fmla="*/ 101917 w 188023"/>
                  <a:gd name="connsiteY15" fmla="*/ 90106 h 395001"/>
                  <a:gd name="connsiteX16" fmla="*/ 101917 w 188023"/>
                  <a:gd name="connsiteY16" fmla="*/ 118967 h 395001"/>
                  <a:gd name="connsiteX17" fmla="*/ 158877 w 188023"/>
                  <a:gd name="connsiteY17" fmla="*/ 118967 h 395001"/>
                  <a:gd name="connsiteX18" fmla="*/ 158877 w 188023"/>
                  <a:gd name="connsiteY18" fmla="*/ 169831 h 39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8023" h="395001">
                    <a:moveTo>
                      <a:pt x="158782" y="169831"/>
                    </a:moveTo>
                    <a:lnTo>
                      <a:pt x="101822" y="169831"/>
                    </a:lnTo>
                    <a:lnTo>
                      <a:pt x="101822" y="328232"/>
                    </a:lnTo>
                    <a:cubicBezTo>
                      <a:pt x="101822" y="366046"/>
                      <a:pt x="108680" y="379190"/>
                      <a:pt x="116491" y="393954"/>
                    </a:cubicBezTo>
                    <a:lnTo>
                      <a:pt x="23717" y="395002"/>
                    </a:lnTo>
                    <a:cubicBezTo>
                      <a:pt x="36290" y="371856"/>
                      <a:pt x="38957" y="352996"/>
                      <a:pt x="38957" y="324041"/>
                    </a:cubicBezTo>
                    <a:lnTo>
                      <a:pt x="38957" y="169831"/>
                    </a:lnTo>
                    <a:lnTo>
                      <a:pt x="0" y="168783"/>
                    </a:lnTo>
                    <a:cubicBezTo>
                      <a:pt x="10192" y="155734"/>
                      <a:pt x="24479" y="121253"/>
                      <a:pt x="24479" y="121253"/>
                    </a:cubicBezTo>
                    <a:lnTo>
                      <a:pt x="38957" y="121158"/>
                    </a:lnTo>
                    <a:lnTo>
                      <a:pt x="38957" y="104870"/>
                    </a:lnTo>
                    <a:cubicBezTo>
                      <a:pt x="38957" y="65246"/>
                      <a:pt x="52006" y="0"/>
                      <a:pt x="129349" y="0"/>
                    </a:cubicBezTo>
                    <a:cubicBezTo>
                      <a:pt x="149352" y="0"/>
                      <a:pt x="173831" y="6572"/>
                      <a:pt x="188023" y="9716"/>
                    </a:cubicBezTo>
                    <a:cubicBezTo>
                      <a:pt x="182785" y="36004"/>
                      <a:pt x="181165" y="37529"/>
                      <a:pt x="177546" y="62770"/>
                    </a:cubicBezTo>
                    <a:cubicBezTo>
                      <a:pt x="171259" y="49625"/>
                      <a:pt x="156019" y="47625"/>
                      <a:pt x="137636" y="47625"/>
                    </a:cubicBezTo>
                    <a:cubicBezTo>
                      <a:pt x="116395" y="47625"/>
                      <a:pt x="101917" y="73819"/>
                      <a:pt x="101917" y="90106"/>
                    </a:cubicBezTo>
                    <a:lnTo>
                      <a:pt x="101917" y="118967"/>
                    </a:lnTo>
                    <a:lnTo>
                      <a:pt x="158877" y="118967"/>
                    </a:lnTo>
                    <a:lnTo>
                      <a:pt x="158877" y="169831"/>
                    </a:lnTo>
                    <a:close/>
                  </a:path>
                </a:pathLst>
              </a:custGeom>
              <a:grpFill/>
              <a:ln w="9525" cap="flat">
                <a:noFill/>
                <a:prstDash val="solid"/>
                <a:miter/>
              </a:ln>
            </p:spPr>
            <p:txBody>
              <a:bodyPr rtlCol="0" anchor="ctr"/>
              <a:lstStyle/>
              <a:p>
                <a:endParaRPr lang="en-US" sz="1050"/>
              </a:p>
            </p:txBody>
          </p:sp>
          <p:sp>
            <p:nvSpPr>
              <p:cNvPr id="12" name="Vrije vorm: vorm 11">
                <a:extLst>
                  <a:ext uri="{FF2B5EF4-FFF2-40B4-BE49-F238E27FC236}">
                    <a16:creationId xmlns:a16="http://schemas.microsoft.com/office/drawing/2014/main" id="{B0556FFB-D088-4FBC-BB5C-5F3137257345}"/>
                  </a:ext>
                </a:extLst>
              </p:cNvPr>
              <p:cNvSpPr/>
              <p:nvPr/>
            </p:nvSpPr>
            <p:spPr>
              <a:xfrm>
                <a:off x="5904832" y="3295078"/>
                <a:ext cx="175355" cy="282511"/>
              </a:xfrm>
              <a:custGeom>
                <a:avLst/>
                <a:gdLst>
                  <a:gd name="connsiteX0" fmla="*/ 86868 w 175355"/>
                  <a:gd name="connsiteY0" fmla="*/ 7144 h 282511"/>
                  <a:gd name="connsiteX1" fmla="*/ 84201 w 175355"/>
                  <a:gd name="connsiteY1" fmla="*/ 44958 h 282511"/>
                  <a:gd name="connsiteX2" fmla="*/ 84201 w 175355"/>
                  <a:gd name="connsiteY2" fmla="*/ 58293 h 282511"/>
                  <a:gd name="connsiteX3" fmla="*/ 147161 w 175355"/>
                  <a:gd name="connsiteY3" fmla="*/ 0 h 282511"/>
                  <a:gd name="connsiteX4" fmla="*/ 175355 w 175355"/>
                  <a:gd name="connsiteY4" fmla="*/ 9716 h 282511"/>
                  <a:gd name="connsiteX5" fmla="*/ 166402 w 175355"/>
                  <a:gd name="connsiteY5" fmla="*/ 73057 h 282511"/>
                  <a:gd name="connsiteX6" fmla="*/ 138875 w 175355"/>
                  <a:gd name="connsiteY6" fmla="*/ 58865 h 282511"/>
                  <a:gd name="connsiteX7" fmla="*/ 84201 w 175355"/>
                  <a:gd name="connsiteY7" fmla="*/ 97536 h 282511"/>
                  <a:gd name="connsiteX8" fmla="*/ 84201 w 175355"/>
                  <a:gd name="connsiteY8" fmla="*/ 217837 h 282511"/>
                  <a:gd name="connsiteX9" fmla="*/ 97917 w 175355"/>
                  <a:gd name="connsiteY9" fmla="*/ 282512 h 282511"/>
                  <a:gd name="connsiteX10" fmla="*/ 0 w 175355"/>
                  <a:gd name="connsiteY10" fmla="*/ 282512 h 282511"/>
                  <a:gd name="connsiteX11" fmla="*/ 13621 w 175355"/>
                  <a:gd name="connsiteY11" fmla="*/ 229934 h 282511"/>
                  <a:gd name="connsiteX12" fmla="*/ 13621 w 175355"/>
                  <a:gd name="connsiteY12" fmla="*/ 55055 h 282511"/>
                  <a:gd name="connsiteX13" fmla="*/ 4667 w 175355"/>
                  <a:gd name="connsiteY13" fmla="*/ 7239 h 282511"/>
                  <a:gd name="connsiteX14" fmla="*/ 86868 w 175355"/>
                  <a:gd name="connsiteY14" fmla="*/ 7239 h 28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5355" h="282511">
                    <a:moveTo>
                      <a:pt x="86868" y="7144"/>
                    </a:moveTo>
                    <a:cubicBezTo>
                      <a:pt x="84201" y="21336"/>
                      <a:pt x="84201" y="27146"/>
                      <a:pt x="84201" y="44958"/>
                    </a:cubicBezTo>
                    <a:lnTo>
                      <a:pt x="84201" y="58293"/>
                    </a:lnTo>
                    <a:cubicBezTo>
                      <a:pt x="111442" y="18288"/>
                      <a:pt x="126016" y="0"/>
                      <a:pt x="147161" y="0"/>
                    </a:cubicBezTo>
                    <a:cubicBezTo>
                      <a:pt x="158686" y="0"/>
                      <a:pt x="166878" y="5525"/>
                      <a:pt x="175355" y="9716"/>
                    </a:cubicBezTo>
                    <a:lnTo>
                      <a:pt x="166402" y="73057"/>
                    </a:lnTo>
                    <a:cubicBezTo>
                      <a:pt x="156496" y="63341"/>
                      <a:pt x="149733" y="58865"/>
                      <a:pt x="138875" y="58865"/>
                    </a:cubicBezTo>
                    <a:cubicBezTo>
                      <a:pt x="109919" y="58865"/>
                      <a:pt x="94774" y="87630"/>
                      <a:pt x="84201" y="97536"/>
                    </a:cubicBezTo>
                    <a:lnTo>
                      <a:pt x="84201" y="217837"/>
                    </a:lnTo>
                    <a:cubicBezTo>
                      <a:pt x="84201" y="257842"/>
                      <a:pt x="88392" y="266700"/>
                      <a:pt x="97917" y="282512"/>
                    </a:cubicBezTo>
                    <a:lnTo>
                      <a:pt x="0" y="282512"/>
                    </a:lnTo>
                    <a:cubicBezTo>
                      <a:pt x="11049" y="265176"/>
                      <a:pt x="13621" y="256222"/>
                      <a:pt x="13621" y="229934"/>
                    </a:cubicBezTo>
                    <a:lnTo>
                      <a:pt x="13621" y="55055"/>
                    </a:lnTo>
                    <a:cubicBezTo>
                      <a:pt x="13621" y="45053"/>
                      <a:pt x="13621" y="33528"/>
                      <a:pt x="4667" y="7239"/>
                    </a:cubicBezTo>
                    <a:lnTo>
                      <a:pt x="86868" y="7239"/>
                    </a:lnTo>
                    <a:close/>
                  </a:path>
                </a:pathLst>
              </a:custGeom>
              <a:grpFill/>
              <a:ln w="9525" cap="flat">
                <a:noFill/>
                <a:prstDash val="solid"/>
                <a:miter/>
              </a:ln>
            </p:spPr>
            <p:txBody>
              <a:bodyPr rtlCol="0" anchor="ctr"/>
              <a:lstStyle/>
              <a:p>
                <a:endParaRPr lang="en-US" sz="1050"/>
              </a:p>
            </p:txBody>
          </p:sp>
          <p:sp>
            <p:nvSpPr>
              <p:cNvPr id="13" name="Vrije vorm: vorm 12">
                <a:extLst>
                  <a:ext uri="{FF2B5EF4-FFF2-40B4-BE49-F238E27FC236}">
                    <a16:creationId xmlns:a16="http://schemas.microsoft.com/office/drawing/2014/main" id="{DD5D9D03-3490-49C8-99A2-EBC2F2387724}"/>
                  </a:ext>
                </a:extLst>
              </p:cNvPr>
              <p:cNvSpPr/>
              <p:nvPr/>
            </p:nvSpPr>
            <p:spPr>
              <a:xfrm>
                <a:off x="6099714" y="3297078"/>
                <a:ext cx="216904" cy="286607"/>
              </a:xfrm>
              <a:custGeom>
                <a:avLst/>
                <a:gdLst>
                  <a:gd name="connsiteX0" fmla="*/ 67342 w 216904"/>
                  <a:gd name="connsiteY0" fmla="*/ 114300 h 286607"/>
                  <a:gd name="connsiteX1" fmla="*/ 110585 w 216904"/>
                  <a:gd name="connsiteY1" fmla="*/ 47530 h 286607"/>
                  <a:gd name="connsiteX2" fmla="*/ 150781 w 216904"/>
                  <a:gd name="connsiteY2" fmla="*/ 114300 h 286607"/>
                  <a:gd name="connsiteX3" fmla="*/ 67342 w 216904"/>
                  <a:gd name="connsiteY3" fmla="*/ 114300 h 286607"/>
                  <a:gd name="connsiteX4" fmla="*/ 211169 w 216904"/>
                  <a:gd name="connsiteY4" fmla="*/ 210979 h 286607"/>
                  <a:gd name="connsiteX5" fmla="*/ 153638 w 216904"/>
                  <a:gd name="connsiteY5" fmla="*/ 229648 h 286607"/>
                  <a:gd name="connsiteX6" fmla="*/ 71819 w 216904"/>
                  <a:gd name="connsiteY6" fmla="*/ 158210 h 286607"/>
                  <a:gd name="connsiteX7" fmla="*/ 216884 w 216904"/>
                  <a:gd name="connsiteY7" fmla="*/ 155067 h 286607"/>
                  <a:gd name="connsiteX8" fmla="*/ 213741 w 216904"/>
                  <a:gd name="connsiteY8" fmla="*/ 82772 h 286607"/>
                  <a:gd name="connsiteX9" fmla="*/ 116205 w 216904"/>
                  <a:gd name="connsiteY9" fmla="*/ 0 h 286607"/>
                  <a:gd name="connsiteX10" fmla="*/ 0 w 216904"/>
                  <a:gd name="connsiteY10" fmla="*/ 144875 h 286607"/>
                  <a:gd name="connsiteX11" fmla="*/ 124396 w 216904"/>
                  <a:gd name="connsiteY11" fmla="*/ 286607 h 286607"/>
                  <a:gd name="connsiteX12" fmla="*/ 185357 w 216904"/>
                  <a:gd name="connsiteY12" fmla="*/ 274511 h 286607"/>
                  <a:gd name="connsiteX13" fmla="*/ 211169 w 216904"/>
                  <a:gd name="connsiteY13" fmla="*/ 210979 h 28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904" h="286607">
                    <a:moveTo>
                      <a:pt x="67342" y="114300"/>
                    </a:moveTo>
                    <a:cubicBezTo>
                      <a:pt x="71533" y="67532"/>
                      <a:pt x="91250" y="47530"/>
                      <a:pt x="110585" y="47530"/>
                    </a:cubicBezTo>
                    <a:cubicBezTo>
                      <a:pt x="131921" y="47530"/>
                      <a:pt x="152305" y="64294"/>
                      <a:pt x="150781" y="114300"/>
                    </a:cubicBezTo>
                    <a:lnTo>
                      <a:pt x="67342" y="114300"/>
                    </a:lnTo>
                    <a:close/>
                    <a:moveTo>
                      <a:pt x="211169" y="210979"/>
                    </a:moveTo>
                    <a:cubicBezTo>
                      <a:pt x="180213" y="225171"/>
                      <a:pt x="175736" y="229648"/>
                      <a:pt x="153638" y="229648"/>
                    </a:cubicBezTo>
                    <a:cubicBezTo>
                      <a:pt x="92678" y="229648"/>
                      <a:pt x="73438" y="177165"/>
                      <a:pt x="71819" y="158210"/>
                    </a:cubicBezTo>
                    <a:lnTo>
                      <a:pt x="216884" y="155067"/>
                    </a:lnTo>
                    <a:cubicBezTo>
                      <a:pt x="216884" y="125158"/>
                      <a:pt x="217361" y="104775"/>
                      <a:pt x="213741" y="82772"/>
                    </a:cubicBezTo>
                    <a:cubicBezTo>
                      <a:pt x="205835" y="30194"/>
                      <a:pt x="161354" y="0"/>
                      <a:pt x="116205" y="0"/>
                    </a:cubicBezTo>
                    <a:cubicBezTo>
                      <a:pt x="51530" y="0"/>
                      <a:pt x="0" y="53340"/>
                      <a:pt x="0" y="144875"/>
                    </a:cubicBezTo>
                    <a:cubicBezTo>
                      <a:pt x="0" y="206883"/>
                      <a:pt x="36576" y="286607"/>
                      <a:pt x="124396" y="286607"/>
                    </a:cubicBezTo>
                    <a:cubicBezTo>
                      <a:pt x="150114" y="286607"/>
                      <a:pt x="168497" y="280321"/>
                      <a:pt x="185357" y="274511"/>
                    </a:cubicBezTo>
                    <a:lnTo>
                      <a:pt x="211169" y="210979"/>
                    </a:lnTo>
                    <a:close/>
                  </a:path>
                </a:pathLst>
              </a:custGeom>
              <a:grpFill/>
              <a:ln w="9525" cap="flat">
                <a:noFill/>
                <a:prstDash val="solid"/>
                <a:miter/>
              </a:ln>
            </p:spPr>
            <p:txBody>
              <a:bodyPr rtlCol="0" anchor="ctr"/>
              <a:lstStyle/>
              <a:p>
                <a:endParaRPr lang="en-US" sz="1050"/>
              </a:p>
            </p:txBody>
          </p:sp>
          <p:sp>
            <p:nvSpPr>
              <p:cNvPr id="14" name="Vrije vorm: vorm 13">
                <a:extLst>
                  <a:ext uri="{FF2B5EF4-FFF2-40B4-BE49-F238E27FC236}">
                    <a16:creationId xmlns:a16="http://schemas.microsoft.com/office/drawing/2014/main" id="{6B4A61B7-EB2E-44A1-BD9D-FD76359D8DEC}"/>
                  </a:ext>
                </a:extLst>
              </p:cNvPr>
              <p:cNvSpPr/>
              <p:nvPr/>
            </p:nvSpPr>
            <p:spPr>
              <a:xfrm>
                <a:off x="6345840" y="3296888"/>
                <a:ext cx="156114" cy="286988"/>
              </a:xfrm>
              <a:custGeom>
                <a:avLst/>
                <a:gdLst>
                  <a:gd name="connsiteX0" fmla="*/ 152876 w 156114"/>
                  <a:gd name="connsiteY0" fmla="*/ 61055 h 286988"/>
                  <a:gd name="connsiteX1" fmla="*/ 110585 w 156114"/>
                  <a:gd name="connsiteY1" fmla="*/ 48482 h 286988"/>
                  <a:gd name="connsiteX2" fmla="*/ 76486 w 156114"/>
                  <a:gd name="connsiteY2" fmla="*/ 73628 h 286988"/>
                  <a:gd name="connsiteX3" fmla="*/ 114586 w 156114"/>
                  <a:gd name="connsiteY3" fmla="*/ 119824 h 286988"/>
                  <a:gd name="connsiteX4" fmla="*/ 156115 w 156114"/>
                  <a:gd name="connsiteY4" fmla="*/ 201835 h 286988"/>
                  <a:gd name="connsiteX5" fmla="*/ 66199 w 156114"/>
                  <a:gd name="connsiteY5" fmla="*/ 286988 h 286988"/>
                  <a:gd name="connsiteX6" fmla="*/ 0 w 156114"/>
                  <a:gd name="connsiteY6" fmla="*/ 274130 h 286988"/>
                  <a:gd name="connsiteX7" fmla="*/ 762 w 156114"/>
                  <a:gd name="connsiteY7" fmla="*/ 208978 h 286988"/>
                  <a:gd name="connsiteX8" fmla="*/ 64103 w 156114"/>
                  <a:gd name="connsiteY8" fmla="*/ 239649 h 286988"/>
                  <a:gd name="connsiteX9" fmla="*/ 92964 w 156114"/>
                  <a:gd name="connsiteY9" fmla="*/ 213931 h 286988"/>
                  <a:gd name="connsiteX10" fmla="*/ 60960 w 156114"/>
                  <a:gd name="connsiteY10" fmla="*/ 168212 h 286988"/>
                  <a:gd name="connsiteX11" fmla="*/ 8382 w 156114"/>
                  <a:gd name="connsiteY11" fmla="*/ 83058 h 286988"/>
                  <a:gd name="connsiteX12" fmla="*/ 100394 w 156114"/>
                  <a:gd name="connsiteY12" fmla="*/ 0 h 286988"/>
                  <a:gd name="connsiteX13" fmla="*/ 152971 w 156114"/>
                  <a:gd name="connsiteY13" fmla="*/ 11525 h 286988"/>
                  <a:gd name="connsiteX14" fmla="*/ 152971 w 156114"/>
                  <a:gd name="connsiteY14" fmla="*/ 61055 h 28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114" h="286988">
                    <a:moveTo>
                      <a:pt x="152876" y="61055"/>
                    </a:moveTo>
                    <a:cubicBezTo>
                      <a:pt x="141351" y="51149"/>
                      <a:pt x="123063" y="48482"/>
                      <a:pt x="110585" y="48482"/>
                    </a:cubicBezTo>
                    <a:cubicBezTo>
                      <a:pt x="94298" y="48482"/>
                      <a:pt x="76486" y="60103"/>
                      <a:pt x="76486" y="73628"/>
                    </a:cubicBezTo>
                    <a:cubicBezTo>
                      <a:pt x="76486" y="94678"/>
                      <a:pt x="94869" y="105061"/>
                      <a:pt x="114586" y="119824"/>
                    </a:cubicBezTo>
                    <a:cubicBezTo>
                      <a:pt x="141827" y="140398"/>
                      <a:pt x="156115" y="163449"/>
                      <a:pt x="156115" y="201835"/>
                    </a:cubicBezTo>
                    <a:cubicBezTo>
                      <a:pt x="156115" y="248603"/>
                      <a:pt x="125063" y="286988"/>
                      <a:pt x="66199" y="286988"/>
                    </a:cubicBezTo>
                    <a:cubicBezTo>
                      <a:pt x="59341" y="286988"/>
                      <a:pt x="33623" y="284131"/>
                      <a:pt x="0" y="274130"/>
                    </a:cubicBezTo>
                    <a:lnTo>
                      <a:pt x="762" y="208978"/>
                    </a:lnTo>
                    <a:cubicBezTo>
                      <a:pt x="26575" y="231839"/>
                      <a:pt x="48292" y="239839"/>
                      <a:pt x="64103" y="239649"/>
                    </a:cubicBezTo>
                    <a:cubicBezTo>
                      <a:pt x="79915" y="239458"/>
                      <a:pt x="92583" y="228791"/>
                      <a:pt x="92964" y="213931"/>
                    </a:cubicBezTo>
                    <a:cubicBezTo>
                      <a:pt x="93345" y="201644"/>
                      <a:pt x="86487" y="190500"/>
                      <a:pt x="60960" y="168212"/>
                    </a:cubicBezTo>
                    <a:cubicBezTo>
                      <a:pt x="44958" y="154210"/>
                      <a:pt x="8382" y="127159"/>
                      <a:pt x="8382" y="83058"/>
                    </a:cubicBezTo>
                    <a:cubicBezTo>
                      <a:pt x="8382" y="52578"/>
                      <a:pt x="34671" y="0"/>
                      <a:pt x="100394" y="0"/>
                    </a:cubicBezTo>
                    <a:cubicBezTo>
                      <a:pt x="121920" y="0"/>
                      <a:pt x="133541" y="4191"/>
                      <a:pt x="152971" y="11525"/>
                    </a:cubicBezTo>
                    <a:lnTo>
                      <a:pt x="152971" y="61055"/>
                    </a:lnTo>
                    <a:close/>
                  </a:path>
                </a:pathLst>
              </a:custGeom>
              <a:grpFill/>
              <a:ln w="9525" cap="flat">
                <a:noFill/>
                <a:prstDash val="solid"/>
                <a:miter/>
              </a:ln>
            </p:spPr>
            <p:txBody>
              <a:bodyPr rtlCol="0" anchor="ctr"/>
              <a:lstStyle/>
              <a:p>
                <a:endParaRPr lang="en-US" sz="1050"/>
              </a:p>
            </p:txBody>
          </p:sp>
          <p:sp>
            <p:nvSpPr>
              <p:cNvPr id="15" name="Vrije vorm: vorm 14">
                <a:extLst>
                  <a:ext uri="{FF2B5EF4-FFF2-40B4-BE49-F238E27FC236}">
                    <a16:creationId xmlns:a16="http://schemas.microsoft.com/office/drawing/2014/main" id="{AF77726D-A23A-4878-81AE-D8C7F964D0D9}"/>
                  </a:ext>
                </a:extLst>
              </p:cNvPr>
              <p:cNvSpPr/>
              <p:nvPr/>
            </p:nvSpPr>
            <p:spPr>
              <a:xfrm>
                <a:off x="6530529" y="3298412"/>
                <a:ext cx="214883" cy="283940"/>
              </a:xfrm>
              <a:custGeom>
                <a:avLst/>
                <a:gdLst>
                  <a:gd name="connsiteX0" fmla="*/ 200882 w 214883"/>
                  <a:gd name="connsiteY0" fmla="*/ 72676 h 283940"/>
                  <a:gd name="connsiteX1" fmla="*/ 146495 w 214883"/>
                  <a:gd name="connsiteY1" fmla="*/ 46863 h 283940"/>
                  <a:gd name="connsiteX2" fmla="*/ 73819 w 214883"/>
                  <a:gd name="connsiteY2" fmla="*/ 139446 h 283940"/>
                  <a:gd name="connsiteX3" fmla="*/ 156782 w 214883"/>
                  <a:gd name="connsiteY3" fmla="*/ 228790 h 283940"/>
                  <a:gd name="connsiteX4" fmla="*/ 214884 w 214883"/>
                  <a:gd name="connsiteY4" fmla="*/ 211550 h 283940"/>
                  <a:gd name="connsiteX5" fmla="*/ 188024 w 214883"/>
                  <a:gd name="connsiteY5" fmla="*/ 280416 h 283940"/>
                  <a:gd name="connsiteX6" fmla="*/ 127730 w 214883"/>
                  <a:gd name="connsiteY6" fmla="*/ 283940 h 283940"/>
                  <a:gd name="connsiteX7" fmla="*/ 0 w 214883"/>
                  <a:gd name="connsiteY7" fmla="*/ 154686 h 283940"/>
                  <a:gd name="connsiteX8" fmla="*/ 151352 w 214883"/>
                  <a:gd name="connsiteY8" fmla="*/ 0 h 283940"/>
                  <a:gd name="connsiteX9" fmla="*/ 206312 w 214883"/>
                  <a:gd name="connsiteY9" fmla="*/ 8572 h 283940"/>
                  <a:gd name="connsiteX10" fmla="*/ 200882 w 214883"/>
                  <a:gd name="connsiteY10" fmla="*/ 72676 h 28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883" h="283940">
                    <a:moveTo>
                      <a:pt x="200882" y="72676"/>
                    </a:moveTo>
                    <a:cubicBezTo>
                      <a:pt x="195834" y="67437"/>
                      <a:pt x="178689" y="46863"/>
                      <a:pt x="146495" y="46863"/>
                    </a:cubicBezTo>
                    <a:cubicBezTo>
                      <a:pt x="90678" y="46863"/>
                      <a:pt x="73819" y="104775"/>
                      <a:pt x="73819" y="139446"/>
                    </a:cubicBezTo>
                    <a:cubicBezTo>
                      <a:pt x="73819" y="206216"/>
                      <a:pt x="134017" y="228790"/>
                      <a:pt x="156782" y="228790"/>
                    </a:cubicBezTo>
                    <a:cubicBezTo>
                      <a:pt x="180404" y="228790"/>
                      <a:pt x="201454" y="219075"/>
                      <a:pt x="214884" y="211550"/>
                    </a:cubicBezTo>
                    <a:lnTo>
                      <a:pt x="188024" y="280416"/>
                    </a:lnTo>
                    <a:cubicBezTo>
                      <a:pt x="173450" y="283083"/>
                      <a:pt x="147733" y="283940"/>
                      <a:pt x="127730" y="283940"/>
                    </a:cubicBezTo>
                    <a:cubicBezTo>
                      <a:pt x="60293" y="283940"/>
                      <a:pt x="0" y="219075"/>
                      <a:pt x="0" y="154686"/>
                    </a:cubicBezTo>
                    <a:cubicBezTo>
                      <a:pt x="0" y="96298"/>
                      <a:pt x="30671" y="0"/>
                      <a:pt x="151352" y="0"/>
                    </a:cubicBezTo>
                    <a:cubicBezTo>
                      <a:pt x="175546" y="0"/>
                      <a:pt x="192119" y="6001"/>
                      <a:pt x="206312" y="8572"/>
                    </a:cubicBezTo>
                    <a:lnTo>
                      <a:pt x="200882" y="72676"/>
                    </a:lnTo>
                    <a:close/>
                  </a:path>
                </a:pathLst>
              </a:custGeom>
              <a:grpFill/>
              <a:ln w="9525" cap="flat">
                <a:noFill/>
                <a:prstDash val="solid"/>
                <a:miter/>
              </a:ln>
            </p:spPr>
            <p:txBody>
              <a:bodyPr rtlCol="0" anchor="ctr"/>
              <a:lstStyle/>
              <a:p>
                <a:endParaRPr lang="en-US" sz="1050"/>
              </a:p>
            </p:txBody>
          </p:sp>
          <p:sp>
            <p:nvSpPr>
              <p:cNvPr id="16" name="Vrije vorm: vorm 15">
                <a:extLst>
                  <a:ext uri="{FF2B5EF4-FFF2-40B4-BE49-F238E27FC236}">
                    <a16:creationId xmlns:a16="http://schemas.microsoft.com/office/drawing/2014/main" id="{9BFC43D2-0285-41D4-B8C6-CC52D297FEC0}"/>
                  </a:ext>
                </a:extLst>
              </p:cNvPr>
              <p:cNvSpPr/>
              <p:nvPr/>
            </p:nvSpPr>
            <p:spPr>
              <a:xfrm>
                <a:off x="6768274" y="3296130"/>
                <a:ext cx="262318" cy="288698"/>
              </a:xfrm>
              <a:custGeom>
                <a:avLst/>
                <a:gdLst>
                  <a:gd name="connsiteX0" fmla="*/ 150590 w 262318"/>
                  <a:gd name="connsiteY0" fmla="*/ 240502 h 288698"/>
                  <a:gd name="connsiteX1" fmla="*/ 67913 w 262318"/>
                  <a:gd name="connsiteY1" fmla="*/ 141442 h 288698"/>
                  <a:gd name="connsiteX2" fmla="*/ 108490 w 262318"/>
                  <a:gd name="connsiteY2" fmla="*/ 46002 h 288698"/>
                  <a:gd name="connsiteX3" fmla="*/ 186785 w 262318"/>
                  <a:gd name="connsiteY3" fmla="*/ 145824 h 288698"/>
                  <a:gd name="connsiteX4" fmla="*/ 150590 w 262318"/>
                  <a:gd name="connsiteY4" fmla="*/ 240502 h 288698"/>
                  <a:gd name="connsiteX5" fmla="*/ 110871 w 262318"/>
                  <a:gd name="connsiteY5" fmla="*/ 91 h 288698"/>
                  <a:gd name="connsiteX6" fmla="*/ 0 w 262318"/>
                  <a:gd name="connsiteY6" fmla="*/ 154873 h 288698"/>
                  <a:gd name="connsiteX7" fmla="*/ 128302 w 262318"/>
                  <a:gd name="connsiteY7" fmla="*/ 288699 h 288698"/>
                  <a:gd name="connsiteX8" fmla="*/ 262318 w 262318"/>
                  <a:gd name="connsiteY8" fmla="*/ 134965 h 288698"/>
                  <a:gd name="connsiteX9" fmla="*/ 110871 w 262318"/>
                  <a:gd name="connsiteY9" fmla="*/ 91 h 28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318" h="288698">
                    <a:moveTo>
                      <a:pt x="150590" y="240502"/>
                    </a:moveTo>
                    <a:cubicBezTo>
                      <a:pt x="103822" y="244408"/>
                      <a:pt x="67913" y="181638"/>
                      <a:pt x="67913" y="141442"/>
                    </a:cubicBezTo>
                    <a:cubicBezTo>
                      <a:pt x="67913" y="101247"/>
                      <a:pt x="95917" y="46002"/>
                      <a:pt x="108490" y="46002"/>
                    </a:cubicBezTo>
                    <a:cubicBezTo>
                      <a:pt x="137160" y="46002"/>
                      <a:pt x="186785" y="79244"/>
                      <a:pt x="186785" y="145824"/>
                    </a:cubicBezTo>
                    <a:cubicBezTo>
                      <a:pt x="186785" y="207546"/>
                      <a:pt x="158020" y="234597"/>
                      <a:pt x="150590" y="240502"/>
                    </a:cubicBezTo>
                    <a:close/>
                    <a:moveTo>
                      <a:pt x="110871" y="91"/>
                    </a:moveTo>
                    <a:cubicBezTo>
                      <a:pt x="65627" y="13712"/>
                      <a:pt x="0" y="40287"/>
                      <a:pt x="0" y="154873"/>
                    </a:cubicBezTo>
                    <a:cubicBezTo>
                      <a:pt x="0" y="250504"/>
                      <a:pt x="74676" y="288699"/>
                      <a:pt x="128302" y="288699"/>
                    </a:cubicBezTo>
                    <a:cubicBezTo>
                      <a:pt x="161925" y="288699"/>
                      <a:pt x="262318" y="254790"/>
                      <a:pt x="262318" y="134965"/>
                    </a:cubicBezTo>
                    <a:cubicBezTo>
                      <a:pt x="262414" y="53431"/>
                      <a:pt x="186023" y="-2576"/>
                      <a:pt x="110871" y="91"/>
                    </a:cubicBezTo>
                    <a:close/>
                  </a:path>
                </a:pathLst>
              </a:custGeom>
              <a:grpFill/>
              <a:ln w="9525" cap="flat">
                <a:noFill/>
                <a:prstDash val="solid"/>
                <a:miter/>
              </a:ln>
            </p:spPr>
            <p:txBody>
              <a:bodyPr rtlCol="0" anchor="ctr"/>
              <a:lstStyle/>
              <a:p>
                <a:endParaRPr lang="en-US" sz="1050"/>
              </a:p>
            </p:txBody>
          </p:sp>
        </p:grpSp>
        <p:grpSp>
          <p:nvGrpSpPr>
            <p:cNvPr id="17" name="Graphic 4">
              <a:extLst>
                <a:ext uri="{FF2B5EF4-FFF2-40B4-BE49-F238E27FC236}">
                  <a16:creationId xmlns:a16="http://schemas.microsoft.com/office/drawing/2014/main" id="{7D8F12DC-C536-4BBB-8858-BD20A9DA6D26}"/>
                </a:ext>
              </a:extLst>
            </p:cNvPr>
            <p:cNvGrpSpPr/>
            <p:nvPr/>
          </p:nvGrpSpPr>
          <p:grpSpPr>
            <a:xfrm>
              <a:off x="5024437" y="2857404"/>
              <a:ext cx="2143791" cy="1143880"/>
              <a:chOff x="5024437" y="2857404"/>
              <a:chExt cx="2143791" cy="1143880"/>
            </a:xfrm>
            <a:grpFill/>
          </p:grpSpPr>
          <p:sp>
            <p:nvSpPr>
              <p:cNvPr id="18" name="Vrije vorm: vorm 17">
                <a:extLst>
                  <a:ext uri="{FF2B5EF4-FFF2-40B4-BE49-F238E27FC236}">
                    <a16:creationId xmlns:a16="http://schemas.microsoft.com/office/drawing/2014/main" id="{35BDDD59-F331-4AAC-9FBD-F77EDDEDBD90}"/>
                  </a:ext>
                </a:extLst>
              </p:cNvPr>
              <p:cNvSpPr/>
              <p:nvPr/>
            </p:nvSpPr>
            <p:spPr>
              <a:xfrm>
                <a:off x="5024437" y="2857404"/>
                <a:ext cx="2143791" cy="273843"/>
              </a:xfrm>
              <a:custGeom>
                <a:avLst/>
                <a:gdLst>
                  <a:gd name="connsiteX0" fmla="*/ 2143792 w 2143791"/>
                  <a:gd name="connsiteY0" fmla="*/ 273844 h 273843"/>
                  <a:gd name="connsiteX1" fmla="*/ 2120837 w 2143791"/>
                  <a:gd name="connsiteY1" fmla="*/ 264224 h 273843"/>
                  <a:gd name="connsiteX2" fmla="*/ 2055209 w 2143791"/>
                  <a:gd name="connsiteY2" fmla="*/ 239268 h 273843"/>
                  <a:gd name="connsiteX3" fmla="*/ 2007965 w 2143791"/>
                  <a:gd name="connsiteY3" fmla="*/ 223076 h 273843"/>
                  <a:gd name="connsiteX4" fmla="*/ 1951958 w 2143791"/>
                  <a:gd name="connsiteY4" fmla="*/ 205169 h 273843"/>
                  <a:gd name="connsiteX5" fmla="*/ 1920907 w 2143791"/>
                  <a:gd name="connsiteY5" fmla="*/ 195739 h 273843"/>
                  <a:gd name="connsiteX6" fmla="*/ 1887760 w 2143791"/>
                  <a:gd name="connsiteY6" fmla="*/ 186595 h 273843"/>
                  <a:gd name="connsiteX7" fmla="*/ 1852993 w 2143791"/>
                  <a:gd name="connsiteY7" fmla="*/ 176975 h 273843"/>
                  <a:gd name="connsiteX8" fmla="*/ 1816322 w 2143791"/>
                  <a:gd name="connsiteY8" fmla="*/ 167831 h 273843"/>
                  <a:gd name="connsiteX9" fmla="*/ 1778127 w 2143791"/>
                  <a:gd name="connsiteY9" fmla="*/ 158306 h 273843"/>
                  <a:gd name="connsiteX10" fmla="*/ 1738217 w 2143791"/>
                  <a:gd name="connsiteY10" fmla="*/ 149638 h 273843"/>
                  <a:gd name="connsiteX11" fmla="*/ 1696974 w 2143791"/>
                  <a:gd name="connsiteY11" fmla="*/ 140494 h 273843"/>
                  <a:gd name="connsiteX12" fmla="*/ 1654207 w 2143791"/>
                  <a:gd name="connsiteY12" fmla="*/ 132493 h 273843"/>
                  <a:gd name="connsiteX13" fmla="*/ 1610297 w 2143791"/>
                  <a:gd name="connsiteY13" fmla="*/ 124111 h 273843"/>
                  <a:gd name="connsiteX14" fmla="*/ 1565053 w 2143791"/>
                  <a:gd name="connsiteY14" fmla="*/ 116967 h 273843"/>
                  <a:gd name="connsiteX15" fmla="*/ 1518857 w 2143791"/>
                  <a:gd name="connsiteY15" fmla="*/ 109633 h 273843"/>
                  <a:gd name="connsiteX16" fmla="*/ 1471613 w 2143791"/>
                  <a:gd name="connsiteY16" fmla="*/ 103632 h 273843"/>
                  <a:gd name="connsiteX17" fmla="*/ 1374743 w 2143791"/>
                  <a:gd name="connsiteY17" fmla="*/ 92869 h 273843"/>
                  <a:gd name="connsiteX18" fmla="*/ 1325309 w 2143791"/>
                  <a:gd name="connsiteY18" fmla="*/ 88392 h 273843"/>
                  <a:gd name="connsiteX19" fmla="*/ 1275302 w 2143791"/>
                  <a:gd name="connsiteY19" fmla="*/ 84868 h 273843"/>
                  <a:gd name="connsiteX20" fmla="*/ 1224820 w 2143791"/>
                  <a:gd name="connsiteY20" fmla="*/ 82106 h 273843"/>
                  <a:gd name="connsiteX21" fmla="*/ 1174052 w 2143791"/>
                  <a:gd name="connsiteY21" fmla="*/ 79915 h 273843"/>
                  <a:gd name="connsiteX22" fmla="*/ 1071848 w 2143791"/>
                  <a:gd name="connsiteY22" fmla="*/ 78010 h 273843"/>
                  <a:gd name="connsiteX23" fmla="*/ 969074 w 2143791"/>
                  <a:gd name="connsiteY23" fmla="*/ 79915 h 273843"/>
                  <a:gd name="connsiteX24" fmla="*/ 918305 w 2143791"/>
                  <a:gd name="connsiteY24" fmla="*/ 82106 h 273843"/>
                  <a:gd name="connsiteX25" fmla="*/ 868204 w 2143791"/>
                  <a:gd name="connsiteY25" fmla="*/ 84868 h 273843"/>
                  <a:gd name="connsiteX26" fmla="*/ 818388 w 2143791"/>
                  <a:gd name="connsiteY26" fmla="*/ 88392 h 273843"/>
                  <a:gd name="connsiteX27" fmla="*/ 768953 w 2143791"/>
                  <a:gd name="connsiteY27" fmla="*/ 92773 h 273843"/>
                  <a:gd name="connsiteX28" fmla="*/ 672084 w 2143791"/>
                  <a:gd name="connsiteY28" fmla="*/ 103632 h 273843"/>
                  <a:gd name="connsiteX29" fmla="*/ 624840 w 2143791"/>
                  <a:gd name="connsiteY29" fmla="*/ 109633 h 273843"/>
                  <a:gd name="connsiteX30" fmla="*/ 578739 w 2143791"/>
                  <a:gd name="connsiteY30" fmla="*/ 116967 h 273843"/>
                  <a:gd name="connsiteX31" fmla="*/ 533495 w 2143791"/>
                  <a:gd name="connsiteY31" fmla="*/ 124111 h 273843"/>
                  <a:gd name="connsiteX32" fmla="*/ 489585 w 2143791"/>
                  <a:gd name="connsiteY32" fmla="*/ 132493 h 273843"/>
                  <a:gd name="connsiteX33" fmla="*/ 446818 w 2143791"/>
                  <a:gd name="connsiteY33" fmla="*/ 140494 h 273843"/>
                  <a:gd name="connsiteX34" fmla="*/ 405575 w 2143791"/>
                  <a:gd name="connsiteY34" fmla="*/ 149638 h 273843"/>
                  <a:gd name="connsiteX35" fmla="*/ 365665 w 2143791"/>
                  <a:gd name="connsiteY35" fmla="*/ 158306 h 273843"/>
                  <a:gd name="connsiteX36" fmla="*/ 327470 w 2143791"/>
                  <a:gd name="connsiteY36" fmla="*/ 167831 h 273843"/>
                  <a:gd name="connsiteX37" fmla="*/ 290798 w 2143791"/>
                  <a:gd name="connsiteY37" fmla="*/ 176975 h 273843"/>
                  <a:gd name="connsiteX38" fmla="*/ 256032 w 2143791"/>
                  <a:gd name="connsiteY38" fmla="*/ 186595 h 273843"/>
                  <a:gd name="connsiteX39" fmla="*/ 222885 w 2143791"/>
                  <a:gd name="connsiteY39" fmla="*/ 195739 h 273843"/>
                  <a:gd name="connsiteX40" fmla="*/ 191834 w 2143791"/>
                  <a:gd name="connsiteY40" fmla="*/ 205169 h 273843"/>
                  <a:gd name="connsiteX41" fmla="*/ 135827 w 2143791"/>
                  <a:gd name="connsiteY41" fmla="*/ 223076 h 273843"/>
                  <a:gd name="connsiteX42" fmla="*/ 88583 w 2143791"/>
                  <a:gd name="connsiteY42" fmla="*/ 239268 h 273843"/>
                  <a:gd name="connsiteX43" fmla="*/ 22955 w 2143791"/>
                  <a:gd name="connsiteY43" fmla="*/ 264128 h 273843"/>
                  <a:gd name="connsiteX44" fmla="*/ 0 w 2143791"/>
                  <a:gd name="connsiteY44" fmla="*/ 273844 h 273843"/>
                  <a:gd name="connsiteX45" fmla="*/ 20955 w 2143791"/>
                  <a:gd name="connsiteY45" fmla="*/ 260223 h 273843"/>
                  <a:gd name="connsiteX46" fmla="*/ 82391 w 2143791"/>
                  <a:gd name="connsiteY46" fmla="*/ 225171 h 273843"/>
                  <a:gd name="connsiteX47" fmla="*/ 181547 w 2143791"/>
                  <a:gd name="connsiteY47" fmla="*/ 177356 h 273843"/>
                  <a:gd name="connsiteX48" fmla="*/ 211741 w 2143791"/>
                  <a:gd name="connsiteY48" fmla="*/ 164211 h 273843"/>
                  <a:gd name="connsiteX49" fmla="*/ 244031 w 2143791"/>
                  <a:gd name="connsiteY49" fmla="*/ 151162 h 273843"/>
                  <a:gd name="connsiteX50" fmla="*/ 278225 w 2143791"/>
                  <a:gd name="connsiteY50" fmla="*/ 137732 h 273843"/>
                  <a:gd name="connsiteX51" fmla="*/ 314516 w 2143791"/>
                  <a:gd name="connsiteY51" fmla="*/ 124873 h 273843"/>
                  <a:gd name="connsiteX52" fmla="*/ 352425 w 2143791"/>
                  <a:gd name="connsiteY52" fmla="*/ 111728 h 273843"/>
                  <a:gd name="connsiteX53" fmla="*/ 392240 w 2143791"/>
                  <a:gd name="connsiteY53" fmla="*/ 99441 h 273843"/>
                  <a:gd name="connsiteX54" fmla="*/ 433578 w 2143791"/>
                  <a:gd name="connsiteY54" fmla="*/ 86868 h 273843"/>
                  <a:gd name="connsiteX55" fmla="*/ 476631 w 2143791"/>
                  <a:gd name="connsiteY55" fmla="*/ 75248 h 273843"/>
                  <a:gd name="connsiteX56" fmla="*/ 520922 w 2143791"/>
                  <a:gd name="connsiteY56" fmla="*/ 63818 h 273843"/>
                  <a:gd name="connsiteX57" fmla="*/ 566738 w 2143791"/>
                  <a:gd name="connsiteY57" fmla="*/ 53816 h 273843"/>
                  <a:gd name="connsiteX58" fmla="*/ 613601 w 2143791"/>
                  <a:gd name="connsiteY58" fmla="*/ 43815 h 273843"/>
                  <a:gd name="connsiteX59" fmla="*/ 661702 w 2143791"/>
                  <a:gd name="connsiteY59" fmla="*/ 35338 h 273843"/>
                  <a:gd name="connsiteX60" fmla="*/ 710756 w 2143791"/>
                  <a:gd name="connsiteY60" fmla="*/ 27051 h 273843"/>
                  <a:gd name="connsiteX61" fmla="*/ 760762 w 2143791"/>
                  <a:gd name="connsiteY61" fmla="*/ 20384 h 273843"/>
                  <a:gd name="connsiteX62" fmla="*/ 862965 w 2143791"/>
                  <a:gd name="connsiteY62" fmla="*/ 9430 h 273843"/>
                  <a:gd name="connsiteX63" fmla="*/ 915162 w 2143791"/>
                  <a:gd name="connsiteY63" fmla="*/ 5525 h 273843"/>
                  <a:gd name="connsiteX64" fmla="*/ 967359 w 2143791"/>
                  <a:gd name="connsiteY64" fmla="*/ 2572 h 273843"/>
                  <a:gd name="connsiteX65" fmla="*/ 1071848 w 2143791"/>
                  <a:gd name="connsiteY65" fmla="*/ 0 h 273843"/>
                  <a:gd name="connsiteX66" fmla="*/ 1176909 w 2143791"/>
                  <a:gd name="connsiteY66" fmla="*/ 2667 h 273843"/>
                  <a:gd name="connsiteX67" fmla="*/ 1229106 w 2143791"/>
                  <a:gd name="connsiteY67" fmla="*/ 5620 h 273843"/>
                  <a:gd name="connsiteX68" fmla="*/ 1280922 w 2143791"/>
                  <a:gd name="connsiteY68" fmla="*/ 9525 h 273843"/>
                  <a:gd name="connsiteX69" fmla="*/ 1382935 w 2143791"/>
                  <a:gd name="connsiteY69" fmla="*/ 20479 h 273843"/>
                  <a:gd name="connsiteX70" fmla="*/ 1432941 w 2143791"/>
                  <a:gd name="connsiteY70" fmla="*/ 27051 h 273843"/>
                  <a:gd name="connsiteX71" fmla="*/ 1481995 w 2143791"/>
                  <a:gd name="connsiteY71" fmla="*/ 35338 h 273843"/>
                  <a:gd name="connsiteX72" fmla="*/ 1530096 w 2143791"/>
                  <a:gd name="connsiteY72" fmla="*/ 43720 h 273843"/>
                  <a:gd name="connsiteX73" fmla="*/ 1576959 w 2143791"/>
                  <a:gd name="connsiteY73" fmla="*/ 53721 h 273843"/>
                  <a:gd name="connsiteX74" fmla="*/ 1622774 w 2143791"/>
                  <a:gd name="connsiteY74" fmla="*/ 63722 h 273843"/>
                  <a:gd name="connsiteX75" fmla="*/ 1667066 w 2143791"/>
                  <a:gd name="connsiteY75" fmla="*/ 75152 h 273843"/>
                  <a:gd name="connsiteX76" fmla="*/ 1710118 w 2143791"/>
                  <a:gd name="connsiteY76" fmla="*/ 86487 h 273843"/>
                  <a:gd name="connsiteX77" fmla="*/ 1751457 w 2143791"/>
                  <a:gd name="connsiteY77" fmla="*/ 99060 h 273843"/>
                  <a:gd name="connsiteX78" fmla="*/ 1791272 w 2143791"/>
                  <a:gd name="connsiteY78" fmla="*/ 111347 h 273843"/>
                  <a:gd name="connsiteX79" fmla="*/ 1829181 w 2143791"/>
                  <a:gd name="connsiteY79" fmla="*/ 124492 h 273843"/>
                  <a:gd name="connsiteX80" fmla="*/ 1865471 w 2143791"/>
                  <a:gd name="connsiteY80" fmla="*/ 137351 h 273843"/>
                  <a:gd name="connsiteX81" fmla="*/ 1899666 w 2143791"/>
                  <a:gd name="connsiteY81" fmla="*/ 150781 h 273843"/>
                  <a:gd name="connsiteX82" fmla="*/ 1931956 w 2143791"/>
                  <a:gd name="connsiteY82" fmla="*/ 163830 h 273843"/>
                  <a:gd name="connsiteX83" fmla="*/ 1962150 w 2143791"/>
                  <a:gd name="connsiteY83" fmla="*/ 176975 h 273843"/>
                  <a:gd name="connsiteX84" fmla="*/ 2016252 w 2143791"/>
                  <a:gd name="connsiteY84" fmla="*/ 201930 h 273843"/>
                  <a:gd name="connsiteX85" fmla="*/ 2061305 w 2143791"/>
                  <a:gd name="connsiteY85" fmla="*/ 224790 h 273843"/>
                  <a:gd name="connsiteX86" fmla="*/ 2122742 w 2143791"/>
                  <a:gd name="connsiteY86" fmla="*/ 259842 h 273843"/>
                  <a:gd name="connsiteX87" fmla="*/ 2143792 w 2143791"/>
                  <a:gd name="connsiteY87" fmla="*/ 273844 h 27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143791" h="273843">
                    <a:moveTo>
                      <a:pt x="2143792" y="273844"/>
                    </a:moveTo>
                    <a:cubicBezTo>
                      <a:pt x="2143792" y="273844"/>
                      <a:pt x="2135791" y="270320"/>
                      <a:pt x="2120837" y="264224"/>
                    </a:cubicBezTo>
                    <a:cubicBezTo>
                      <a:pt x="2105787" y="258032"/>
                      <a:pt x="2083594" y="249650"/>
                      <a:pt x="2055209" y="239268"/>
                    </a:cubicBezTo>
                    <a:cubicBezTo>
                      <a:pt x="2040922" y="234315"/>
                      <a:pt x="2025301" y="228410"/>
                      <a:pt x="2007965" y="223076"/>
                    </a:cubicBezTo>
                    <a:cubicBezTo>
                      <a:pt x="1990630" y="217551"/>
                      <a:pt x="1972151" y="210979"/>
                      <a:pt x="1951958" y="205169"/>
                    </a:cubicBezTo>
                    <a:cubicBezTo>
                      <a:pt x="1941957" y="202120"/>
                      <a:pt x="1931575" y="198977"/>
                      <a:pt x="1920907" y="195739"/>
                    </a:cubicBezTo>
                    <a:cubicBezTo>
                      <a:pt x="1910239" y="192595"/>
                      <a:pt x="1899095" y="189738"/>
                      <a:pt x="1887760" y="186595"/>
                    </a:cubicBezTo>
                    <a:cubicBezTo>
                      <a:pt x="1876425" y="183452"/>
                      <a:pt x="1864900" y="180213"/>
                      <a:pt x="1852993" y="176975"/>
                    </a:cubicBezTo>
                    <a:cubicBezTo>
                      <a:pt x="1840992" y="174022"/>
                      <a:pt x="1828800" y="170974"/>
                      <a:pt x="1816322" y="167831"/>
                    </a:cubicBezTo>
                    <a:cubicBezTo>
                      <a:pt x="1803845" y="164687"/>
                      <a:pt x="1791176" y="161544"/>
                      <a:pt x="1778127" y="158306"/>
                    </a:cubicBezTo>
                    <a:cubicBezTo>
                      <a:pt x="1765078" y="155448"/>
                      <a:pt x="1751743" y="152591"/>
                      <a:pt x="1738217" y="149638"/>
                    </a:cubicBezTo>
                    <a:cubicBezTo>
                      <a:pt x="1724692" y="146685"/>
                      <a:pt x="1710976" y="143637"/>
                      <a:pt x="1696974" y="140494"/>
                    </a:cubicBezTo>
                    <a:cubicBezTo>
                      <a:pt x="1682972" y="137827"/>
                      <a:pt x="1668685" y="135160"/>
                      <a:pt x="1654207" y="132493"/>
                    </a:cubicBezTo>
                    <a:cubicBezTo>
                      <a:pt x="1639729" y="129731"/>
                      <a:pt x="1625156" y="126968"/>
                      <a:pt x="1610297" y="124111"/>
                    </a:cubicBezTo>
                    <a:cubicBezTo>
                      <a:pt x="1595438" y="121730"/>
                      <a:pt x="1580293" y="119348"/>
                      <a:pt x="1565053" y="116967"/>
                    </a:cubicBezTo>
                    <a:cubicBezTo>
                      <a:pt x="1549813" y="114586"/>
                      <a:pt x="1534478" y="112109"/>
                      <a:pt x="1518857" y="109633"/>
                    </a:cubicBezTo>
                    <a:cubicBezTo>
                      <a:pt x="1503331" y="107347"/>
                      <a:pt x="1487519" y="105632"/>
                      <a:pt x="1471613" y="103632"/>
                    </a:cubicBezTo>
                    <a:cubicBezTo>
                      <a:pt x="1439799" y="99727"/>
                      <a:pt x="1407605" y="95250"/>
                      <a:pt x="1374743" y="92869"/>
                    </a:cubicBezTo>
                    <a:cubicBezTo>
                      <a:pt x="1358360" y="91440"/>
                      <a:pt x="1341882" y="89916"/>
                      <a:pt x="1325309" y="88392"/>
                    </a:cubicBezTo>
                    <a:cubicBezTo>
                      <a:pt x="1308735" y="86582"/>
                      <a:pt x="1292066" y="85725"/>
                      <a:pt x="1275302" y="84868"/>
                    </a:cubicBezTo>
                    <a:cubicBezTo>
                      <a:pt x="1258538" y="83915"/>
                      <a:pt x="1241679" y="83058"/>
                      <a:pt x="1224820" y="82106"/>
                    </a:cubicBezTo>
                    <a:cubicBezTo>
                      <a:pt x="1207961" y="81248"/>
                      <a:pt x="1191006" y="79915"/>
                      <a:pt x="1174052" y="79915"/>
                    </a:cubicBezTo>
                    <a:cubicBezTo>
                      <a:pt x="1140047" y="79248"/>
                      <a:pt x="1105948" y="78677"/>
                      <a:pt x="1071848" y="78010"/>
                    </a:cubicBezTo>
                    <a:cubicBezTo>
                      <a:pt x="1037558" y="78677"/>
                      <a:pt x="1003268" y="79248"/>
                      <a:pt x="969074" y="79915"/>
                    </a:cubicBezTo>
                    <a:cubicBezTo>
                      <a:pt x="951643" y="79915"/>
                      <a:pt x="935069" y="81344"/>
                      <a:pt x="918305" y="82106"/>
                    </a:cubicBezTo>
                    <a:cubicBezTo>
                      <a:pt x="901541" y="83058"/>
                      <a:pt x="884873" y="83915"/>
                      <a:pt x="868204" y="84868"/>
                    </a:cubicBezTo>
                    <a:cubicBezTo>
                      <a:pt x="851535" y="85725"/>
                      <a:pt x="834962" y="86582"/>
                      <a:pt x="818388" y="88392"/>
                    </a:cubicBezTo>
                    <a:cubicBezTo>
                      <a:pt x="801815" y="89916"/>
                      <a:pt x="785336" y="91345"/>
                      <a:pt x="768953" y="92773"/>
                    </a:cubicBezTo>
                    <a:cubicBezTo>
                      <a:pt x="736092" y="95155"/>
                      <a:pt x="703898" y="99727"/>
                      <a:pt x="672084" y="103632"/>
                    </a:cubicBezTo>
                    <a:cubicBezTo>
                      <a:pt x="656177" y="105632"/>
                      <a:pt x="640366" y="107347"/>
                      <a:pt x="624840" y="109633"/>
                    </a:cubicBezTo>
                    <a:cubicBezTo>
                      <a:pt x="609314" y="112109"/>
                      <a:pt x="593884" y="114586"/>
                      <a:pt x="578739" y="116967"/>
                    </a:cubicBezTo>
                    <a:cubicBezTo>
                      <a:pt x="563499" y="119348"/>
                      <a:pt x="548450" y="121730"/>
                      <a:pt x="533495" y="124111"/>
                    </a:cubicBezTo>
                    <a:cubicBezTo>
                      <a:pt x="518732" y="126968"/>
                      <a:pt x="504063" y="129731"/>
                      <a:pt x="489585" y="132493"/>
                    </a:cubicBezTo>
                    <a:cubicBezTo>
                      <a:pt x="475107" y="135160"/>
                      <a:pt x="460820" y="137922"/>
                      <a:pt x="446818" y="140494"/>
                    </a:cubicBezTo>
                    <a:cubicBezTo>
                      <a:pt x="432911" y="143542"/>
                      <a:pt x="419100" y="146590"/>
                      <a:pt x="405575" y="149638"/>
                    </a:cubicBezTo>
                    <a:cubicBezTo>
                      <a:pt x="392049" y="152591"/>
                      <a:pt x="378714" y="155448"/>
                      <a:pt x="365665" y="158306"/>
                    </a:cubicBezTo>
                    <a:cubicBezTo>
                      <a:pt x="352711" y="161544"/>
                      <a:pt x="339947" y="164783"/>
                      <a:pt x="327470" y="167831"/>
                    </a:cubicBezTo>
                    <a:cubicBezTo>
                      <a:pt x="314992" y="170974"/>
                      <a:pt x="302705" y="173927"/>
                      <a:pt x="290798" y="176975"/>
                    </a:cubicBezTo>
                    <a:cubicBezTo>
                      <a:pt x="278892" y="180308"/>
                      <a:pt x="267367" y="183452"/>
                      <a:pt x="256032" y="186595"/>
                    </a:cubicBezTo>
                    <a:cubicBezTo>
                      <a:pt x="244697" y="189738"/>
                      <a:pt x="233553" y="192500"/>
                      <a:pt x="222885" y="195739"/>
                    </a:cubicBezTo>
                    <a:cubicBezTo>
                      <a:pt x="212217" y="198977"/>
                      <a:pt x="201930" y="202120"/>
                      <a:pt x="191834" y="205169"/>
                    </a:cubicBezTo>
                    <a:cubicBezTo>
                      <a:pt x="171641" y="210979"/>
                      <a:pt x="153162" y="217551"/>
                      <a:pt x="135827" y="223076"/>
                    </a:cubicBezTo>
                    <a:cubicBezTo>
                      <a:pt x="118396" y="228505"/>
                      <a:pt x="102775" y="234315"/>
                      <a:pt x="88583" y="239268"/>
                    </a:cubicBezTo>
                    <a:cubicBezTo>
                      <a:pt x="60198" y="249555"/>
                      <a:pt x="37910" y="257937"/>
                      <a:pt x="22955" y="264128"/>
                    </a:cubicBezTo>
                    <a:cubicBezTo>
                      <a:pt x="8001" y="270415"/>
                      <a:pt x="0" y="273844"/>
                      <a:pt x="0" y="273844"/>
                    </a:cubicBezTo>
                    <a:cubicBezTo>
                      <a:pt x="0" y="273844"/>
                      <a:pt x="7049" y="268796"/>
                      <a:pt x="20955" y="260223"/>
                    </a:cubicBezTo>
                    <a:cubicBezTo>
                      <a:pt x="34862" y="251746"/>
                      <a:pt x="55340" y="239173"/>
                      <a:pt x="82391" y="225171"/>
                    </a:cubicBezTo>
                    <a:cubicBezTo>
                      <a:pt x="109347" y="210979"/>
                      <a:pt x="142399" y="194024"/>
                      <a:pt x="181547" y="177356"/>
                    </a:cubicBezTo>
                    <a:cubicBezTo>
                      <a:pt x="191262" y="173069"/>
                      <a:pt x="201359" y="168688"/>
                      <a:pt x="211741" y="164211"/>
                    </a:cubicBezTo>
                    <a:cubicBezTo>
                      <a:pt x="222123" y="159734"/>
                      <a:pt x="232981" y="155639"/>
                      <a:pt x="244031" y="151162"/>
                    </a:cubicBezTo>
                    <a:cubicBezTo>
                      <a:pt x="255175" y="146780"/>
                      <a:pt x="266605" y="142304"/>
                      <a:pt x="278225" y="137732"/>
                    </a:cubicBezTo>
                    <a:cubicBezTo>
                      <a:pt x="290036" y="133541"/>
                      <a:pt x="302133" y="129254"/>
                      <a:pt x="314516" y="124873"/>
                    </a:cubicBezTo>
                    <a:cubicBezTo>
                      <a:pt x="326898" y="120587"/>
                      <a:pt x="339566" y="116205"/>
                      <a:pt x="352425" y="111728"/>
                    </a:cubicBezTo>
                    <a:cubicBezTo>
                      <a:pt x="365474" y="107728"/>
                      <a:pt x="378714" y="103537"/>
                      <a:pt x="392240" y="99441"/>
                    </a:cubicBezTo>
                    <a:cubicBezTo>
                      <a:pt x="405765" y="95345"/>
                      <a:pt x="419576" y="91154"/>
                      <a:pt x="433578" y="86868"/>
                    </a:cubicBezTo>
                    <a:cubicBezTo>
                      <a:pt x="447675" y="82963"/>
                      <a:pt x="462058" y="79153"/>
                      <a:pt x="476631" y="75248"/>
                    </a:cubicBezTo>
                    <a:cubicBezTo>
                      <a:pt x="491204" y="71438"/>
                      <a:pt x="505968" y="67628"/>
                      <a:pt x="520922" y="63818"/>
                    </a:cubicBezTo>
                    <a:cubicBezTo>
                      <a:pt x="535972" y="60484"/>
                      <a:pt x="551307" y="57150"/>
                      <a:pt x="566738" y="53816"/>
                    </a:cubicBezTo>
                    <a:cubicBezTo>
                      <a:pt x="582168" y="50483"/>
                      <a:pt x="597884" y="47149"/>
                      <a:pt x="613601" y="43815"/>
                    </a:cubicBezTo>
                    <a:cubicBezTo>
                      <a:pt x="629412" y="40672"/>
                      <a:pt x="645509" y="38195"/>
                      <a:pt x="661702" y="35338"/>
                    </a:cubicBezTo>
                    <a:cubicBezTo>
                      <a:pt x="677894" y="32576"/>
                      <a:pt x="694277" y="29813"/>
                      <a:pt x="710756" y="27051"/>
                    </a:cubicBezTo>
                    <a:cubicBezTo>
                      <a:pt x="727234" y="24098"/>
                      <a:pt x="743998" y="22669"/>
                      <a:pt x="760762" y="20384"/>
                    </a:cubicBezTo>
                    <a:cubicBezTo>
                      <a:pt x="794385" y="16478"/>
                      <a:pt x="828199" y="11335"/>
                      <a:pt x="862965" y="9430"/>
                    </a:cubicBezTo>
                    <a:cubicBezTo>
                      <a:pt x="880301" y="8096"/>
                      <a:pt x="897731" y="6858"/>
                      <a:pt x="915162" y="5525"/>
                    </a:cubicBezTo>
                    <a:cubicBezTo>
                      <a:pt x="932593" y="4286"/>
                      <a:pt x="950309" y="2667"/>
                      <a:pt x="967359" y="2572"/>
                    </a:cubicBezTo>
                    <a:cubicBezTo>
                      <a:pt x="1002125" y="1715"/>
                      <a:pt x="1036987" y="857"/>
                      <a:pt x="1071848" y="0"/>
                    </a:cubicBezTo>
                    <a:cubicBezTo>
                      <a:pt x="1106900" y="857"/>
                      <a:pt x="1141952" y="1715"/>
                      <a:pt x="1176909" y="2667"/>
                    </a:cubicBezTo>
                    <a:cubicBezTo>
                      <a:pt x="1194340" y="2762"/>
                      <a:pt x="1211771" y="4382"/>
                      <a:pt x="1229106" y="5620"/>
                    </a:cubicBezTo>
                    <a:cubicBezTo>
                      <a:pt x="1246442" y="6953"/>
                      <a:pt x="1263777" y="8192"/>
                      <a:pt x="1280922" y="9525"/>
                    </a:cubicBezTo>
                    <a:cubicBezTo>
                      <a:pt x="1315403" y="11335"/>
                      <a:pt x="1349312" y="16574"/>
                      <a:pt x="1382935" y="20479"/>
                    </a:cubicBezTo>
                    <a:cubicBezTo>
                      <a:pt x="1399699" y="22765"/>
                      <a:pt x="1416463" y="24194"/>
                      <a:pt x="1432941" y="27051"/>
                    </a:cubicBezTo>
                    <a:cubicBezTo>
                      <a:pt x="1449419" y="29813"/>
                      <a:pt x="1465707" y="32576"/>
                      <a:pt x="1481995" y="35338"/>
                    </a:cubicBezTo>
                    <a:cubicBezTo>
                      <a:pt x="1498187" y="38195"/>
                      <a:pt x="1514285" y="40672"/>
                      <a:pt x="1530096" y="43720"/>
                    </a:cubicBezTo>
                    <a:cubicBezTo>
                      <a:pt x="1545908" y="47149"/>
                      <a:pt x="1561529" y="50483"/>
                      <a:pt x="1576959" y="53721"/>
                    </a:cubicBezTo>
                    <a:cubicBezTo>
                      <a:pt x="1592389" y="57150"/>
                      <a:pt x="1607630" y="60484"/>
                      <a:pt x="1622774" y="63722"/>
                    </a:cubicBezTo>
                    <a:cubicBezTo>
                      <a:pt x="1637729" y="67628"/>
                      <a:pt x="1652492" y="71438"/>
                      <a:pt x="1667066" y="75152"/>
                    </a:cubicBezTo>
                    <a:cubicBezTo>
                      <a:pt x="1681639" y="78962"/>
                      <a:pt x="1695926" y="82772"/>
                      <a:pt x="1710118" y="86487"/>
                    </a:cubicBezTo>
                    <a:cubicBezTo>
                      <a:pt x="1724120" y="90773"/>
                      <a:pt x="1737932" y="94869"/>
                      <a:pt x="1751457" y="99060"/>
                    </a:cubicBezTo>
                    <a:cubicBezTo>
                      <a:pt x="1764983" y="103251"/>
                      <a:pt x="1778222" y="107347"/>
                      <a:pt x="1791272" y="111347"/>
                    </a:cubicBezTo>
                    <a:cubicBezTo>
                      <a:pt x="1804130" y="115824"/>
                      <a:pt x="1816799" y="120206"/>
                      <a:pt x="1829181" y="124492"/>
                    </a:cubicBezTo>
                    <a:cubicBezTo>
                      <a:pt x="1841564" y="128873"/>
                      <a:pt x="1853660" y="133160"/>
                      <a:pt x="1865471" y="137351"/>
                    </a:cubicBezTo>
                    <a:cubicBezTo>
                      <a:pt x="1877187" y="141923"/>
                      <a:pt x="1888522" y="146399"/>
                      <a:pt x="1899666" y="150781"/>
                    </a:cubicBezTo>
                    <a:cubicBezTo>
                      <a:pt x="1910715" y="155258"/>
                      <a:pt x="1921574" y="159353"/>
                      <a:pt x="1931956" y="163830"/>
                    </a:cubicBezTo>
                    <a:cubicBezTo>
                      <a:pt x="1942338" y="168307"/>
                      <a:pt x="1952435" y="172783"/>
                      <a:pt x="1962150" y="176975"/>
                    </a:cubicBezTo>
                    <a:cubicBezTo>
                      <a:pt x="1981676" y="185261"/>
                      <a:pt x="1999774" y="193739"/>
                      <a:pt x="2016252" y="201930"/>
                    </a:cubicBezTo>
                    <a:cubicBezTo>
                      <a:pt x="2032826" y="209741"/>
                      <a:pt x="2047780" y="217837"/>
                      <a:pt x="2061305" y="224790"/>
                    </a:cubicBezTo>
                    <a:cubicBezTo>
                      <a:pt x="2088356" y="238887"/>
                      <a:pt x="2108835" y="251460"/>
                      <a:pt x="2122742" y="259842"/>
                    </a:cubicBezTo>
                    <a:cubicBezTo>
                      <a:pt x="2136648" y="268891"/>
                      <a:pt x="2143792" y="273844"/>
                      <a:pt x="2143792" y="273844"/>
                    </a:cubicBezTo>
                    <a:close/>
                  </a:path>
                </a:pathLst>
              </a:custGeom>
              <a:grpFill/>
              <a:ln w="9525" cap="flat">
                <a:noFill/>
                <a:prstDash val="solid"/>
                <a:miter/>
              </a:ln>
            </p:spPr>
            <p:txBody>
              <a:bodyPr rtlCol="0" anchor="ctr"/>
              <a:lstStyle/>
              <a:p>
                <a:endParaRPr lang="en-US" sz="1050"/>
              </a:p>
            </p:txBody>
          </p:sp>
          <p:grpSp>
            <p:nvGrpSpPr>
              <p:cNvPr id="19" name="Graphic 4">
                <a:extLst>
                  <a:ext uri="{FF2B5EF4-FFF2-40B4-BE49-F238E27FC236}">
                    <a16:creationId xmlns:a16="http://schemas.microsoft.com/office/drawing/2014/main" id="{7D8F12DC-C536-4BBB-8858-BD20A9DA6D26}"/>
                  </a:ext>
                </a:extLst>
              </p:cNvPr>
              <p:cNvGrpSpPr/>
              <p:nvPr/>
            </p:nvGrpSpPr>
            <p:grpSpPr>
              <a:xfrm>
                <a:off x="5157677" y="3845897"/>
                <a:ext cx="1863008" cy="155387"/>
                <a:chOff x="5157677" y="3845897"/>
                <a:chExt cx="1863008" cy="155387"/>
              </a:xfrm>
              <a:grpFill/>
            </p:grpSpPr>
            <p:sp>
              <p:nvSpPr>
                <p:cNvPr id="20" name="Vrije vorm: vorm 19">
                  <a:extLst>
                    <a:ext uri="{FF2B5EF4-FFF2-40B4-BE49-F238E27FC236}">
                      <a16:creationId xmlns:a16="http://schemas.microsoft.com/office/drawing/2014/main" id="{03E0A13A-9DC5-4129-9A3B-D166006A8EE6}"/>
                    </a:ext>
                  </a:extLst>
                </p:cNvPr>
                <p:cNvSpPr/>
                <p:nvPr/>
              </p:nvSpPr>
              <p:spPr>
                <a:xfrm>
                  <a:off x="5157677" y="3855693"/>
                  <a:ext cx="96900" cy="115689"/>
                </a:xfrm>
                <a:custGeom>
                  <a:avLst/>
                  <a:gdLst>
                    <a:gd name="connsiteX0" fmla="*/ 84501 w 96900"/>
                    <a:gd name="connsiteY0" fmla="*/ 16314 h 115689"/>
                    <a:gd name="connsiteX1" fmla="*/ 21922 w 96900"/>
                    <a:gd name="connsiteY1" fmla="*/ 7932 h 115689"/>
                    <a:gd name="connsiteX2" fmla="*/ 9253 w 96900"/>
                    <a:gd name="connsiteY2" fmla="*/ 95372 h 115689"/>
                    <a:gd name="connsiteX3" fmla="*/ 79834 w 96900"/>
                    <a:gd name="connsiteY3" fmla="*/ 103849 h 115689"/>
                    <a:gd name="connsiteX4" fmla="*/ 80119 w 96900"/>
                    <a:gd name="connsiteY4" fmla="*/ 103563 h 115689"/>
                    <a:gd name="connsiteX5" fmla="*/ 84501 w 96900"/>
                    <a:gd name="connsiteY5" fmla="*/ 16314 h 115689"/>
                    <a:gd name="connsiteX6" fmla="*/ 67832 w 96900"/>
                    <a:gd name="connsiteY6" fmla="*/ 27935 h 115689"/>
                    <a:gd name="connsiteX7" fmla="*/ 72976 w 96900"/>
                    <a:gd name="connsiteY7" fmla="*/ 67463 h 115689"/>
                    <a:gd name="connsiteX8" fmla="*/ 34971 w 96900"/>
                    <a:gd name="connsiteY8" fmla="*/ 96896 h 115689"/>
                    <a:gd name="connsiteX9" fmla="*/ 23446 w 96900"/>
                    <a:gd name="connsiteY9" fmla="*/ 54128 h 115689"/>
                    <a:gd name="connsiteX10" fmla="*/ 27351 w 96900"/>
                    <a:gd name="connsiteY10" fmla="*/ 27839 h 115689"/>
                    <a:gd name="connsiteX11" fmla="*/ 67832 w 96900"/>
                    <a:gd name="connsiteY11" fmla="*/ 27935 h 11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00" h="115689">
                      <a:moveTo>
                        <a:pt x="84501" y="16314"/>
                      </a:moveTo>
                      <a:cubicBezTo>
                        <a:pt x="71261" y="-2164"/>
                        <a:pt x="40019" y="-4927"/>
                        <a:pt x="21922" y="7932"/>
                      </a:cubicBezTo>
                      <a:cubicBezTo>
                        <a:pt x="-4082" y="26411"/>
                        <a:pt x="-5129" y="69464"/>
                        <a:pt x="9253" y="95372"/>
                      </a:cubicBezTo>
                      <a:cubicBezTo>
                        <a:pt x="23541" y="120994"/>
                        <a:pt x="59355" y="120708"/>
                        <a:pt x="79834" y="103849"/>
                      </a:cubicBezTo>
                      <a:cubicBezTo>
                        <a:pt x="79929" y="103754"/>
                        <a:pt x="80024" y="103658"/>
                        <a:pt x="80119" y="103563"/>
                      </a:cubicBezTo>
                      <a:cubicBezTo>
                        <a:pt x="101551" y="82132"/>
                        <a:pt x="101836" y="40508"/>
                        <a:pt x="84501" y="16314"/>
                      </a:cubicBezTo>
                      <a:close/>
                      <a:moveTo>
                        <a:pt x="67832" y="27935"/>
                      </a:moveTo>
                      <a:cubicBezTo>
                        <a:pt x="73166" y="40317"/>
                        <a:pt x="73166" y="54128"/>
                        <a:pt x="72976" y="67463"/>
                      </a:cubicBezTo>
                      <a:cubicBezTo>
                        <a:pt x="72690" y="86418"/>
                        <a:pt x="62022" y="115279"/>
                        <a:pt x="34971" y="96896"/>
                      </a:cubicBezTo>
                      <a:cubicBezTo>
                        <a:pt x="23255" y="88990"/>
                        <a:pt x="23636" y="66320"/>
                        <a:pt x="23446" y="54128"/>
                      </a:cubicBezTo>
                      <a:cubicBezTo>
                        <a:pt x="23255" y="45175"/>
                        <a:pt x="24398" y="36317"/>
                        <a:pt x="27351" y="27839"/>
                      </a:cubicBezTo>
                      <a:cubicBezTo>
                        <a:pt x="34018" y="9170"/>
                        <a:pt x="59545" y="12790"/>
                        <a:pt x="67832" y="27935"/>
                      </a:cubicBezTo>
                      <a:close/>
                    </a:path>
                  </a:pathLst>
                </a:custGeom>
                <a:grpFill/>
                <a:ln w="9525" cap="flat">
                  <a:noFill/>
                  <a:prstDash val="solid"/>
                  <a:miter/>
                </a:ln>
              </p:spPr>
              <p:txBody>
                <a:bodyPr rtlCol="0" anchor="ctr"/>
                <a:lstStyle/>
                <a:p>
                  <a:endParaRPr lang="en-US" sz="1050"/>
                </a:p>
              </p:txBody>
            </p:sp>
            <p:sp>
              <p:nvSpPr>
                <p:cNvPr id="21" name="Vrije vorm: vorm 20">
                  <a:extLst>
                    <a:ext uri="{FF2B5EF4-FFF2-40B4-BE49-F238E27FC236}">
                      <a16:creationId xmlns:a16="http://schemas.microsoft.com/office/drawing/2014/main" id="{B717B437-5A49-4D8C-97C0-B1A8CDD97493}"/>
                    </a:ext>
                  </a:extLst>
                </p:cNvPr>
                <p:cNvSpPr/>
                <p:nvPr/>
              </p:nvSpPr>
              <p:spPr>
                <a:xfrm>
                  <a:off x="5272658" y="3880848"/>
                  <a:ext cx="69050" cy="91018"/>
                </a:xfrm>
                <a:custGeom>
                  <a:avLst/>
                  <a:gdLst>
                    <a:gd name="connsiteX0" fmla="*/ 63627 w 69050"/>
                    <a:gd name="connsiteY0" fmla="*/ 40594 h 91018"/>
                    <a:gd name="connsiteX1" fmla="*/ 63627 w 69050"/>
                    <a:gd name="connsiteY1" fmla="*/ 7447 h 91018"/>
                    <a:gd name="connsiteX2" fmla="*/ 58960 w 69050"/>
                    <a:gd name="connsiteY2" fmla="*/ 398 h 91018"/>
                    <a:gd name="connsiteX3" fmla="*/ 46768 w 69050"/>
                    <a:gd name="connsiteY3" fmla="*/ 2494 h 91018"/>
                    <a:gd name="connsiteX4" fmla="*/ 46672 w 69050"/>
                    <a:gd name="connsiteY4" fmla="*/ 2780 h 91018"/>
                    <a:gd name="connsiteX5" fmla="*/ 46672 w 69050"/>
                    <a:gd name="connsiteY5" fmla="*/ 33641 h 91018"/>
                    <a:gd name="connsiteX6" fmla="*/ 34385 w 69050"/>
                    <a:gd name="connsiteY6" fmla="*/ 70693 h 91018"/>
                    <a:gd name="connsiteX7" fmla="*/ 16955 w 69050"/>
                    <a:gd name="connsiteY7" fmla="*/ 41356 h 91018"/>
                    <a:gd name="connsiteX8" fmla="*/ 16955 w 69050"/>
                    <a:gd name="connsiteY8" fmla="*/ 7066 h 91018"/>
                    <a:gd name="connsiteX9" fmla="*/ 12287 w 69050"/>
                    <a:gd name="connsiteY9" fmla="*/ 17 h 91018"/>
                    <a:gd name="connsiteX10" fmla="*/ 95 w 69050"/>
                    <a:gd name="connsiteY10" fmla="*/ 2399 h 91018"/>
                    <a:gd name="connsiteX11" fmla="*/ 0 w 69050"/>
                    <a:gd name="connsiteY11" fmla="*/ 2684 h 91018"/>
                    <a:gd name="connsiteX12" fmla="*/ 0 w 69050"/>
                    <a:gd name="connsiteY12" fmla="*/ 60311 h 91018"/>
                    <a:gd name="connsiteX13" fmla="*/ 51149 w 69050"/>
                    <a:gd name="connsiteY13" fmla="*/ 79837 h 91018"/>
                    <a:gd name="connsiteX14" fmla="*/ 60293 w 69050"/>
                    <a:gd name="connsiteY14" fmla="*/ 90791 h 91018"/>
                    <a:gd name="connsiteX15" fmla="*/ 60484 w 69050"/>
                    <a:gd name="connsiteY15" fmla="*/ 90791 h 91018"/>
                    <a:gd name="connsiteX16" fmla="*/ 60960 w 69050"/>
                    <a:gd name="connsiteY16" fmla="*/ 90981 h 91018"/>
                    <a:gd name="connsiteX17" fmla="*/ 68866 w 69050"/>
                    <a:gd name="connsiteY17" fmla="*/ 82599 h 91018"/>
                    <a:gd name="connsiteX18" fmla="*/ 65437 w 69050"/>
                    <a:gd name="connsiteY18" fmla="*/ 76027 h 91018"/>
                    <a:gd name="connsiteX19" fmla="*/ 63627 w 69050"/>
                    <a:gd name="connsiteY19" fmla="*/ 40594 h 91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050" h="91018">
                      <a:moveTo>
                        <a:pt x="63627" y="40594"/>
                      </a:moveTo>
                      <a:cubicBezTo>
                        <a:pt x="63627" y="29545"/>
                        <a:pt x="63627" y="18496"/>
                        <a:pt x="63627" y="7447"/>
                      </a:cubicBezTo>
                      <a:cubicBezTo>
                        <a:pt x="63627" y="6018"/>
                        <a:pt x="60769" y="113"/>
                        <a:pt x="58960" y="398"/>
                      </a:cubicBezTo>
                      <a:cubicBezTo>
                        <a:pt x="54864" y="1065"/>
                        <a:pt x="50864" y="1732"/>
                        <a:pt x="46768" y="2494"/>
                      </a:cubicBezTo>
                      <a:cubicBezTo>
                        <a:pt x="46768" y="2589"/>
                        <a:pt x="46672" y="2684"/>
                        <a:pt x="46672" y="2780"/>
                      </a:cubicBezTo>
                      <a:cubicBezTo>
                        <a:pt x="46672" y="13067"/>
                        <a:pt x="46672" y="23354"/>
                        <a:pt x="46672" y="33641"/>
                      </a:cubicBezTo>
                      <a:cubicBezTo>
                        <a:pt x="46672" y="49357"/>
                        <a:pt x="50006" y="61644"/>
                        <a:pt x="34385" y="70693"/>
                      </a:cubicBezTo>
                      <a:cubicBezTo>
                        <a:pt x="13335" y="82885"/>
                        <a:pt x="16955" y="51167"/>
                        <a:pt x="16955" y="41356"/>
                      </a:cubicBezTo>
                      <a:cubicBezTo>
                        <a:pt x="16955" y="29926"/>
                        <a:pt x="16955" y="18496"/>
                        <a:pt x="16955" y="7066"/>
                      </a:cubicBezTo>
                      <a:cubicBezTo>
                        <a:pt x="16955" y="5637"/>
                        <a:pt x="14002" y="-364"/>
                        <a:pt x="12287" y="17"/>
                      </a:cubicBezTo>
                      <a:cubicBezTo>
                        <a:pt x="8192" y="779"/>
                        <a:pt x="4191" y="1637"/>
                        <a:pt x="95" y="2399"/>
                      </a:cubicBezTo>
                      <a:cubicBezTo>
                        <a:pt x="95" y="2494"/>
                        <a:pt x="0" y="2589"/>
                        <a:pt x="0" y="2684"/>
                      </a:cubicBezTo>
                      <a:cubicBezTo>
                        <a:pt x="0" y="21925"/>
                        <a:pt x="0" y="41070"/>
                        <a:pt x="0" y="60311"/>
                      </a:cubicBezTo>
                      <a:cubicBezTo>
                        <a:pt x="0" y="88505"/>
                        <a:pt x="32099" y="100220"/>
                        <a:pt x="51149" y="79837"/>
                      </a:cubicBezTo>
                      <a:cubicBezTo>
                        <a:pt x="53435" y="83933"/>
                        <a:pt x="56483" y="87362"/>
                        <a:pt x="60293" y="90791"/>
                      </a:cubicBezTo>
                      <a:cubicBezTo>
                        <a:pt x="60389" y="90886"/>
                        <a:pt x="60484" y="90886"/>
                        <a:pt x="60484" y="90791"/>
                      </a:cubicBezTo>
                      <a:cubicBezTo>
                        <a:pt x="60674" y="90981"/>
                        <a:pt x="60865" y="91076"/>
                        <a:pt x="60960" y="90981"/>
                      </a:cubicBezTo>
                      <a:cubicBezTo>
                        <a:pt x="63627" y="88219"/>
                        <a:pt x="66199" y="85361"/>
                        <a:pt x="68866" y="82599"/>
                      </a:cubicBezTo>
                      <a:cubicBezTo>
                        <a:pt x="69914" y="81456"/>
                        <a:pt x="66199" y="76789"/>
                        <a:pt x="65437" y="76027"/>
                      </a:cubicBezTo>
                      <a:cubicBezTo>
                        <a:pt x="60389" y="70598"/>
                        <a:pt x="63627" y="47071"/>
                        <a:pt x="63627" y="40594"/>
                      </a:cubicBezTo>
                      <a:close/>
                    </a:path>
                  </a:pathLst>
                </a:custGeom>
                <a:grpFill/>
                <a:ln w="9525" cap="flat">
                  <a:noFill/>
                  <a:prstDash val="solid"/>
                  <a:miter/>
                </a:ln>
              </p:spPr>
              <p:txBody>
                <a:bodyPr rtlCol="0" anchor="ctr"/>
                <a:lstStyle/>
                <a:p>
                  <a:endParaRPr lang="en-US" sz="1050"/>
                </a:p>
              </p:txBody>
            </p:sp>
            <p:sp>
              <p:nvSpPr>
                <p:cNvPr id="22" name="Vrije vorm: vorm 21">
                  <a:extLst>
                    <a:ext uri="{FF2B5EF4-FFF2-40B4-BE49-F238E27FC236}">
                      <a16:creationId xmlns:a16="http://schemas.microsoft.com/office/drawing/2014/main" id="{5D1EABDA-8D29-40C1-82D0-82CDFA2DEDC0}"/>
                    </a:ext>
                  </a:extLst>
                </p:cNvPr>
                <p:cNvSpPr/>
                <p:nvPr/>
              </p:nvSpPr>
              <p:spPr>
                <a:xfrm>
                  <a:off x="5359621" y="3881441"/>
                  <a:ext cx="48397" cy="85911"/>
                </a:xfrm>
                <a:custGeom>
                  <a:avLst/>
                  <a:gdLst>
                    <a:gd name="connsiteX0" fmla="*/ 41815 w 48397"/>
                    <a:gd name="connsiteY0" fmla="*/ 758 h 85911"/>
                    <a:gd name="connsiteX1" fmla="*/ 20193 w 48397"/>
                    <a:gd name="connsiteY1" fmla="*/ 7235 h 85911"/>
                    <a:gd name="connsiteX2" fmla="*/ 19336 w 48397"/>
                    <a:gd name="connsiteY2" fmla="*/ 4854 h 85911"/>
                    <a:gd name="connsiteX3" fmla="*/ 12287 w 48397"/>
                    <a:gd name="connsiteY3" fmla="*/ 282 h 85911"/>
                    <a:gd name="connsiteX4" fmla="*/ 0 w 48397"/>
                    <a:gd name="connsiteY4" fmla="*/ 3615 h 85911"/>
                    <a:gd name="connsiteX5" fmla="*/ 0 w 48397"/>
                    <a:gd name="connsiteY5" fmla="*/ 3806 h 85911"/>
                    <a:gd name="connsiteX6" fmla="*/ 2667 w 48397"/>
                    <a:gd name="connsiteY6" fmla="*/ 41715 h 85911"/>
                    <a:gd name="connsiteX7" fmla="*/ 2667 w 48397"/>
                    <a:gd name="connsiteY7" fmla="*/ 81054 h 85911"/>
                    <a:gd name="connsiteX8" fmla="*/ 9620 w 48397"/>
                    <a:gd name="connsiteY8" fmla="*/ 85911 h 85911"/>
                    <a:gd name="connsiteX9" fmla="*/ 21908 w 48397"/>
                    <a:gd name="connsiteY9" fmla="*/ 85911 h 85911"/>
                    <a:gd name="connsiteX10" fmla="*/ 22098 w 48397"/>
                    <a:gd name="connsiteY10" fmla="*/ 85911 h 85911"/>
                    <a:gd name="connsiteX11" fmla="*/ 43053 w 48397"/>
                    <a:gd name="connsiteY11" fmla="*/ 19141 h 85911"/>
                    <a:gd name="connsiteX12" fmla="*/ 42577 w 48397"/>
                    <a:gd name="connsiteY12" fmla="*/ 18855 h 85911"/>
                    <a:gd name="connsiteX13" fmla="*/ 43339 w 48397"/>
                    <a:gd name="connsiteY13" fmla="*/ 19046 h 85911"/>
                    <a:gd name="connsiteX14" fmla="*/ 48387 w 48397"/>
                    <a:gd name="connsiteY14" fmla="*/ 5616 h 85911"/>
                    <a:gd name="connsiteX15" fmla="*/ 41815 w 48397"/>
                    <a:gd name="connsiteY15" fmla="*/ 758 h 8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397" h="85911">
                      <a:moveTo>
                        <a:pt x="41815" y="758"/>
                      </a:moveTo>
                      <a:cubicBezTo>
                        <a:pt x="33528" y="-1623"/>
                        <a:pt x="26194" y="1901"/>
                        <a:pt x="20193" y="7235"/>
                      </a:cubicBezTo>
                      <a:cubicBezTo>
                        <a:pt x="19907" y="6473"/>
                        <a:pt x="19717" y="5616"/>
                        <a:pt x="19336" y="4854"/>
                      </a:cubicBezTo>
                      <a:cubicBezTo>
                        <a:pt x="18764" y="3425"/>
                        <a:pt x="13811" y="-195"/>
                        <a:pt x="12287" y="282"/>
                      </a:cubicBezTo>
                      <a:cubicBezTo>
                        <a:pt x="8192" y="1425"/>
                        <a:pt x="4096" y="2472"/>
                        <a:pt x="0" y="3615"/>
                      </a:cubicBezTo>
                      <a:cubicBezTo>
                        <a:pt x="0" y="3711"/>
                        <a:pt x="0" y="3806"/>
                        <a:pt x="0" y="3806"/>
                      </a:cubicBezTo>
                      <a:cubicBezTo>
                        <a:pt x="4763" y="14283"/>
                        <a:pt x="2667" y="30285"/>
                        <a:pt x="2667" y="41715"/>
                      </a:cubicBezTo>
                      <a:cubicBezTo>
                        <a:pt x="2667" y="54860"/>
                        <a:pt x="2667" y="67909"/>
                        <a:pt x="2667" y="81054"/>
                      </a:cubicBezTo>
                      <a:cubicBezTo>
                        <a:pt x="2667" y="82578"/>
                        <a:pt x="8192" y="85911"/>
                        <a:pt x="9620" y="85911"/>
                      </a:cubicBezTo>
                      <a:cubicBezTo>
                        <a:pt x="13716" y="85911"/>
                        <a:pt x="17812" y="85911"/>
                        <a:pt x="21908" y="85911"/>
                      </a:cubicBezTo>
                      <a:cubicBezTo>
                        <a:pt x="22003" y="85911"/>
                        <a:pt x="22003" y="85911"/>
                        <a:pt x="22098" y="85911"/>
                      </a:cubicBezTo>
                      <a:cubicBezTo>
                        <a:pt x="22098" y="68957"/>
                        <a:pt x="12764" y="13617"/>
                        <a:pt x="43053" y="19141"/>
                      </a:cubicBezTo>
                      <a:cubicBezTo>
                        <a:pt x="42958" y="19141"/>
                        <a:pt x="42767" y="19046"/>
                        <a:pt x="42577" y="18855"/>
                      </a:cubicBezTo>
                      <a:cubicBezTo>
                        <a:pt x="43053" y="19046"/>
                        <a:pt x="43244" y="19141"/>
                        <a:pt x="43339" y="19046"/>
                      </a:cubicBezTo>
                      <a:cubicBezTo>
                        <a:pt x="45053" y="14569"/>
                        <a:pt x="46673" y="10092"/>
                        <a:pt x="48387" y="5616"/>
                      </a:cubicBezTo>
                      <a:cubicBezTo>
                        <a:pt x="48673" y="4377"/>
                        <a:pt x="42767" y="1044"/>
                        <a:pt x="41815" y="758"/>
                      </a:cubicBezTo>
                      <a:close/>
                    </a:path>
                  </a:pathLst>
                </a:custGeom>
                <a:grpFill/>
                <a:ln w="9525" cap="flat">
                  <a:noFill/>
                  <a:prstDash val="solid"/>
                  <a:miter/>
                </a:ln>
              </p:spPr>
              <p:txBody>
                <a:bodyPr rtlCol="0" anchor="ctr"/>
                <a:lstStyle/>
                <a:p>
                  <a:endParaRPr lang="en-US" sz="1050"/>
                </a:p>
              </p:txBody>
            </p:sp>
            <p:sp>
              <p:nvSpPr>
                <p:cNvPr id="23" name="Vrije vorm: vorm 22">
                  <a:extLst>
                    <a:ext uri="{FF2B5EF4-FFF2-40B4-BE49-F238E27FC236}">
                      <a16:creationId xmlns:a16="http://schemas.microsoft.com/office/drawing/2014/main" id="{77B1AA87-64B2-4675-A95A-488E263201BE}"/>
                    </a:ext>
                  </a:extLst>
                </p:cNvPr>
                <p:cNvSpPr/>
                <p:nvPr/>
              </p:nvSpPr>
              <p:spPr>
                <a:xfrm>
                  <a:off x="5470834" y="3846229"/>
                  <a:ext cx="74099" cy="123423"/>
                </a:xfrm>
                <a:custGeom>
                  <a:avLst/>
                  <a:gdLst>
                    <a:gd name="connsiteX0" fmla="*/ 71762 w 74099"/>
                    <a:gd name="connsiteY0" fmla="*/ 59783 h 123423"/>
                    <a:gd name="connsiteX1" fmla="*/ 71762 w 74099"/>
                    <a:gd name="connsiteY1" fmla="*/ 6919 h 123423"/>
                    <a:gd name="connsiteX2" fmla="*/ 67000 w 74099"/>
                    <a:gd name="connsiteY2" fmla="*/ 2156 h 123423"/>
                    <a:gd name="connsiteX3" fmla="*/ 54713 w 74099"/>
                    <a:gd name="connsiteY3" fmla="*/ 61 h 123423"/>
                    <a:gd name="connsiteX4" fmla="*/ 52522 w 74099"/>
                    <a:gd name="connsiteY4" fmla="*/ 1585 h 123423"/>
                    <a:gd name="connsiteX5" fmla="*/ 52617 w 74099"/>
                    <a:gd name="connsiteY5" fmla="*/ 42257 h 123423"/>
                    <a:gd name="connsiteX6" fmla="*/ 20613 w 74099"/>
                    <a:gd name="connsiteY6" fmla="*/ 37970 h 123423"/>
                    <a:gd name="connsiteX7" fmla="*/ 39 w 74099"/>
                    <a:gd name="connsiteY7" fmla="*/ 82833 h 123423"/>
                    <a:gd name="connsiteX8" fmla="*/ 54713 w 74099"/>
                    <a:gd name="connsiteY8" fmla="*/ 117599 h 123423"/>
                    <a:gd name="connsiteX9" fmla="*/ 54713 w 74099"/>
                    <a:gd name="connsiteY9" fmla="*/ 117790 h 123423"/>
                    <a:gd name="connsiteX10" fmla="*/ 56903 w 74099"/>
                    <a:gd name="connsiteY10" fmla="*/ 120266 h 123423"/>
                    <a:gd name="connsiteX11" fmla="*/ 60047 w 74099"/>
                    <a:gd name="connsiteY11" fmla="*/ 121981 h 123423"/>
                    <a:gd name="connsiteX12" fmla="*/ 72715 w 74099"/>
                    <a:gd name="connsiteY12" fmla="*/ 121981 h 123423"/>
                    <a:gd name="connsiteX13" fmla="*/ 73953 w 74099"/>
                    <a:gd name="connsiteY13" fmla="*/ 119600 h 123423"/>
                    <a:gd name="connsiteX14" fmla="*/ 71762 w 74099"/>
                    <a:gd name="connsiteY14" fmla="*/ 59783 h 123423"/>
                    <a:gd name="connsiteX15" fmla="*/ 20518 w 74099"/>
                    <a:gd name="connsiteY15" fmla="*/ 85595 h 123423"/>
                    <a:gd name="connsiteX16" fmla="*/ 23090 w 74099"/>
                    <a:gd name="connsiteY16" fmla="*/ 63688 h 123423"/>
                    <a:gd name="connsiteX17" fmla="*/ 52331 w 74099"/>
                    <a:gd name="connsiteY17" fmla="*/ 56258 h 123423"/>
                    <a:gd name="connsiteX18" fmla="*/ 52331 w 74099"/>
                    <a:gd name="connsiteY18" fmla="*/ 96168 h 123423"/>
                    <a:gd name="connsiteX19" fmla="*/ 39854 w 74099"/>
                    <a:gd name="connsiteY19" fmla="*/ 105408 h 123423"/>
                    <a:gd name="connsiteX20" fmla="*/ 20518 w 74099"/>
                    <a:gd name="connsiteY20" fmla="*/ 85595 h 123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099" h="123423">
                      <a:moveTo>
                        <a:pt x="71762" y="59783"/>
                      </a:moveTo>
                      <a:cubicBezTo>
                        <a:pt x="71762" y="42162"/>
                        <a:pt x="71762" y="24540"/>
                        <a:pt x="71762" y="6919"/>
                      </a:cubicBezTo>
                      <a:cubicBezTo>
                        <a:pt x="71762" y="4919"/>
                        <a:pt x="68810" y="2442"/>
                        <a:pt x="67000" y="2156"/>
                      </a:cubicBezTo>
                      <a:cubicBezTo>
                        <a:pt x="62904" y="1490"/>
                        <a:pt x="58808" y="823"/>
                        <a:pt x="54713" y="61"/>
                      </a:cubicBezTo>
                      <a:cubicBezTo>
                        <a:pt x="53379" y="-130"/>
                        <a:pt x="52522" y="61"/>
                        <a:pt x="52522" y="1585"/>
                      </a:cubicBezTo>
                      <a:cubicBezTo>
                        <a:pt x="52522" y="15110"/>
                        <a:pt x="52427" y="28731"/>
                        <a:pt x="52617" y="42257"/>
                      </a:cubicBezTo>
                      <a:cubicBezTo>
                        <a:pt x="43473" y="35303"/>
                        <a:pt x="32043" y="33208"/>
                        <a:pt x="20613" y="37970"/>
                      </a:cubicBezTo>
                      <a:cubicBezTo>
                        <a:pt x="3278" y="45210"/>
                        <a:pt x="-437" y="66355"/>
                        <a:pt x="39" y="82833"/>
                      </a:cubicBezTo>
                      <a:cubicBezTo>
                        <a:pt x="896" y="110360"/>
                        <a:pt x="30710" y="135030"/>
                        <a:pt x="54713" y="117599"/>
                      </a:cubicBezTo>
                      <a:cubicBezTo>
                        <a:pt x="54713" y="117695"/>
                        <a:pt x="54713" y="117695"/>
                        <a:pt x="54713" y="117790"/>
                      </a:cubicBezTo>
                      <a:cubicBezTo>
                        <a:pt x="54998" y="118552"/>
                        <a:pt x="55856" y="119504"/>
                        <a:pt x="56903" y="120266"/>
                      </a:cubicBezTo>
                      <a:cubicBezTo>
                        <a:pt x="57951" y="121219"/>
                        <a:pt x="59094" y="121981"/>
                        <a:pt x="60047" y="121981"/>
                      </a:cubicBezTo>
                      <a:cubicBezTo>
                        <a:pt x="64238" y="121981"/>
                        <a:pt x="68429" y="121981"/>
                        <a:pt x="72715" y="121981"/>
                      </a:cubicBezTo>
                      <a:cubicBezTo>
                        <a:pt x="74239" y="121981"/>
                        <a:pt x="74239" y="120743"/>
                        <a:pt x="73953" y="119600"/>
                      </a:cubicBezTo>
                      <a:cubicBezTo>
                        <a:pt x="68429" y="102169"/>
                        <a:pt x="71762" y="77880"/>
                        <a:pt x="71762" y="59783"/>
                      </a:cubicBezTo>
                      <a:close/>
                      <a:moveTo>
                        <a:pt x="20518" y="85595"/>
                      </a:moveTo>
                      <a:cubicBezTo>
                        <a:pt x="20137" y="78166"/>
                        <a:pt x="20518" y="70737"/>
                        <a:pt x="23090" y="63688"/>
                      </a:cubicBezTo>
                      <a:cubicBezTo>
                        <a:pt x="27185" y="52448"/>
                        <a:pt x="42902" y="47114"/>
                        <a:pt x="52331" y="56258"/>
                      </a:cubicBezTo>
                      <a:cubicBezTo>
                        <a:pt x="52331" y="69593"/>
                        <a:pt x="52331" y="82833"/>
                        <a:pt x="52331" y="96168"/>
                      </a:cubicBezTo>
                      <a:cubicBezTo>
                        <a:pt x="52331" y="100359"/>
                        <a:pt x="43092" y="104264"/>
                        <a:pt x="39854" y="105408"/>
                      </a:cubicBezTo>
                      <a:cubicBezTo>
                        <a:pt x="25471" y="110265"/>
                        <a:pt x="20994" y="96740"/>
                        <a:pt x="20518" y="85595"/>
                      </a:cubicBezTo>
                      <a:close/>
                    </a:path>
                  </a:pathLst>
                </a:custGeom>
                <a:grpFill/>
                <a:ln w="9525" cap="flat">
                  <a:noFill/>
                  <a:prstDash val="solid"/>
                  <a:miter/>
                </a:ln>
              </p:spPr>
              <p:txBody>
                <a:bodyPr rtlCol="0" anchor="ctr"/>
                <a:lstStyle/>
                <a:p>
                  <a:endParaRPr lang="en-US" sz="1050"/>
                </a:p>
              </p:txBody>
            </p:sp>
            <p:sp>
              <p:nvSpPr>
                <p:cNvPr id="24" name="Vrije vorm: vorm 23">
                  <a:extLst>
                    <a:ext uri="{FF2B5EF4-FFF2-40B4-BE49-F238E27FC236}">
                      <a16:creationId xmlns:a16="http://schemas.microsoft.com/office/drawing/2014/main" id="{01CD9C76-2B67-4850-9E87-4BC74C66F66B}"/>
                    </a:ext>
                  </a:extLst>
                </p:cNvPr>
                <p:cNvSpPr/>
                <p:nvPr/>
              </p:nvSpPr>
              <p:spPr>
                <a:xfrm>
                  <a:off x="5570348" y="3880368"/>
                  <a:ext cx="49164" cy="88031"/>
                </a:xfrm>
                <a:custGeom>
                  <a:avLst/>
                  <a:gdLst>
                    <a:gd name="connsiteX0" fmla="*/ 47591 w 49164"/>
                    <a:gd name="connsiteY0" fmla="*/ 878 h 88031"/>
                    <a:gd name="connsiteX1" fmla="*/ 22064 w 49164"/>
                    <a:gd name="connsiteY1" fmla="*/ 8403 h 88031"/>
                    <a:gd name="connsiteX2" fmla="*/ 19968 w 49164"/>
                    <a:gd name="connsiteY2" fmla="*/ 1450 h 88031"/>
                    <a:gd name="connsiteX3" fmla="*/ 15682 w 49164"/>
                    <a:gd name="connsiteY3" fmla="*/ 497 h 88031"/>
                    <a:gd name="connsiteX4" fmla="*/ 3395 w 49164"/>
                    <a:gd name="connsiteY4" fmla="*/ 3831 h 88031"/>
                    <a:gd name="connsiteX5" fmla="*/ 252 w 49164"/>
                    <a:gd name="connsiteY5" fmla="*/ 9260 h 88031"/>
                    <a:gd name="connsiteX6" fmla="*/ 2633 w 49164"/>
                    <a:gd name="connsiteY6" fmla="*/ 48694 h 88031"/>
                    <a:gd name="connsiteX7" fmla="*/ 2633 w 49164"/>
                    <a:gd name="connsiteY7" fmla="*/ 85079 h 88031"/>
                    <a:gd name="connsiteX8" fmla="*/ 5205 w 49164"/>
                    <a:gd name="connsiteY8" fmla="*/ 88032 h 88031"/>
                    <a:gd name="connsiteX9" fmla="*/ 17492 w 49164"/>
                    <a:gd name="connsiteY9" fmla="*/ 88032 h 88031"/>
                    <a:gd name="connsiteX10" fmla="*/ 22921 w 49164"/>
                    <a:gd name="connsiteY10" fmla="*/ 84031 h 88031"/>
                    <a:gd name="connsiteX11" fmla="*/ 22921 w 49164"/>
                    <a:gd name="connsiteY11" fmla="*/ 57933 h 88031"/>
                    <a:gd name="connsiteX12" fmla="*/ 38637 w 49164"/>
                    <a:gd name="connsiteY12" fmla="*/ 21262 h 88031"/>
                    <a:gd name="connsiteX13" fmla="*/ 42352 w 49164"/>
                    <a:gd name="connsiteY13" fmla="*/ 19928 h 88031"/>
                    <a:gd name="connsiteX14" fmla="*/ 43781 w 49164"/>
                    <a:gd name="connsiteY14" fmla="*/ 18118 h 88031"/>
                    <a:gd name="connsiteX15" fmla="*/ 48829 w 49164"/>
                    <a:gd name="connsiteY15" fmla="*/ 4688 h 88031"/>
                    <a:gd name="connsiteX16" fmla="*/ 47591 w 49164"/>
                    <a:gd name="connsiteY16" fmla="*/ 878 h 8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164" h="88031">
                      <a:moveTo>
                        <a:pt x="47591" y="878"/>
                      </a:moveTo>
                      <a:cubicBezTo>
                        <a:pt x="37971" y="-1884"/>
                        <a:pt x="29112" y="2212"/>
                        <a:pt x="22064" y="8403"/>
                      </a:cubicBezTo>
                      <a:cubicBezTo>
                        <a:pt x="21588" y="6117"/>
                        <a:pt x="20921" y="3831"/>
                        <a:pt x="19968" y="1450"/>
                      </a:cubicBezTo>
                      <a:cubicBezTo>
                        <a:pt x="19302" y="-170"/>
                        <a:pt x="17016" y="116"/>
                        <a:pt x="15682" y="497"/>
                      </a:cubicBezTo>
                      <a:cubicBezTo>
                        <a:pt x="11586" y="1640"/>
                        <a:pt x="7491" y="2688"/>
                        <a:pt x="3395" y="3831"/>
                      </a:cubicBezTo>
                      <a:cubicBezTo>
                        <a:pt x="1204" y="4402"/>
                        <a:pt x="-701" y="6974"/>
                        <a:pt x="252" y="9260"/>
                      </a:cubicBezTo>
                      <a:cubicBezTo>
                        <a:pt x="5109" y="20119"/>
                        <a:pt x="2633" y="37073"/>
                        <a:pt x="2633" y="48694"/>
                      </a:cubicBezTo>
                      <a:cubicBezTo>
                        <a:pt x="2633" y="60790"/>
                        <a:pt x="2633" y="72982"/>
                        <a:pt x="2633" y="85079"/>
                      </a:cubicBezTo>
                      <a:cubicBezTo>
                        <a:pt x="2633" y="86603"/>
                        <a:pt x="3490" y="88032"/>
                        <a:pt x="5205" y="88032"/>
                      </a:cubicBezTo>
                      <a:cubicBezTo>
                        <a:pt x="9300" y="88032"/>
                        <a:pt x="13396" y="88032"/>
                        <a:pt x="17492" y="88032"/>
                      </a:cubicBezTo>
                      <a:cubicBezTo>
                        <a:pt x="19587" y="88032"/>
                        <a:pt x="22921" y="86603"/>
                        <a:pt x="22921" y="84031"/>
                      </a:cubicBezTo>
                      <a:cubicBezTo>
                        <a:pt x="22921" y="75364"/>
                        <a:pt x="22921" y="66601"/>
                        <a:pt x="22921" y="57933"/>
                      </a:cubicBezTo>
                      <a:cubicBezTo>
                        <a:pt x="22921" y="47932"/>
                        <a:pt x="18159" y="17547"/>
                        <a:pt x="38637" y="21262"/>
                      </a:cubicBezTo>
                      <a:cubicBezTo>
                        <a:pt x="39971" y="21547"/>
                        <a:pt x="41400" y="20881"/>
                        <a:pt x="42352" y="19928"/>
                      </a:cubicBezTo>
                      <a:cubicBezTo>
                        <a:pt x="43019" y="19452"/>
                        <a:pt x="43495" y="18880"/>
                        <a:pt x="43781" y="18118"/>
                      </a:cubicBezTo>
                      <a:cubicBezTo>
                        <a:pt x="45495" y="13642"/>
                        <a:pt x="47115" y="9165"/>
                        <a:pt x="48829" y="4688"/>
                      </a:cubicBezTo>
                      <a:cubicBezTo>
                        <a:pt x="49496" y="3164"/>
                        <a:pt x="49210" y="1354"/>
                        <a:pt x="47591" y="878"/>
                      </a:cubicBezTo>
                      <a:close/>
                    </a:path>
                  </a:pathLst>
                </a:custGeom>
                <a:grpFill/>
                <a:ln w="9525" cap="flat">
                  <a:noFill/>
                  <a:prstDash val="solid"/>
                  <a:miter/>
                </a:ln>
              </p:spPr>
              <p:txBody>
                <a:bodyPr rtlCol="0" anchor="ctr"/>
                <a:lstStyle/>
                <a:p>
                  <a:endParaRPr lang="en-US" sz="1050"/>
                </a:p>
              </p:txBody>
            </p:sp>
            <p:sp>
              <p:nvSpPr>
                <p:cNvPr id="25" name="Vrije vorm: vorm 24">
                  <a:extLst>
                    <a:ext uri="{FF2B5EF4-FFF2-40B4-BE49-F238E27FC236}">
                      <a16:creationId xmlns:a16="http://schemas.microsoft.com/office/drawing/2014/main" id="{F10FA19C-8550-4057-9726-04C54F412C76}"/>
                    </a:ext>
                  </a:extLst>
                </p:cNvPr>
                <p:cNvSpPr/>
                <p:nvPr/>
              </p:nvSpPr>
              <p:spPr>
                <a:xfrm>
                  <a:off x="5629215" y="3849509"/>
                  <a:ext cx="27169" cy="24688"/>
                </a:xfrm>
                <a:custGeom>
                  <a:avLst/>
                  <a:gdLst>
                    <a:gd name="connsiteX0" fmla="*/ 15680 w 27169"/>
                    <a:gd name="connsiteY0" fmla="*/ 19 h 24688"/>
                    <a:gd name="connsiteX1" fmla="*/ 155 w 27169"/>
                    <a:gd name="connsiteY1" fmla="*/ 11640 h 24688"/>
                    <a:gd name="connsiteX2" fmla="*/ 11489 w 27169"/>
                    <a:gd name="connsiteY2" fmla="*/ 24689 h 24688"/>
                    <a:gd name="connsiteX3" fmla="*/ 13204 w 27169"/>
                    <a:gd name="connsiteY3" fmla="*/ 24498 h 24688"/>
                    <a:gd name="connsiteX4" fmla="*/ 27015 w 27169"/>
                    <a:gd name="connsiteY4" fmla="*/ 13164 h 24688"/>
                    <a:gd name="connsiteX5" fmla="*/ 15680 w 27169"/>
                    <a:gd name="connsiteY5" fmla="*/ 19 h 2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69" h="24688">
                      <a:moveTo>
                        <a:pt x="15680" y="19"/>
                      </a:moveTo>
                      <a:cubicBezTo>
                        <a:pt x="9108" y="-362"/>
                        <a:pt x="1202" y="4972"/>
                        <a:pt x="155" y="11640"/>
                      </a:cubicBezTo>
                      <a:cubicBezTo>
                        <a:pt x="-988" y="18974"/>
                        <a:pt x="4346" y="24308"/>
                        <a:pt x="11489" y="24689"/>
                      </a:cubicBezTo>
                      <a:cubicBezTo>
                        <a:pt x="12061" y="24689"/>
                        <a:pt x="12632" y="24594"/>
                        <a:pt x="13204" y="24498"/>
                      </a:cubicBezTo>
                      <a:cubicBezTo>
                        <a:pt x="19395" y="23641"/>
                        <a:pt x="25967" y="19831"/>
                        <a:pt x="27015" y="13164"/>
                      </a:cubicBezTo>
                      <a:cubicBezTo>
                        <a:pt x="28158" y="5734"/>
                        <a:pt x="22824" y="400"/>
                        <a:pt x="15680" y="19"/>
                      </a:cubicBezTo>
                      <a:close/>
                    </a:path>
                  </a:pathLst>
                </a:custGeom>
                <a:grpFill/>
                <a:ln w="9525" cap="flat">
                  <a:noFill/>
                  <a:prstDash val="solid"/>
                  <a:miter/>
                </a:ln>
              </p:spPr>
              <p:txBody>
                <a:bodyPr rtlCol="0" anchor="ctr"/>
                <a:lstStyle/>
                <a:p>
                  <a:endParaRPr lang="en-US" sz="1050"/>
                </a:p>
              </p:txBody>
            </p:sp>
            <p:sp>
              <p:nvSpPr>
                <p:cNvPr id="26" name="Vrije vorm: vorm 25">
                  <a:extLst>
                    <a:ext uri="{FF2B5EF4-FFF2-40B4-BE49-F238E27FC236}">
                      <a16:creationId xmlns:a16="http://schemas.microsoft.com/office/drawing/2014/main" id="{131D7261-71F0-4266-BD7D-5CE68A087367}"/>
                    </a:ext>
                  </a:extLst>
                </p:cNvPr>
                <p:cNvSpPr/>
                <p:nvPr/>
              </p:nvSpPr>
              <p:spPr>
                <a:xfrm>
                  <a:off x="5632131" y="3881747"/>
                  <a:ext cx="20764" cy="85891"/>
                </a:xfrm>
                <a:custGeom>
                  <a:avLst/>
                  <a:gdLst>
                    <a:gd name="connsiteX0" fmla="*/ 17907 w 20764"/>
                    <a:gd name="connsiteY0" fmla="*/ 71 h 85891"/>
                    <a:gd name="connsiteX1" fmla="*/ 5143 w 20764"/>
                    <a:gd name="connsiteY1" fmla="*/ 2167 h 85891"/>
                    <a:gd name="connsiteX2" fmla="*/ 0 w 20764"/>
                    <a:gd name="connsiteY2" fmla="*/ 6072 h 85891"/>
                    <a:gd name="connsiteX3" fmla="*/ 0 w 20764"/>
                    <a:gd name="connsiteY3" fmla="*/ 84463 h 85891"/>
                    <a:gd name="connsiteX4" fmla="*/ 191 w 20764"/>
                    <a:gd name="connsiteY4" fmla="*/ 85129 h 85891"/>
                    <a:gd name="connsiteX5" fmla="*/ 1143 w 20764"/>
                    <a:gd name="connsiteY5" fmla="*/ 85796 h 85891"/>
                    <a:gd name="connsiteX6" fmla="*/ 2191 w 20764"/>
                    <a:gd name="connsiteY6" fmla="*/ 85891 h 85891"/>
                    <a:gd name="connsiteX7" fmla="*/ 14668 w 20764"/>
                    <a:gd name="connsiteY7" fmla="*/ 85891 h 85891"/>
                    <a:gd name="connsiteX8" fmla="*/ 20765 w 20764"/>
                    <a:gd name="connsiteY8" fmla="*/ 81986 h 85891"/>
                    <a:gd name="connsiteX9" fmla="*/ 20765 w 20764"/>
                    <a:gd name="connsiteY9" fmla="*/ 1595 h 85891"/>
                    <a:gd name="connsiteX10" fmla="*/ 17907 w 20764"/>
                    <a:gd name="connsiteY10" fmla="*/ 71 h 8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64" h="85891">
                      <a:moveTo>
                        <a:pt x="17907" y="71"/>
                      </a:moveTo>
                      <a:cubicBezTo>
                        <a:pt x="13621" y="738"/>
                        <a:pt x="9334" y="1405"/>
                        <a:pt x="5143" y="2167"/>
                      </a:cubicBezTo>
                      <a:cubicBezTo>
                        <a:pt x="3429" y="2452"/>
                        <a:pt x="0" y="3881"/>
                        <a:pt x="0" y="6072"/>
                      </a:cubicBezTo>
                      <a:cubicBezTo>
                        <a:pt x="0" y="32170"/>
                        <a:pt x="0" y="58364"/>
                        <a:pt x="0" y="84463"/>
                      </a:cubicBezTo>
                      <a:cubicBezTo>
                        <a:pt x="0" y="84748"/>
                        <a:pt x="95" y="84939"/>
                        <a:pt x="191" y="85129"/>
                      </a:cubicBezTo>
                      <a:cubicBezTo>
                        <a:pt x="286" y="85415"/>
                        <a:pt x="572" y="85701"/>
                        <a:pt x="1143" y="85796"/>
                      </a:cubicBezTo>
                      <a:cubicBezTo>
                        <a:pt x="1429" y="85891"/>
                        <a:pt x="1810" y="85891"/>
                        <a:pt x="2191" y="85891"/>
                      </a:cubicBezTo>
                      <a:cubicBezTo>
                        <a:pt x="6382" y="85891"/>
                        <a:pt x="10478" y="85891"/>
                        <a:pt x="14668" y="85891"/>
                      </a:cubicBezTo>
                      <a:cubicBezTo>
                        <a:pt x="16574" y="85891"/>
                        <a:pt x="20765" y="84463"/>
                        <a:pt x="20765" y="81986"/>
                      </a:cubicBezTo>
                      <a:cubicBezTo>
                        <a:pt x="20765" y="55221"/>
                        <a:pt x="20765" y="28360"/>
                        <a:pt x="20765" y="1595"/>
                      </a:cubicBezTo>
                      <a:cubicBezTo>
                        <a:pt x="20765" y="-24"/>
                        <a:pt x="19050" y="-119"/>
                        <a:pt x="17907" y="71"/>
                      </a:cubicBezTo>
                      <a:close/>
                    </a:path>
                  </a:pathLst>
                </a:custGeom>
                <a:grpFill/>
                <a:ln w="9525" cap="flat">
                  <a:noFill/>
                  <a:prstDash val="solid"/>
                  <a:miter/>
                </a:ln>
              </p:spPr>
              <p:txBody>
                <a:bodyPr rtlCol="0" anchor="ctr"/>
                <a:lstStyle/>
                <a:p>
                  <a:endParaRPr lang="en-US" sz="1050"/>
                </a:p>
              </p:txBody>
            </p:sp>
            <p:sp>
              <p:nvSpPr>
                <p:cNvPr id="27" name="Vrije vorm: vorm 26">
                  <a:extLst>
                    <a:ext uri="{FF2B5EF4-FFF2-40B4-BE49-F238E27FC236}">
                      <a16:creationId xmlns:a16="http://schemas.microsoft.com/office/drawing/2014/main" id="{E06327B1-EDAD-48D4-B728-0479A9C474B8}"/>
                    </a:ext>
                  </a:extLst>
                </p:cNvPr>
                <p:cNvSpPr/>
                <p:nvPr/>
              </p:nvSpPr>
              <p:spPr>
                <a:xfrm>
                  <a:off x="5673709" y="3880453"/>
                  <a:ext cx="68914" cy="88232"/>
                </a:xfrm>
                <a:custGeom>
                  <a:avLst/>
                  <a:gdLst>
                    <a:gd name="connsiteX0" fmla="*/ 57482 w 68914"/>
                    <a:gd name="connsiteY0" fmla="*/ 3555 h 88232"/>
                    <a:gd name="connsiteX1" fmla="*/ 22049 w 68914"/>
                    <a:gd name="connsiteY1" fmla="*/ 8890 h 88232"/>
                    <a:gd name="connsiteX2" fmla="*/ 20049 w 68914"/>
                    <a:gd name="connsiteY2" fmla="*/ 2317 h 88232"/>
                    <a:gd name="connsiteX3" fmla="*/ 15096 w 68914"/>
                    <a:gd name="connsiteY3" fmla="*/ 222 h 88232"/>
                    <a:gd name="connsiteX4" fmla="*/ 3094 w 68914"/>
                    <a:gd name="connsiteY4" fmla="*/ 3555 h 88232"/>
                    <a:gd name="connsiteX5" fmla="*/ 427 w 68914"/>
                    <a:gd name="connsiteY5" fmla="*/ 9461 h 88232"/>
                    <a:gd name="connsiteX6" fmla="*/ 2904 w 68914"/>
                    <a:gd name="connsiteY6" fmla="*/ 48514 h 88232"/>
                    <a:gd name="connsiteX7" fmla="*/ 2904 w 68914"/>
                    <a:gd name="connsiteY7" fmla="*/ 84899 h 88232"/>
                    <a:gd name="connsiteX8" fmla="*/ 5857 w 68914"/>
                    <a:gd name="connsiteY8" fmla="*/ 88233 h 88232"/>
                    <a:gd name="connsiteX9" fmla="*/ 17858 w 68914"/>
                    <a:gd name="connsiteY9" fmla="*/ 88233 h 88232"/>
                    <a:gd name="connsiteX10" fmla="*/ 23097 w 68914"/>
                    <a:gd name="connsiteY10" fmla="*/ 83947 h 88232"/>
                    <a:gd name="connsiteX11" fmla="*/ 23097 w 68914"/>
                    <a:gd name="connsiteY11" fmla="*/ 53086 h 88232"/>
                    <a:gd name="connsiteX12" fmla="*/ 23097 w 68914"/>
                    <a:gd name="connsiteY12" fmla="*/ 33845 h 88232"/>
                    <a:gd name="connsiteX13" fmla="*/ 34527 w 68914"/>
                    <a:gd name="connsiteY13" fmla="*/ 19748 h 88232"/>
                    <a:gd name="connsiteX14" fmla="*/ 48243 w 68914"/>
                    <a:gd name="connsiteY14" fmla="*/ 53848 h 88232"/>
                    <a:gd name="connsiteX15" fmla="*/ 48243 w 68914"/>
                    <a:gd name="connsiteY15" fmla="*/ 84899 h 88232"/>
                    <a:gd name="connsiteX16" fmla="*/ 48338 w 68914"/>
                    <a:gd name="connsiteY16" fmla="*/ 85852 h 88232"/>
                    <a:gd name="connsiteX17" fmla="*/ 51196 w 68914"/>
                    <a:gd name="connsiteY17" fmla="*/ 88233 h 88232"/>
                    <a:gd name="connsiteX18" fmla="*/ 63673 w 68914"/>
                    <a:gd name="connsiteY18" fmla="*/ 88233 h 88232"/>
                    <a:gd name="connsiteX19" fmla="*/ 68912 w 68914"/>
                    <a:gd name="connsiteY19" fmla="*/ 83947 h 88232"/>
                    <a:gd name="connsiteX20" fmla="*/ 68912 w 68914"/>
                    <a:gd name="connsiteY20" fmla="*/ 27082 h 88232"/>
                    <a:gd name="connsiteX21" fmla="*/ 57482 w 68914"/>
                    <a:gd name="connsiteY21" fmla="*/ 3555 h 8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8914" h="88232">
                      <a:moveTo>
                        <a:pt x="57482" y="3555"/>
                      </a:moveTo>
                      <a:cubicBezTo>
                        <a:pt x="44433" y="-2731"/>
                        <a:pt x="32527" y="1079"/>
                        <a:pt x="22049" y="8890"/>
                      </a:cubicBezTo>
                      <a:cubicBezTo>
                        <a:pt x="21573" y="6699"/>
                        <a:pt x="21001" y="4508"/>
                        <a:pt x="20049" y="2317"/>
                      </a:cubicBezTo>
                      <a:cubicBezTo>
                        <a:pt x="19096" y="127"/>
                        <a:pt x="17287" y="-350"/>
                        <a:pt x="15096" y="222"/>
                      </a:cubicBezTo>
                      <a:cubicBezTo>
                        <a:pt x="11095" y="1365"/>
                        <a:pt x="7095" y="2413"/>
                        <a:pt x="3094" y="3555"/>
                      </a:cubicBezTo>
                      <a:cubicBezTo>
                        <a:pt x="523" y="4222"/>
                        <a:pt x="-716" y="7175"/>
                        <a:pt x="427" y="9461"/>
                      </a:cubicBezTo>
                      <a:cubicBezTo>
                        <a:pt x="5475" y="19748"/>
                        <a:pt x="2904" y="37369"/>
                        <a:pt x="2904" y="48514"/>
                      </a:cubicBezTo>
                      <a:cubicBezTo>
                        <a:pt x="2904" y="60610"/>
                        <a:pt x="2904" y="72802"/>
                        <a:pt x="2904" y="84899"/>
                      </a:cubicBezTo>
                      <a:cubicBezTo>
                        <a:pt x="2904" y="86518"/>
                        <a:pt x="4142" y="88233"/>
                        <a:pt x="5857" y="88233"/>
                      </a:cubicBezTo>
                      <a:cubicBezTo>
                        <a:pt x="9857" y="88233"/>
                        <a:pt x="13858" y="88233"/>
                        <a:pt x="17858" y="88233"/>
                      </a:cubicBezTo>
                      <a:cubicBezTo>
                        <a:pt x="20239" y="88233"/>
                        <a:pt x="23097" y="86709"/>
                        <a:pt x="23097" y="83947"/>
                      </a:cubicBezTo>
                      <a:cubicBezTo>
                        <a:pt x="23097" y="73660"/>
                        <a:pt x="23097" y="63373"/>
                        <a:pt x="23097" y="53086"/>
                      </a:cubicBezTo>
                      <a:cubicBezTo>
                        <a:pt x="23097" y="46704"/>
                        <a:pt x="23097" y="40322"/>
                        <a:pt x="23097" y="33845"/>
                      </a:cubicBezTo>
                      <a:cubicBezTo>
                        <a:pt x="23097" y="24034"/>
                        <a:pt x="24049" y="24415"/>
                        <a:pt x="34527" y="19748"/>
                      </a:cubicBezTo>
                      <a:cubicBezTo>
                        <a:pt x="52529" y="11747"/>
                        <a:pt x="48243" y="45180"/>
                        <a:pt x="48243" y="53848"/>
                      </a:cubicBezTo>
                      <a:cubicBezTo>
                        <a:pt x="48243" y="64230"/>
                        <a:pt x="48243" y="74517"/>
                        <a:pt x="48243" y="84899"/>
                      </a:cubicBezTo>
                      <a:cubicBezTo>
                        <a:pt x="48243" y="85280"/>
                        <a:pt x="48243" y="85566"/>
                        <a:pt x="48338" y="85852"/>
                      </a:cubicBezTo>
                      <a:cubicBezTo>
                        <a:pt x="48338" y="87185"/>
                        <a:pt x="49195" y="88233"/>
                        <a:pt x="51196" y="88233"/>
                      </a:cubicBezTo>
                      <a:cubicBezTo>
                        <a:pt x="55387" y="88233"/>
                        <a:pt x="59482" y="88233"/>
                        <a:pt x="63673" y="88233"/>
                      </a:cubicBezTo>
                      <a:cubicBezTo>
                        <a:pt x="66055" y="88233"/>
                        <a:pt x="68912" y="86709"/>
                        <a:pt x="68912" y="83947"/>
                      </a:cubicBezTo>
                      <a:cubicBezTo>
                        <a:pt x="68912" y="64992"/>
                        <a:pt x="68912" y="46037"/>
                        <a:pt x="68912" y="27082"/>
                      </a:cubicBezTo>
                      <a:cubicBezTo>
                        <a:pt x="69007" y="17938"/>
                        <a:pt x="66531" y="7937"/>
                        <a:pt x="57482" y="3555"/>
                      </a:cubicBezTo>
                      <a:close/>
                    </a:path>
                  </a:pathLst>
                </a:custGeom>
                <a:grpFill/>
                <a:ln w="9525" cap="flat">
                  <a:noFill/>
                  <a:prstDash val="solid"/>
                  <a:miter/>
                </a:ln>
              </p:spPr>
              <p:txBody>
                <a:bodyPr rtlCol="0" anchor="ctr"/>
                <a:lstStyle/>
                <a:p>
                  <a:endParaRPr lang="en-US" sz="1050"/>
                </a:p>
              </p:txBody>
            </p:sp>
            <p:sp>
              <p:nvSpPr>
                <p:cNvPr id="28" name="Vrije vorm: vorm 27">
                  <a:extLst>
                    <a:ext uri="{FF2B5EF4-FFF2-40B4-BE49-F238E27FC236}">
                      <a16:creationId xmlns:a16="http://schemas.microsoft.com/office/drawing/2014/main" id="{07B7C118-56E5-485B-9FAA-A1BF03A13704}"/>
                    </a:ext>
                  </a:extLst>
                </p:cNvPr>
                <p:cNvSpPr/>
                <p:nvPr/>
              </p:nvSpPr>
              <p:spPr>
                <a:xfrm>
                  <a:off x="5763609" y="3845897"/>
                  <a:ext cx="72850" cy="122253"/>
                </a:xfrm>
                <a:custGeom>
                  <a:avLst/>
                  <a:gdLst>
                    <a:gd name="connsiteX0" fmla="*/ 35400 w 72850"/>
                    <a:gd name="connsiteY0" fmla="*/ 77069 h 122253"/>
                    <a:gd name="connsiteX1" fmla="*/ 65690 w 72850"/>
                    <a:gd name="connsiteY1" fmla="*/ 43636 h 122253"/>
                    <a:gd name="connsiteX2" fmla="*/ 60642 w 72850"/>
                    <a:gd name="connsiteY2" fmla="*/ 36873 h 122253"/>
                    <a:gd name="connsiteX3" fmla="*/ 38258 w 72850"/>
                    <a:gd name="connsiteY3" fmla="*/ 44398 h 122253"/>
                    <a:gd name="connsiteX4" fmla="*/ 19779 w 72850"/>
                    <a:gd name="connsiteY4" fmla="*/ 65353 h 122253"/>
                    <a:gd name="connsiteX5" fmla="*/ 19779 w 72850"/>
                    <a:gd name="connsiteY5" fmla="*/ 61638 h 122253"/>
                    <a:gd name="connsiteX6" fmla="*/ 17589 w 72850"/>
                    <a:gd name="connsiteY6" fmla="*/ 6108 h 122253"/>
                    <a:gd name="connsiteX7" fmla="*/ 12350 w 72850"/>
                    <a:gd name="connsiteY7" fmla="*/ 12 h 122253"/>
                    <a:gd name="connsiteX8" fmla="*/ 63 w 72850"/>
                    <a:gd name="connsiteY8" fmla="*/ 2393 h 122253"/>
                    <a:gd name="connsiteX9" fmla="*/ 158 w 72850"/>
                    <a:gd name="connsiteY9" fmla="*/ 3060 h 122253"/>
                    <a:gd name="connsiteX10" fmla="*/ 2063 w 72850"/>
                    <a:gd name="connsiteY10" fmla="*/ 58209 h 122253"/>
                    <a:gd name="connsiteX11" fmla="*/ 2063 w 72850"/>
                    <a:gd name="connsiteY11" fmla="*/ 115740 h 122253"/>
                    <a:gd name="connsiteX12" fmla="*/ 3873 w 72850"/>
                    <a:gd name="connsiteY12" fmla="*/ 118693 h 122253"/>
                    <a:gd name="connsiteX13" fmla="*/ 7206 w 72850"/>
                    <a:gd name="connsiteY13" fmla="*/ 122217 h 122253"/>
                    <a:gd name="connsiteX14" fmla="*/ 19494 w 72850"/>
                    <a:gd name="connsiteY14" fmla="*/ 122217 h 122253"/>
                    <a:gd name="connsiteX15" fmla="*/ 19779 w 72850"/>
                    <a:gd name="connsiteY15" fmla="*/ 121932 h 122253"/>
                    <a:gd name="connsiteX16" fmla="*/ 19779 w 72850"/>
                    <a:gd name="connsiteY16" fmla="*/ 78212 h 122253"/>
                    <a:gd name="connsiteX17" fmla="*/ 53117 w 72850"/>
                    <a:gd name="connsiteY17" fmla="*/ 119265 h 122253"/>
                    <a:gd name="connsiteX18" fmla="*/ 53212 w 72850"/>
                    <a:gd name="connsiteY18" fmla="*/ 119360 h 122253"/>
                    <a:gd name="connsiteX19" fmla="*/ 56165 w 72850"/>
                    <a:gd name="connsiteY19" fmla="*/ 122217 h 122253"/>
                    <a:gd name="connsiteX20" fmla="*/ 72643 w 72850"/>
                    <a:gd name="connsiteY20" fmla="*/ 122217 h 122253"/>
                    <a:gd name="connsiteX21" fmla="*/ 70071 w 72850"/>
                    <a:gd name="connsiteY21" fmla="*/ 117455 h 122253"/>
                    <a:gd name="connsiteX22" fmla="*/ 35400 w 72850"/>
                    <a:gd name="connsiteY22" fmla="*/ 77069 h 12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850" h="122253">
                      <a:moveTo>
                        <a:pt x="35400" y="77069"/>
                      </a:moveTo>
                      <a:cubicBezTo>
                        <a:pt x="45497" y="65925"/>
                        <a:pt x="55593" y="54780"/>
                        <a:pt x="65690" y="43636"/>
                      </a:cubicBezTo>
                      <a:cubicBezTo>
                        <a:pt x="66547" y="42684"/>
                        <a:pt x="61785" y="36873"/>
                        <a:pt x="60642" y="36873"/>
                      </a:cubicBezTo>
                      <a:cubicBezTo>
                        <a:pt x="48069" y="36873"/>
                        <a:pt x="46164" y="35445"/>
                        <a:pt x="38258" y="44398"/>
                      </a:cubicBezTo>
                      <a:cubicBezTo>
                        <a:pt x="32067" y="51351"/>
                        <a:pt x="25971" y="58400"/>
                        <a:pt x="19779" y="65353"/>
                      </a:cubicBezTo>
                      <a:cubicBezTo>
                        <a:pt x="19779" y="64115"/>
                        <a:pt x="19779" y="62877"/>
                        <a:pt x="19779" y="61638"/>
                      </a:cubicBezTo>
                      <a:cubicBezTo>
                        <a:pt x="19779" y="44208"/>
                        <a:pt x="22446" y="23157"/>
                        <a:pt x="17589" y="6108"/>
                      </a:cubicBezTo>
                      <a:cubicBezTo>
                        <a:pt x="17208" y="4774"/>
                        <a:pt x="13969" y="-274"/>
                        <a:pt x="12350" y="12"/>
                      </a:cubicBezTo>
                      <a:cubicBezTo>
                        <a:pt x="8254" y="774"/>
                        <a:pt x="4158" y="1631"/>
                        <a:pt x="63" y="2393"/>
                      </a:cubicBezTo>
                      <a:cubicBezTo>
                        <a:pt x="-33" y="2583"/>
                        <a:pt x="-33" y="2869"/>
                        <a:pt x="158" y="3060"/>
                      </a:cubicBezTo>
                      <a:cubicBezTo>
                        <a:pt x="5301" y="19443"/>
                        <a:pt x="2063" y="41350"/>
                        <a:pt x="2063" y="58209"/>
                      </a:cubicBezTo>
                      <a:cubicBezTo>
                        <a:pt x="2063" y="77355"/>
                        <a:pt x="2063" y="96595"/>
                        <a:pt x="2063" y="115740"/>
                      </a:cubicBezTo>
                      <a:cubicBezTo>
                        <a:pt x="2063" y="116598"/>
                        <a:pt x="2825" y="117741"/>
                        <a:pt x="3873" y="118693"/>
                      </a:cubicBezTo>
                      <a:cubicBezTo>
                        <a:pt x="4920" y="120408"/>
                        <a:pt x="6254" y="122217"/>
                        <a:pt x="7206" y="122217"/>
                      </a:cubicBezTo>
                      <a:cubicBezTo>
                        <a:pt x="11302" y="122217"/>
                        <a:pt x="15398" y="122217"/>
                        <a:pt x="19494" y="122217"/>
                      </a:cubicBezTo>
                      <a:cubicBezTo>
                        <a:pt x="19684" y="122313"/>
                        <a:pt x="19875" y="122217"/>
                        <a:pt x="19779" y="121932"/>
                      </a:cubicBezTo>
                      <a:cubicBezTo>
                        <a:pt x="19779" y="107358"/>
                        <a:pt x="19779" y="92785"/>
                        <a:pt x="19779" y="78212"/>
                      </a:cubicBezTo>
                      <a:cubicBezTo>
                        <a:pt x="30924" y="91928"/>
                        <a:pt x="41973" y="105549"/>
                        <a:pt x="53117" y="119265"/>
                      </a:cubicBezTo>
                      <a:cubicBezTo>
                        <a:pt x="53117" y="119265"/>
                        <a:pt x="53212" y="119360"/>
                        <a:pt x="53212" y="119360"/>
                      </a:cubicBezTo>
                      <a:cubicBezTo>
                        <a:pt x="54165" y="120884"/>
                        <a:pt x="55212" y="122217"/>
                        <a:pt x="56165" y="122217"/>
                      </a:cubicBezTo>
                      <a:cubicBezTo>
                        <a:pt x="61689" y="122217"/>
                        <a:pt x="67119" y="122217"/>
                        <a:pt x="72643" y="122217"/>
                      </a:cubicBezTo>
                      <a:cubicBezTo>
                        <a:pt x="73691" y="122217"/>
                        <a:pt x="70452" y="117836"/>
                        <a:pt x="70071" y="117455"/>
                      </a:cubicBezTo>
                      <a:cubicBezTo>
                        <a:pt x="58546" y="104120"/>
                        <a:pt x="47021" y="90594"/>
                        <a:pt x="35400" y="77069"/>
                      </a:cubicBezTo>
                      <a:close/>
                    </a:path>
                  </a:pathLst>
                </a:custGeom>
                <a:grpFill/>
                <a:ln w="9525" cap="flat">
                  <a:noFill/>
                  <a:prstDash val="solid"/>
                  <a:miter/>
                </a:ln>
              </p:spPr>
              <p:txBody>
                <a:bodyPr rtlCol="0" anchor="ctr"/>
                <a:lstStyle/>
                <a:p>
                  <a:endParaRPr lang="en-US" sz="1050"/>
                </a:p>
              </p:txBody>
            </p:sp>
            <p:sp>
              <p:nvSpPr>
                <p:cNvPr id="29" name="Vrije vorm: vorm 28">
                  <a:extLst>
                    <a:ext uri="{FF2B5EF4-FFF2-40B4-BE49-F238E27FC236}">
                      <a16:creationId xmlns:a16="http://schemas.microsoft.com/office/drawing/2014/main" id="{64458EAE-E789-478F-8D1D-BB241727F0FA}"/>
                    </a:ext>
                  </a:extLst>
                </p:cNvPr>
                <p:cNvSpPr/>
                <p:nvPr/>
              </p:nvSpPr>
              <p:spPr>
                <a:xfrm>
                  <a:off x="5846831" y="3881119"/>
                  <a:ext cx="66885" cy="88805"/>
                </a:xfrm>
                <a:custGeom>
                  <a:avLst/>
                  <a:gdLst>
                    <a:gd name="connsiteX0" fmla="*/ 48571 w 66885"/>
                    <a:gd name="connsiteY0" fmla="*/ 36989 h 88805"/>
                    <a:gd name="connsiteX1" fmla="*/ 36760 w 66885"/>
                    <a:gd name="connsiteY1" fmla="*/ 34322 h 88805"/>
                    <a:gd name="connsiteX2" fmla="*/ 28188 w 66885"/>
                    <a:gd name="connsiteY2" fmla="*/ 31751 h 88805"/>
                    <a:gd name="connsiteX3" fmla="*/ 24568 w 66885"/>
                    <a:gd name="connsiteY3" fmla="*/ 26702 h 88805"/>
                    <a:gd name="connsiteX4" fmla="*/ 51334 w 66885"/>
                    <a:gd name="connsiteY4" fmla="*/ 19654 h 88805"/>
                    <a:gd name="connsiteX5" fmla="*/ 58573 w 66885"/>
                    <a:gd name="connsiteY5" fmla="*/ 18035 h 88805"/>
                    <a:gd name="connsiteX6" fmla="*/ 63145 w 66885"/>
                    <a:gd name="connsiteY6" fmla="*/ 8891 h 88805"/>
                    <a:gd name="connsiteX7" fmla="*/ 62573 w 66885"/>
                    <a:gd name="connsiteY7" fmla="*/ 6414 h 88805"/>
                    <a:gd name="connsiteX8" fmla="*/ 3328 w 66885"/>
                    <a:gd name="connsiteY8" fmla="*/ 22892 h 88805"/>
                    <a:gd name="connsiteX9" fmla="*/ 16853 w 66885"/>
                    <a:gd name="connsiteY9" fmla="*/ 47943 h 88805"/>
                    <a:gd name="connsiteX10" fmla="*/ 33331 w 66885"/>
                    <a:gd name="connsiteY10" fmla="*/ 52325 h 88805"/>
                    <a:gd name="connsiteX11" fmla="*/ 45333 w 66885"/>
                    <a:gd name="connsiteY11" fmla="*/ 60707 h 88805"/>
                    <a:gd name="connsiteX12" fmla="*/ 12281 w 66885"/>
                    <a:gd name="connsiteY12" fmla="*/ 67088 h 88805"/>
                    <a:gd name="connsiteX13" fmla="*/ 5042 w 66885"/>
                    <a:gd name="connsiteY13" fmla="*/ 68708 h 88805"/>
                    <a:gd name="connsiteX14" fmla="*/ 280 w 66885"/>
                    <a:gd name="connsiteY14" fmla="*/ 77852 h 88805"/>
                    <a:gd name="connsiteX15" fmla="*/ 851 w 66885"/>
                    <a:gd name="connsiteY15" fmla="*/ 80328 h 88805"/>
                    <a:gd name="connsiteX16" fmla="*/ 31522 w 66885"/>
                    <a:gd name="connsiteY16" fmla="*/ 88805 h 88805"/>
                    <a:gd name="connsiteX17" fmla="*/ 31522 w 66885"/>
                    <a:gd name="connsiteY17" fmla="*/ 88805 h 88805"/>
                    <a:gd name="connsiteX18" fmla="*/ 32569 w 66885"/>
                    <a:gd name="connsiteY18" fmla="*/ 88805 h 88805"/>
                    <a:gd name="connsiteX19" fmla="*/ 66193 w 66885"/>
                    <a:gd name="connsiteY19" fmla="*/ 52991 h 88805"/>
                    <a:gd name="connsiteX20" fmla="*/ 48571 w 66885"/>
                    <a:gd name="connsiteY20" fmla="*/ 36989 h 8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885" h="88805">
                      <a:moveTo>
                        <a:pt x="48571" y="36989"/>
                      </a:moveTo>
                      <a:cubicBezTo>
                        <a:pt x="44857" y="35656"/>
                        <a:pt x="40666" y="35180"/>
                        <a:pt x="36760" y="34322"/>
                      </a:cubicBezTo>
                      <a:cubicBezTo>
                        <a:pt x="33617" y="33656"/>
                        <a:pt x="31331" y="33179"/>
                        <a:pt x="28188" y="31751"/>
                      </a:cubicBezTo>
                      <a:cubicBezTo>
                        <a:pt x="26950" y="30036"/>
                        <a:pt x="25807" y="28417"/>
                        <a:pt x="24568" y="26702"/>
                      </a:cubicBezTo>
                      <a:cubicBezTo>
                        <a:pt x="32760" y="15177"/>
                        <a:pt x="41713" y="12891"/>
                        <a:pt x="51334" y="19654"/>
                      </a:cubicBezTo>
                      <a:cubicBezTo>
                        <a:pt x="53429" y="20606"/>
                        <a:pt x="57334" y="20416"/>
                        <a:pt x="58573" y="18035"/>
                      </a:cubicBezTo>
                      <a:cubicBezTo>
                        <a:pt x="60097" y="14987"/>
                        <a:pt x="61621" y="11939"/>
                        <a:pt x="63145" y="8891"/>
                      </a:cubicBezTo>
                      <a:cubicBezTo>
                        <a:pt x="63621" y="8033"/>
                        <a:pt x="63621" y="6890"/>
                        <a:pt x="62573" y="6414"/>
                      </a:cubicBezTo>
                      <a:cubicBezTo>
                        <a:pt x="42190" y="-3682"/>
                        <a:pt x="9709" y="-4349"/>
                        <a:pt x="3328" y="22892"/>
                      </a:cubicBezTo>
                      <a:cubicBezTo>
                        <a:pt x="946" y="33084"/>
                        <a:pt x="7423" y="44133"/>
                        <a:pt x="16853" y="47943"/>
                      </a:cubicBezTo>
                      <a:cubicBezTo>
                        <a:pt x="22282" y="50134"/>
                        <a:pt x="27712" y="51182"/>
                        <a:pt x="33331" y="52325"/>
                      </a:cubicBezTo>
                      <a:cubicBezTo>
                        <a:pt x="39046" y="53563"/>
                        <a:pt x="43142" y="54611"/>
                        <a:pt x="45333" y="60707"/>
                      </a:cubicBezTo>
                      <a:cubicBezTo>
                        <a:pt x="52572" y="80614"/>
                        <a:pt x="18853" y="70708"/>
                        <a:pt x="12281" y="67088"/>
                      </a:cubicBezTo>
                      <a:cubicBezTo>
                        <a:pt x="10281" y="65945"/>
                        <a:pt x="6185" y="66517"/>
                        <a:pt x="5042" y="68708"/>
                      </a:cubicBezTo>
                      <a:cubicBezTo>
                        <a:pt x="3423" y="71756"/>
                        <a:pt x="1899" y="74804"/>
                        <a:pt x="280" y="77852"/>
                      </a:cubicBezTo>
                      <a:cubicBezTo>
                        <a:pt x="-197" y="78709"/>
                        <a:pt x="-101" y="79852"/>
                        <a:pt x="851" y="80328"/>
                      </a:cubicBezTo>
                      <a:cubicBezTo>
                        <a:pt x="10567" y="85567"/>
                        <a:pt x="20473" y="88234"/>
                        <a:pt x="31522" y="88805"/>
                      </a:cubicBezTo>
                      <a:cubicBezTo>
                        <a:pt x="31522" y="88805"/>
                        <a:pt x="31522" y="88805"/>
                        <a:pt x="31522" y="88805"/>
                      </a:cubicBezTo>
                      <a:cubicBezTo>
                        <a:pt x="31807" y="88805"/>
                        <a:pt x="32188" y="88805"/>
                        <a:pt x="32569" y="88805"/>
                      </a:cubicBezTo>
                      <a:cubicBezTo>
                        <a:pt x="52762" y="87758"/>
                        <a:pt x="70669" y="75280"/>
                        <a:pt x="66193" y="52991"/>
                      </a:cubicBezTo>
                      <a:cubicBezTo>
                        <a:pt x="64669" y="44133"/>
                        <a:pt x="56096" y="39656"/>
                        <a:pt x="48571" y="36989"/>
                      </a:cubicBezTo>
                      <a:close/>
                    </a:path>
                  </a:pathLst>
                </a:custGeom>
                <a:grpFill/>
                <a:ln w="9525" cap="flat">
                  <a:noFill/>
                  <a:prstDash val="solid"/>
                  <a:miter/>
                </a:ln>
              </p:spPr>
              <p:txBody>
                <a:bodyPr rtlCol="0" anchor="ctr"/>
                <a:lstStyle/>
                <a:p>
                  <a:endParaRPr lang="en-US" sz="1050"/>
                </a:p>
              </p:txBody>
            </p:sp>
            <p:sp>
              <p:nvSpPr>
                <p:cNvPr id="30" name="Vrije vorm: vorm 29">
                  <a:extLst>
                    <a:ext uri="{FF2B5EF4-FFF2-40B4-BE49-F238E27FC236}">
                      <a16:creationId xmlns:a16="http://schemas.microsoft.com/office/drawing/2014/main" id="{87D92074-AAF5-4F39-AEAF-ACD0B1274FF1}"/>
                    </a:ext>
                  </a:extLst>
                </p:cNvPr>
                <p:cNvSpPr/>
                <p:nvPr/>
              </p:nvSpPr>
              <p:spPr>
                <a:xfrm>
                  <a:off x="5980605" y="3882535"/>
                  <a:ext cx="76926" cy="85579"/>
                </a:xfrm>
                <a:custGeom>
                  <a:avLst/>
                  <a:gdLst>
                    <a:gd name="connsiteX0" fmla="*/ 39099 w 76926"/>
                    <a:gd name="connsiteY0" fmla="*/ 45 h 85579"/>
                    <a:gd name="connsiteX1" fmla="*/ 808 w 76926"/>
                    <a:gd name="connsiteY1" fmla="*/ 34430 h 85579"/>
                    <a:gd name="connsiteX2" fmla="*/ 35384 w 76926"/>
                    <a:gd name="connsiteY2" fmla="*/ 85484 h 85579"/>
                    <a:gd name="connsiteX3" fmla="*/ 36432 w 76926"/>
                    <a:gd name="connsiteY3" fmla="*/ 85579 h 85579"/>
                    <a:gd name="connsiteX4" fmla="*/ 36527 w 76926"/>
                    <a:gd name="connsiteY4" fmla="*/ 85579 h 85579"/>
                    <a:gd name="connsiteX5" fmla="*/ 36622 w 76926"/>
                    <a:gd name="connsiteY5" fmla="*/ 85579 h 85579"/>
                    <a:gd name="connsiteX6" fmla="*/ 37575 w 76926"/>
                    <a:gd name="connsiteY6" fmla="*/ 85579 h 85579"/>
                    <a:gd name="connsiteX7" fmla="*/ 76056 w 76926"/>
                    <a:gd name="connsiteY7" fmla="*/ 52432 h 85579"/>
                    <a:gd name="connsiteX8" fmla="*/ 39099 w 76926"/>
                    <a:gd name="connsiteY8" fmla="*/ 45 h 85579"/>
                    <a:gd name="connsiteX9" fmla="*/ 29098 w 76926"/>
                    <a:gd name="connsiteY9" fmla="*/ 68053 h 85579"/>
                    <a:gd name="connsiteX10" fmla="*/ 22430 w 76926"/>
                    <a:gd name="connsiteY10" fmla="*/ 35478 h 85579"/>
                    <a:gd name="connsiteX11" fmla="*/ 25954 w 76926"/>
                    <a:gd name="connsiteY11" fmla="*/ 19666 h 85579"/>
                    <a:gd name="connsiteX12" fmla="*/ 50434 w 76926"/>
                    <a:gd name="connsiteY12" fmla="*/ 22048 h 85579"/>
                    <a:gd name="connsiteX13" fmla="*/ 29098 w 76926"/>
                    <a:gd name="connsiteY13" fmla="*/ 68053 h 8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926" h="85579">
                      <a:moveTo>
                        <a:pt x="39099" y="45"/>
                      </a:moveTo>
                      <a:cubicBezTo>
                        <a:pt x="17668" y="997"/>
                        <a:pt x="4333" y="12999"/>
                        <a:pt x="808" y="34430"/>
                      </a:cubicBezTo>
                      <a:cubicBezTo>
                        <a:pt x="-3383" y="60052"/>
                        <a:pt x="8809" y="83674"/>
                        <a:pt x="35384" y="85484"/>
                      </a:cubicBezTo>
                      <a:cubicBezTo>
                        <a:pt x="35670" y="85579"/>
                        <a:pt x="35956" y="85579"/>
                        <a:pt x="36432" y="85579"/>
                      </a:cubicBezTo>
                      <a:cubicBezTo>
                        <a:pt x="36432" y="85579"/>
                        <a:pt x="36527" y="85579"/>
                        <a:pt x="36527" y="85579"/>
                      </a:cubicBezTo>
                      <a:cubicBezTo>
                        <a:pt x="36527" y="85579"/>
                        <a:pt x="36622" y="85579"/>
                        <a:pt x="36622" y="85579"/>
                      </a:cubicBezTo>
                      <a:cubicBezTo>
                        <a:pt x="36908" y="85579"/>
                        <a:pt x="37194" y="85579"/>
                        <a:pt x="37575" y="85579"/>
                      </a:cubicBezTo>
                      <a:cubicBezTo>
                        <a:pt x="58625" y="84722"/>
                        <a:pt x="72436" y="73578"/>
                        <a:pt x="76056" y="52432"/>
                      </a:cubicBezTo>
                      <a:cubicBezTo>
                        <a:pt x="80533" y="27286"/>
                        <a:pt x="67674" y="-1289"/>
                        <a:pt x="39099" y="45"/>
                      </a:cubicBezTo>
                      <a:close/>
                      <a:moveTo>
                        <a:pt x="29098" y="68053"/>
                      </a:moveTo>
                      <a:cubicBezTo>
                        <a:pt x="21192" y="61862"/>
                        <a:pt x="22144" y="44146"/>
                        <a:pt x="22430" y="35478"/>
                      </a:cubicBezTo>
                      <a:cubicBezTo>
                        <a:pt x="22525" y="29953"/>
                        <a:pt x="23764" y="24715"/>
                        <a:pt x="25954" y="19666"/>
                      </a:cubicBezTo>
                      <a:cubicBezTo>
                        <a:pt x="31669" y="6903"/>
                        <a:pt x="45576" y="14237"/>
                        <a:pt x="50434" y="22048"/>
                      </a:cubicBezTo>
                      <a:cubicBezTo>
                        <a:pt x="55482" y="34144"/>
                        <a:pt x="57196" y="89961"/>
                        <a:pt x="29098" y="68053"/>
                      </a:cubicBezTo>
                      <a:close/>
                    </a:path>
                  </a:pathLst>
                </a:custGeom>
                <a:grpFill/>
                <a:ln w="9525" cap="flat">
                  <a:noFill/>
                  <a:prstDash val="solid"/>
                  <a:miter/>
                </a:ln>
              </p:spPr>
              <p:txBody>
                <a:bodyPr rtlCol="0" anchor="ctr"/>
                <a:lstStyle/>
                <a:p>
                  <a:endParaRPr lang="en-US" sz="1050"/>
                </a:p>
              </p:txBody>
            </p:sp>
            <p:sp>
              <p:nvSpPr>
                <p:cNvPr id="31" name="Vrije vorm: vorm 30">
                  <a:extLst>
                    <a:ext uri="{FF2B5EF4-FFF2-40B4-BE49-F238E27FC236}">
                      <a16:creationId xmlns:a16="http://schemas.microsoft.com/office/drawing/2014/main" id="{EFE2402D-E17A-482E-A617-9F523E4B9654}"/>
                    </a:ext>
                  </a:extLst>
                </p:cNvPr>
                <p:cNvSpPr/>
                <p:nvPr/>
              </p:nvSpPr>
              <p:spPr>
                <a:xfrm>
                  <a:off x="6075577" y="3879960"/>
                  <a:ext cx="68522" cy="89202"/>
                </a:xfrm>
                <a:custGeom>
                  <a:avLst/>
                  <a:gdLst>
                    <a:gd name="connsiteX0" fmla="*/ 56998 w 68522"/>
                    <a:gd name="connsiteY0" fmla="*/ 4240 h 89202"/>
                    <a:gd name="connsiteX1" fmla="*/ 21279 w 68522"/>
                    <a:gd name="connsiteY1" fmla="*/ 9002 h 89202"/>
                    <a:gd name="connsiteX2" fmla="*/ 19183 w 68522"/>
                    <a:gd name="connsiteY2" fmla="*/ 2621 h 89202"/>
                    <a:gd name="connsiteX3" fmla="*/ 14802 w 68522"/>
                    <a:gd name="connsiteY3" fmla="*/ 144 h 89202"/>
                    <a:gd name="connsiteX4" fmla="*/ 2800 w 68522"/>
                    <a:gd name="connsiteY4" fmla="*/ 3478 h 89202"/>
                    <a:gd name="connsiteX5" fmla="*/ 514 w 68522"/>
                    <a:gd name="connsiteY5" fmla="*/ 9383 h 89202"/>
                    <a:gd name="connsiteX6" fmla="*/ 2991 w 68522"/>
                    <a:gd name="connsiteY6" fmla="*/ 48150 h 89202"/>
                    <a:gd name="connsiteX7" fmla="*/ 2991 w 68522"/>
                    <a:gd name="connsiteY7" fmla="*/ 84536 h 89202"/>
                    <a:gd name="connsiteX8" fmla="*/ 6896 w 68522"/>
                    <a:gd name="connsiteY8" fmla="*/ 89203 h 89202"/>
                    <a:gd name="connsiteX9" fmla="*/ 18898 w 68522"/>
                    <a:gd name="connsiteY9" fmla="*/ 89203 h 89202"/>
                    <a:gd name="connsiteX10" fmla="*/ 22708 w 68522"/>
                    <a:gd name="connsiteY10" fmla="*/ 85488 h 89202"/>
                    <a:gd name="connsiteX11" fmla="*/ 22708 w 68522"/>
                    <a:gd name="connsiteY11" fmla="*/ 54627 h 89202"/>
                    <a:gd name="connsiteX12" fmla="*/ 22708 w 68522"/>
                    <a:gd name="connsiteY12" fmla="*/ 35386 h 89202"/>
                    <a:gd name="connsiteX13" fmla="*/ 31471 w 68522"/>
                    <a:gd name="connsiteY13" fmla="*/ 22337 h 89202"/>
                    <a:gd name="connsiteX14" fmla="*/ 48330 w 68522"/>
                    <a:gd name="connsiteY14" fmla="*/ 53389 h 89202"/>
                    <a:gd name="connsiteX15" fmla="*/ 48330 w 68522"/>
                    <a:gd name="connsiteY15" fmla="*/ 84440 h 89202"/>
                    <a:gd name="connsiteX16" fmla="*/ 48520 w 68522"/>
                    <a:gd name="connsiteY16" fmla="*/ 85678 h 89202"/>
                    <a:gd name="connsiteX17" fmla="*/ 52235 w 68522"/>
                    <a:gd name="connsiteY17" fmla="*/ 89107 h 89202"/>
                    <a:gd name="connsiteX18" fmla="*/ 64713 w 68522"/>
                    <a:gd name="connsiteY18" fmla="*/ 89107 h 89202"/>
                    <a:gd name="connsiteX19" fmla="*/ 68523 w 68522"/>
                    <a:gd name="connsiteY19" fmla="*/ 85393 h 89202"/>
                    <a:gd name="connsiteX20" fmla="*/ 68523 w 68522"/>
                    <a:gd name="connsiteY20" fmla="*/ 28528 h 89202"/>
                    <a:gd name="connsiteX21" fmla="*/ 56998 w 68522"/>
                    <a:gd name="connsiteY21" fmla="*/ 4240 h 89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8522" h="89202">
                      <a:moveTo>
                        <a:pt x="56998" y="4240"/>
                      </a:moveTo>
                      <a:cubicBezTo>
                        <a:pt x="45568" y="-4237"/>
                        <a:pt x="31566" y="1382"/>
                        <a:pt x="21279" y="9002"/>
                      </a:cubicBezTo>
                      <a:cubicBezTo>
                        <a:pt x="20803" y="6811"/>
                        <a:pt x="20136" y="4716"/>
                        <a:pt x="19183" y="2621"/>
                      </a:cubicBezTo>
                      <a:cubicBezTo>
                        <a:pt x="18517" y="1192"/>
                        <a:pt x="16516" y="-237"/>
                        <a:pt x="14802" y="144"/>
                      </a:cubicBezTo>
                      <a:cubicBezTo>
                        <a:pt x="10801" y="1287"/>
                        <a:pt x="6801" y="2335"/>
                        <a:pt x="2800" y="3478"/>
                      </a:cubicBezTo>
                      <a:cubicBezTo>
                        <a:pt x="133" y="4240"/>
                        <a:pt x="-629" y="7002"/>
                        <a:pt x="514" y="9383"/>
                      </a:cubicBezTo>
                      <a:cubicBezTo>
                        <a:pt x="5563" y="19575"/>
                        <a:pt x="2991" y="37101"/>
                        <a:pt x="2991" y="48150"/>
                      </a:cubicBezTo>
                      <a:cubicBezTo>
                        <a:pt x="2991" y="60247"/>
                        <a:pt x="2991" y="72439"/>
                        <a:pt x="2991" y="84536"/>
                      </a:cubicBezTo>
                      <a:cubicBezTo>
                        <a:pt x="2991" y="86536"/>
                        <a:pt x="4705" y="89203"/>
                        <a:pt x="6896" y="89203"/>
                      </a:cubicBezTo>
                      <a:cubicBezTo>
                        <a:pt x="10897" y="89203"/>
                        <a:pt x="14897" y="89203"/>
                        <a:pt x="18898" y="89203"/>
                      </a:cubicBezTo>
                      <a:cubicBezTo>
                        <a:pt x="21088" y="89203"/>
                        <a:pt x="22708" y="87774"/>
                        <a:pt x="22708" y="85488"/>
                      </a:cubicBezTo>
                      <a:cubicBezTo>
                        <a:pt x="22708" y="75201"/>
                        <a:pt x="22708" y="64914"/>
                        <a:pt x="22708" y="54627"/>
                      </a:cubicBezTo>
                      <a:cubicBezTo>
                        <a:pt x="22708" y="48245"/>
                        <a:pt x="22708" y="41863"/>
                        <a:pt x="22708" y="35386"/>
                      </a:cubicBezTo>
                      <a:cubicBezTo>
                        <a:pt x="22708" y="26338"/>
                        <a:pt x="22803" y="27386"/>
                        <a:pt x="31471" y="22337"/>
                      </a:cubicBezTo>
                      <a:cubicBezTo>
                        <a:pt x="52140" y="10431"/>
                        <a:pt x="48330" y="43483"/>
                        <a:pt x="48330" y="53389"/>
                      </a:cubicBezTo>
                      <a:cubicBezTo>
                        <a:pt x="48330" y="63771"/>
                        <a:pt x="48330" y="74058"/>
                        <a:pt x="48330" y="84440"/>
                      </a:cubicBezTo>
                      <a:cubicBezTo>
                        <a:pt x="48330" y="84917"/>
                        <a:pt x="48425" y="85298"/>
                        <a:pt x="48520" y="85678"/>
                      </a:cubicBezTo>
                      <a:cubicBezTo>
                        <a:pt x="48901" y="87488"/>
                        <a:pt x="50140" y="89107"/>
                        <a:pt x="52235" y="89107"/>
                      </a:cubicBezTo>
                      <a:cubicBezTo>
                        <a:pt x="56426" y="89107"/>
                        <a:pt x="60522" y="89107"/>
                        <a:pt x="64713" y="89107"/>
                      </a:cubicBezTo>
                      <a:cubicBezTo>
                        <a:pt x="66904" y="89107"/>
                        <a:pt x="68523" y="87679"/>
                        <a:pt x="68523" y="85393"/>
                      </a:cubicBezTo>
                      <a:cubicBezTo>
                        <a:pt x="68523" y="66438"/>
                        <a:pt x="68523" y="47483"/>
                        <a:pt x="68523" y="28528"/>
                      </a:cubicBezTo>
                      <a:cubicBezTo>
                        <a:pt x="68428" y="18146"/>
                        <a:pt x="65380" y="10431"/>
                        <a:pt x="56998" y="4240"/>
                      </a:cubicBezTo>
                      <a:close/>
                    </a:path>
                  </a:pathLst>
                </a:custGeom>
                <a:grpFill/>
                <a:ln w="9525" cap="flat">
                  <a:noFill/>
                  <a:prstDash val="solid"/>
                  <a:miter/>
                </a:ln>
              </p:spPr>
              <p:txBody>
                <a:bodyPr rtlCol="0" anchor="ctr"/>
                <a:lstStyle/>
                <a:p>
                  <a:endParaRPr lang="en-US" sz="1050"/>
                </a:p>
              </p:txBody>
            </p:sp>
            <p:sp>
              <p:nvSpPr>
                <p:cNvPr id="32" name="Vrije vorm: vorm 31">
                  <a:extLst>
                    <a:ext uri="{FF2B5EF4-FFF2-40B4-BE49-F238E27FC236}">
                      <a16:creationId xmlns:a16="http://schemas.microsoft.com/office/drawing/2014/main" id="{6DA83403-2C1B-4C12-9AD1-C8DCDA9EE03B}"/>
                    </a:ext>
                  </a:extLst>
                </p:cNvPr>
                <p:cNvSpPr/>
                <p:nvPr/>
              </p:nvSpPr>
              <p:spPr>
                <a:xfrm>
                  <a:off x="6215373" y="3880536"/>
                  <a:ext cx="72555" cy="89048"/>
                </a:xfrm>
                <a:custGeom>
                  <a:avLst/>
                  <a:gdLst>
                    <a:gd name="connsiteX0" fmla="*/ 55029 w 72555"/>
                    <a:gd name="connsiteY0" fmla="*/ 5188 h 89048"/>
                    <a:gd name="connsiteX1" fmla="*/ 5213 w 72555"/>
                    <a:gd name="connsiteY1" fmla="*/ 21571 h 89048"/>
                    <a:gd name="connsiteX2" fmla="*/ 69983 w 72555"/>
                    <a:gd name="connsiteY2" fmla="*/ 79006 h 89048"/>
                    <a:gd name="connsiteX3" fmla="*/ 70364 w 72555"/>
                    <a:gd name="connsiteY3" fmla="*/ 76244 h 89048"/>
                    <a:gd name="connsiteX4" fmla="*/ 65602 w 72555"/>
                    <a:gd name="connsiteY4" fmla="*/ 68339 h 89048"/>
                    <a:gd name="connsiteX5" fmla="*/ 58839 w 72555"/>
                    <a:gd name="connsiteY5" fmla="*/ 65576 h 89048"/>
                    <a:gd name="connsiteX6" fmla="*/ 23501 w 72555"/>
                    <a:gd name="connsiteY6" fmla="*/ 50241 h 89048"/>
                    <a:gd name="connsiteX7" fmla="*/ 70269 w 72555"/>
                    <a:gd name="connsiteY7" fmla="*/ 50241 h 89048"/>
                    <a:gd name="connsiteX8" fmla="*/ 72555 w 72555"/>
                    <a:gd name="connsiteY8" fmla="*/ 48622 h 89048"/>
                    <a:gd name="connsiteX9" fmla="*/ 55029 w 72555"/>
                    <a:gd name="connsiteY9" fmla="*/ 5188 h 89048"/>
                    <a:gd name="connsiteX10" fmla="*/ 48552 w 72555"/>
                    <a:gd name="connsiteY10" fmla="*/ 20714 h 89048"/>
                    <a:gd name="connsiteX11" fmla="*/ 51505 w 72555"/>
                    <a:gd name="connsiteY11" fmla="*/ 34525 h 89048"/>
                    <a:gd name="connsiteX12" fmla="*/ 23787 w 72555"/>
                    <a:gd name="connsiteY12" fmla="*/ 34525 h 89048"/>
                    <a:gd name="connsiteX13" fmla="*/ 28740 w 72555"/>
                    <a:gd name="connsiteY13" fmla="*/ 21095 h 89048"/>
                    <a:gd name="connsiteX14" fmla="*/ 48552 w 72555"/>
                    <a:gd name="connsiteY14" fmla="*/ 20714 h 8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555" h="89048">
                      <a:moveTo>
                        <a:pt x="55029" y="5188"/>
                      </a:moveTo>
                      <a:cubicBezTo>
                        <a:pt x="36741" y="-7004"/>
                        <a:pt x="14072" y="3854"/>
                        <a:pt x="5213" y="21571"/>
                      </a:cubicBezTo>
                      <a:cubicBezTo>
                        <a:pt x="-15837" y="63576"/>
                        <a:pt x="31121" y="109868"/>
                        <a:pt x="69983" y="79006"/>
                      </a:cubicBezTo>
                      <a:cubicBezTo>
                        <a:pt x="70841" y="78340"/>
                        <a:pt x="70936" y="77197"/>
                        <a:pt x="70364" y="76244"/>
                      </a:cubicBezTo>
                      <a:cubicBezTo>
                        <a:pt x="68745" y="73577"/>
                        <a:pt x="67221" y="71005"/>
                        <a:pt x="65602" y="68339"/>
                      </a:cubicBezTo>
                      <a:cubicBezTo>
                        <a:pt x="64554" y="66529"/>
                        <a:pt x="61030" y="63862"/>
                        <a:pt x="58839" y="65576"/>
                      </a:cubicBezTo>
                      <a:cubicBezTo>
                        <a:pt x="43599" y="77768"/>
                        <a:pt x="24454" y="70529"/>
                        <a:pt x="23501" y="50241"/>
                      </a:cubicBezTo>
                      <a:cubicBezTo>
                        <a:pt x="39122" y="50241"/>
                        <a:pt x="54648" y="50241"/>
                        <a:pt x="70269" y="50241"/>
                      </a:cubicBezTo>
                      <a:cubicBezTo>
                        <a:pt x="71126" y="50241"/>
                        <a:pt x="72555" y="49765"/>
                        <a:pt x="72555" y="48622"/>
                      </a:cubicBezTo>
                      <a:cubicBezTo>
                        <a:pt x="72555" y="30620"/>
                        <a:pt x="70745" y="15665"/>
                        <a:pt x="55029" y="5188"/>
                      </a:cubicBezTo>
                      <a:close/>
                      <a:moveTo>
                        <a:pt x="48552" y="20714"/>
                      </a:moveTo>
                      <a:cubicBezTo>
                        <a:pt x="50838" y="25000"/>
                        <a:pt x="51314" y="29762"/>
                        <a:pt x="51505" y="34525"/>
                      </a:cubicBezTo>
                      <a:cubicBezTo>
                        <a:pt x="42266" y="34525"/>
                        <a:pt x="33026" y="34525"/>
                        <a:pt x="23787" y="34525"/>
                      </a:cubicBezTo>
                      <a:cubicBezTo>
                        <a:pt x="24359" y="29667"/>
                        <a:pt x="25692" y="25095"/>
                        <a:pt x="28740" y="21095"/>
                      </a:cubicBezTo>
                      <a:cubicBezTo>
                        <a:pt x="33312" y="14903"/>
                        <a:pt x="43980" y="14903"/>
                        <a:pt x="48552" y="20714"/>
                      </a:cubicBezTo>
                      <a:close/>
                    </a:path>
                  </a:pathLst>
                </a:custGeom>
                <a:grpFill/>
                <a:ln w="9525" cap="flat">
                  <a:noFill/>
                  <a:prstDash val="solid"/>
                  <a:miter/>
                </a:ln>
              </p:spPr>
              <p:txBody>
                <a:bodyPr rtlCol="0" anchor="ctr"/>
                <a:lstStyle/>
                <a:p>
                  <a:endParaRPr lang="en-US" sz="1050"/>
                </a:p>
              </p:txBody>
            </p:sp>
            <p:sp>
              <p:nvSpPr>
                <p:cNvPr id="33" name="Vrije vorm: vorm 32">
                  <a:extLst>
                    <a:ext uri="{FF2B5EF4-FFF2-40B4-BE49-F238E27FC236}">
                      <a16:creationId xmlns:a16="http://schemas.microsoft.com/office/drawing/2014/main" id="{FFA5C415-432E-4950-BA62-E78A9CD2ADD5}"/>
                    </a:ext>
                  </a:extLst>
                </p:cNvPr>
                <p:cNvSpPr/>
                <p:nvPr/>
              </p:nvSpPr>
              <p:spPr>
                <a:xfrm>
                  <a:off x="6298598" y="3880665"/>
                  <a:ext cx="78505" cy="88401"/>
                </a:xfrm>
                <a:custGeom>
                  <a:avLst/>
                  <a:gdLst>
                    <a:gd name="connsiteX0" fmla="*/ 75436 w 78505"/>
                    <a:gd name="connsiteY0" fmla="*/ 2105 h 88401"/>
                    <a:gd name="connsiteX1" fmla="*/ 62292 w 78505"/>
                    <a:gd name="connsiteY1" fmla="*/ 2105 h 88401"/>
                    <a:gd name="connsiteX2" fmla="*/ 57148 w 78505"/>
                    <a:gd name="connsiteY2" fmla="*/ 5249 h 88401"/>
                    <a:gd name="connsiteX3" fmla="*/ 39241 w 78505"/>
                    <a:gd name="connsiteY3" fmla="*/ 55922 h 88401"/>
                    <a:gd name="connsiteX4" fmla="*/ 38384 w 78505"/>
                    <a:gd name="connsiteY4" fmla="*/ 53255 h 88401"/>
                    <a:gd name="connsiteX5" fmla="*/ 32478 w 78505"/>
                    <a:gd name="connsiteY5" fmla="*/ 35919 h 88401"/>
                    <a:gd name="connsiteX6" fmla="*/ 20953 w 78505"/>
                    <a:gd name="connsiteY6" fmla="*/ 1915 h 88401"/>
                    <a:gd name="connsiteX7" fmla="*/ 16857 w 78505"/>
                    <a:gd name="connsiteY7" fmla="*/ 105 h 88401"/>
                    <a:gd name="connsiteX8" fmla="*/ 4189 w 78505"/>
                    <a:gd name="connsiteY8" fmla="*/ 2772 h 88401"/>
                    <a:gd name="connsiteX9" fmla="*/ 189 w 78505"/>
                    <a:gd name="connsiteY9" fmla="*/ 7630 h 88401"/>
                    <a:gd name="connsiteX10" fmla="*/ 28478 w 78505"/>
                    <a:gd name="connsiteY10" fmla="*/ 86497 h 88401"/>
                    <a:gd name="connsiteX11" fmla="*/ 31431 w 78505"/>
                    <a:gd name="connsiteY11" fmla="*/ 88402 h 88401"/>
                    <a:gd name="connsiteX12" fmla="*/ 43623 w 78505"/>
                    <a:gd name="connsiteY12" fmla="*/ 88402 h 88401"/>
                    <a:gd name="connsiteX13" fmla="*/ 46194 w 78505"/>
                    <a:gd name="connsiteY13" fmla="*/ 87640 h 88401"/>
                    <a:gd name="connsiteX14" fmla="*/ 48766 w 78505"/>
                    <a:gd name="connsiteY14" fmla="*/ 85259 h 88401"/>
                    <a:gd name="connsiteX15" fmla="*/ 78294 w 78505"/>
                    <a:gd name="connsiteY15" fmla="*/ 5820 h 88401"/>
                    <a:gd name="connsiteX16" fmla="*/ 75436 w 78505"/>
                    <a:gd name="connsiteY16" fmla="*/ 2105 h 8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505" h="88401">
                      <a:moveTo>
                        <a:pt x="75436" y="2105"/>
                      </a:moveTo>
                      <a:cubicBezTo>
                        <a:pt x="71055" y="2105"/>
                        <a:pt x="66673" y="2105"/>
                        <a:pt x="62292" y="2105"/>
                      </a:cubicBezTo>
                      <a:cubicBezTo>
                        <a:pt x="60196" y="2105"/>
                        <a:pt x="57910" y="3153"/>
                        <a:pt x="57148" y="5249"/>
                      </a:cubicBezTo>
                      <a:cubicBezTo>
                        <a:pt x="51433" y="22013"/>
                        <a:pt x="44385" y="38872"/>
                        <a:pt x="39241" y="55922"/>
                      </a:cubicBezTo>
                      <a:cubicBezTo>
                        <a:pt x="38956" y="55064"/>
                        <a:pt x="38670" y="54112"/>
                        <a:pt x="38384" y="53255"/>
                      </a:cubicBezTo>
                      <a:cubicBezTo>
                        <a:pt x="36384" y="47444"/>
                        <a:pt x="34479" y="41729"/>
                        <a:pt x="32478" y="35919"/>
                      </a:cubicBezTo>
                      <a:cubicBezTo>
                        <a:pt x="28668" y="24584"/>
                        <a:pt x="24763" y="13250"/>
                        <a:pt x="20953" y="1915"/>
                      </a:cubicBezTo>
                      <a:cubicBezTo>
                        <a:pt x="20382" y="391"/>
                        <a:pt x="18381" y="-276"/>
                        <a:pt x="16857" y="105"/>
                      </a:cubicBezTo>
                      <a:cubicBezTo>
                        <a:pt x="12667" y="962"/>
                        <a:pt x="8476" y="1915"/>
                        <a:pt x="4189" y="2772"/>
                      </a:cubicBezTo>
                      <a:cubicBezTo>
                        <a:pt x="2094" y="3248"/>
                        <a:pt x="-764" y="5058"/>
                        <a:pt x="189" y="7630"/>
                      </a:cubicBezTo>
                      <a:cubicBezTo>
                        <a:pt x="9618" y="33919"/>
                        <a:pt x="19048" y="60208"/>
                        <a:pt x="28478" y="86497"/>
                      </a:cubicBezTo>
                      <a:cubicBezTo>
                        <a:pt x="28859" y="87640"/>
                        <a:pt x="30288" y="88402"/>
                        <a:pt x="31431" y="88402"/>
                      </a:cubicBezTo>
                      <a:cubicBezTo>
                        <a:pt x="35526" y="88402"/>
                        <a:pt x="39527" y="88402"/>
                        <a:pt x="43623" y="88402"/>
                      </a:cubicBezTo>
                      <a:cubicBezTo>
                        <a:pt x="44575" y="88402"/>
                        <a:pt x="45432" y="88116"/>
                        <a:pt x="46194" y="87640"/>
                      </a:cubicBezTo>
                      <a:cubicBezTo>
                        <a:pt x="47338" y="87164"/>
                        <a:pt x="48385" y="86306"/>
                        <a:pt x="48766" y="85259"/>
                      </a:cubicBezTo>
                      <a:cubicBezTo>
                        <a:pt x="58577" y="58779"/>
                        <a:pt x="68483" y="32300"/>
                        <a:pt x="78294" y="5820"/>
                      </a:cubicBezTo>
                      <a:cubicBezTo>
                        <a:pt x="79151" y="3820"/>
                        <a:pt x="77246" y="2105"/>
                        <a:pt x="75436" y="2105"/>
                      </a:cubicBezTo>
                      <a:close/>
                    </a:path>
                  </a:pathLst>
                </a:custGeom>
                <a:grpFill/>
                <a:ln w="9525" cap="flat">
                  <a:noFill/>
                  <a:prstDash val="solid"/>
                  <a:miter/>
                </a:ln>
              </p:spPr>
              <p:txBody>
                <a:bodyPr rtlCol="0" anchor="ctr"/>
                <a:lstStyle/>
                <a:p>
                  <a:endParaRPr lang="en-US" sz="1050"/>
                </a:p>
              </p:txBody>
            </p:sp>
            <p:sp>
              <p:nvSpPr>
                <p:cNvPr id="35" name="Vrije vorm: vorm 34">
                  <a:extLst>
                    <a:ext uri="{FF2B5EF4-FFF2-40B4-BE49-F238E27FC236}">
                      <a16:creationId xmlns:a16="http://schemas.microsoft.com/office/drawing/2014/main" id="{5041A8E2-0508-421F-8420-8A0DAE2ABFEB}"/>
                    </a:ext>
                  </a:extLst>
                </p:cNvPr>
                <p:cNvSpPr/>
                <p:nvPr/>
              </p:nvSpPr>
              <p:spPr>
                <a:xfrm>
                  <a:off x="6388816" y="3880277"/>
                  <a:ext cx="72180" cy="90112"/>
                </a:xfrm>
                <a:custGeom>
                  <a:avLst/>
                  <a:gdLst>
                    <a:gd name="connsiteX0" fmla="*/ 54560 w 72180"/>
                    <a:gd name="connsiteY0" fmla="*/ 4112 h 90112"/>
                    <a:gd name="connsiteX1" fmla="*/ 4458 w 72180"/>
                    <a:gd name="connsiteY1" fmla="*/ 22114 h 90112"/>
                    <a:gd name="connsiteX2" fmla="*/ 12650 w 72180"/>
                    <a:gd name="connsiteY2" fmla="*/ 79169 h 90112"/>
                    <a:gd name="connsiteX3" fmla="*/ 68752 w 72180"/>
                    <a:gd name="connsiteY3" fmla="*/ 79836 h 90112"/>
                    <a:gd name="connsiteX4" fmla="*/ 69419 w 72180"/>
                    <a:gd name="connsiteY4" fmla="*/ 74312 h 90112"/>
                    <a:gd name="connsiteX5" fmla="*/ 64656 w 72180"/>
                    <a:gd name="connsiteY5" fmla="*/ 66406 h 90112"/>
                    <a:gd name="connsiteX6" fmla="*/ 58941 w 72180"/>
                    <a:gd name="connsiteY6" fmla="*/ 64977 h 90112"/>
                    <a:gd name="connsiteX7" fmla="*/ 23222 w 72180"/>
                    <a:gd name="connsiteY7" fmla="*/ 51070 h 90112"/>
                    <a:gd name="connsiteX8" fmla="*/ 68752 w 72180"/>
                    <a:gd name="connsiteY8" fmla="*/ 51070 h 90112"/>
                    <a:gd name="connsiteX9" fmla="*/ 72181 w 72180"/>
                    <a:gd name="connsiteY9" fmla="*/ 48022 h 90112"/>
                    <a:gd name="connsiteX10" fmla="*/ 54560 w 72180"/>
                    <a:gd name="connsiteY10" fmla="*/ 4112 h 90112"/>
                    <a:gd name="connsiteX11" fmla="*/ 48083 w 72180"/>
                    <a:gd name="connsiteY11" fmla="*/ 22400 h 90112"/>
                    <a:gd name="connsiteX12" fmla="*/ 50750 w 72180"/>
                    <a:gd name="connsiteY12" fmla="*/ 33926 h 90112"/>
                    <a:gd name="connsiteX13" fmla="*/ 23413 w 72180"/>
                    <a:gd name="connsiteY13" fmla="*/ 33926 h 90112"/>
                    <a:gd name="connsiteX14" fmla="*/ 28747 w 72180"/>
                    <a:gd name="connsiteY14" fmla="*/ 20781 h 90112"/>
                    <a:gd name="connsiteX15" fmla="*/ 48083 w 72180"/>
                    <a:gd name="connsiteY15" fmla="*/ 22400 h 9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180" h="90112">
                      <a:moveTo>
                        <a:pt x="54560" y="4112"/>
                      </a:moveTo>
                      <a:cubicBezTo>
                        <a:pt x="34462" y="-5603"/>
                        <a:pt x="14269" y="2493"/>
                        <a:pt x="4458" y="22114"/>
                      </a:cubicBezTo>
                      <a:cubicBezTo>
                        <a:pt x="-3638" y="38307"/>
                        <a:pt x="-590" y="66310"/>
                        <a:pt x="12650" y="79169"/>
                      </a:cubicBezTo>
                      <a:cubicBezTo>
                        <a:pt x="28271" y="94314"/>
                        <a:pt x="52178" y="92981"/>
                        <a:pt x="68752" y="79836"/>
                      </a:cubicBezTo>
                      <a:cubicBezTo>
                        <a:pt x="70657" y="78312"/>
                        <a:pt x="70657" y="76312"/>
                        <a:pt x="69419" y="74312"/>
                      </a:cubicBezTo>
                      <a:cubicBezTo>
                        <a:pt x="67799" y="71645"/>
                        <a:pt x="66275" y="69073"/>
                        <a:pt x="64656" y="66406"/>
                      </a:cubicBezTo>
                      <a:cubicBezTo>
                        <a:pt x="63608" y="64691"/>
                        <a:pt x="60560" y="63643"/>
                        <a:pt x="58941" y="64977"/>
                      </a:cubicBezTo>
                      <a:cubicBezTo>
                        <a:pt x="42749" y="77931"/>
                        <a:pt x="24842" y="70692"/>
                        <a:pt x="23222" y="51070"/>
                      </a:cubicBezTo>
                      <a:cubicBezTo>
                        <a:pt x="38367" y="51070"/>
                        <a:pt x="53607" y="51070"/>
                        <a:pt x="68752" y="51070"/>
                      </a:cubicBezTo>
                      <a:cubicBezTo>
                        <a:pt x="70371" y="51070"/>
                        <a:pt x="72181" y="49737"/>
                        <a:pt x="72181" y="48022"/>
                      </a:cubicBezTo>
                      <a:cubicBezTo>
                        <a:pt x="72181" y="32211"/>
                        <a:pt x="71228" y="12209"/>
                        <a:pt x="54560" y="4112"/>
                      </a:cubicBezTo>
                      <a:close/>
                      <a:moveTo>
                        <a:pt x="48083" y="22400"/>
                      </a:moveTo>
                      <a:cubicBezTo>
                        <a:pt x="49988" y="25829"/>
                        <a:pt x="50559" y="29925"/>
                        <a:pt x="50750" y="33926"/>
                      </a:cubicBezTo>
                      <a:cubicBezTo>
                        <a:pt x="41606" y="33926"/>
                        <a:pt x="32557" y="33926"/>
                        <a:pt x="23413" y="33926"/>
                      </a:cubicBezTo>
                      <a:cubicBezTo>
                        <a:pt x="23984" y="29068"/>
                        <a:pt x="25318" y="24496"/>
                        <a:pt x="28747" y="20781"/>
                      </a:cubicBezTo>
                      <a:cubicBezTo>
                        <a:pt x="33700" y="15161"/>
                        <a:pt x="43987" y="16971"/>
                        <a:pt x="48083" y="22400"/>
                      </a:cubicBezTo>
                      <a:close/>
                    </a:path>
                  </a:pathLst>
                </a:custGeom>
                <a:grpFill/>
                <a:ln w="9525" cap="flat">
                  <a:noFill/>
                  <a:prstDash val="solid"/>
                  <a:miter/>
                </a:ln>
              </p:spPr>
              <p:txBody>
                <a:bodyPr rtlCol="0" anchor="ctr"/>
                <a:lstStyle/>
                <a:p>
                  <a:endParaRPr lang="en-US" sz="1050"/>
                </a:p>
              </p:txBody>
            </p:sp>
            <p:sp>
              <p:nvSpPr>
                <p:cNvPr id="36" name="Vrije vorm: vorm 35">
                  <a:extLst>
                    <a:ext uri="{FF2B5EF4-FFF2-40B4-BE49-F238E27FC236}">
                      <a16:creationId xmlns:a16="http://schemas.microsoft.com/office/drawing/2014/main" id="{B41EE77F-6314-46ED-8B1B-2D4C5D35B9B4}"/>
                    </a:ext>
                  </a:extLst>
                </p:cNvPr>
                <p:cNvSpPr/>
                <p:nvPr/>
              </p:nvSpPr>
              <p:spPr>
                <a:xfrm>
                  <a:off x="6475846" y="3879959"/>
                  <a:ext cx="47090" cy="88917"/>
                </a:xfrm>
                <a:custGeom>
                  <a:avLst/>
                  <a:gdLst>
                    <a:gd name="connsiteX0" fmla="*/ 43349 w 47090"/>
                    <a:gd name="connsiteY0" fmla="*/ 812 h 88917"/>
                    <a:gd name="connsiteX1" fmla="*/ 19250 w 47090"/>
                    <a:gd name="connsiteY1" fmla="*/ 9098 h 88917"/>
                    <a:gd name="connsiteX2" fmla="*/ 17631 w 47090"/>
                    <a:gd name="connsiteY2" fmla="*/ 4145 h 88917"/>
                    <a:gd name="connsiteX3" fmla="*/ 13154 w 47090"/>
                    <a:gd name="connsiteY3" fmla="*/ 335 h 88917"/>
                    <a:gd name="connsiteX4" fmla="*/ 867 w 47090"/>
                    <a:gd name="connsiteY4" fmla="*/ 3669 h 88917"/>
                    <a:gd name="connsiteX5" fmla="*/ 962 w 47090"/>
                    <a:gd name="connsiteY5" fmla="*/ 8527 h 88917"/>
                    <a:gd name="connsiteX6" fmla="*/ 2772 w 47090"/>
                    <a:gd name="connsiteY6" fmla="*/ 46627 h 88917"/>
                    <a:gd name="connsiteX7" fmla="*/ 2772 w 47090"/>
                    <a:gd name="connsiteY7" fmla="*/ 83012 h 88917"/>
                    <a:gd name="connsiteX8" fmla="*/ 7058 w 47090"/>
                    <a:gd name="connsiteY8" fmla="*/ 88918 h 88917"/>
                    <a:gd name="connsiteX9" fmla="*/ 19346 w 47090"/>
                    <a:gd name="connsiteY9" fmla="*/ 88918 h 88917"/>
                    <a:gd name="connsiteX10" fmla="*/ 20775 w 47090"/>
                    <a:gd name="connsiteY10" fmla="*/ 86918 h 88917"/>
                    <a:gd name="connsiteX11" fmla="*/ 20775 w 47090"/>
                    <a:gd name="connsiteY11" fmla="*/ 57866 h 88917"/>
                    <a:gd name="connsiteX12" fmla="*/ 40587 w 47090"/>
                    <a:gd name="connsiteY12" fmla="*/ 22148 h 88917"/>
                    <a:gd name="connsiteX13" fmla="*/ 41825 w 47090"/>
                    <a:gd name="connsiteY13" fmla="*/ 21195 h 88917"/>
                    <a:gd name="connsiteX14" fmla="*/ 41920 w 47090"/>
                    <a:gd name="connsiteY14" fmla="*/ 21005 h 88917"/>
                    <a:gd name="connsiteX15" fmla="*/ 46968 w 47090"/>
                    <a:gd name="connsiteY15" fmla="*/ 7574 h 88917"/>
                    <a:gd name="connsiteX16" fmla="*/ 43349 w 47090"/>
                    <a:gd name="connsiteY16" fmla="*/ 812 h 8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090" h="88917">
                      <a:moveTo>
                        <a:pt x="43349" y="812"/>
                      </a:moveTo>
                      <a:cubicBezTo>
                        <a:pt x="33919" y="-1951"/>
                        <a:pt x="25728" y="2717"/>
                        <a:pt x="19250" y="9098"/>
                      </a:cubicBezTo>
                      <a:cubicBezTo>
                        <a:pt x="18870" y="7479"/>
                        <a:pt x="18298" y="5765"/>
                        <a:pt x="17631" y="4145"/>
                      </a:cubicBezTo>
                      <a:cubicBezTo>
                        <a:pt x="16869" y="2431"/>
                        <a:pt x="15345" y="-236"/>
                        <a:pt x="13154" y="335"/>
                      </a:cubicBezTo>
                      <a:cubicBezTo>
                        <a:pt x="9059" y="1478"/>
                        <a:pt x="4963" y="2526"/>
                        <a:pt x="867" y="3669"/>
                      </a:cubicBezTo>
                      <a:cubicBezTo>
                        <a:pt x="-942" y="4145"/>
                        <a:pt x="582" y="7670"/>
                        <a:pt x="962" y="8527"/>
                      </a:cubicBezTo>
                      <a:cubicBezTo>
                        <a:pt x="5439" y="18338"/>
                        <a:pt x="2772" y="36054"/>
                        <a:pt x="2772" y="46627"/>
                      </a:cubicBezTo>
                      <a:cubicBezTo>
                        <a:pt x="2772" y="58724"/>
                        <a:pt x="2772" y="70916"/>
                        <a:pt x="2772" y="83012"/>
                      </a:cubicBezTo>
                      <a:cubicBezTo>
                        <a:pt x="2772" y="85108"/>
                        <a:pt x="4582" y="88918"/>
                        <a:pt x="7058" y="88918"/>
                      </a:cubicBezTo>
                      <a:cubicBezTo>
                        <a:pt x="11154" y="88918"/>
                        <a:pt x="15250" y="88918"/>
                        <a:pt x="19346" y="88918"/>
                      </a:cubicBezTo>
                      <a:cubicBezTo>
                        <a:pt x="20394" y="88918"/>
                        <a:pt x="20775" y="87775"/>
                        <a:pt x="20775" y="86918"/>
                      </a:cubicBezTo>
                      <a:cubicBezTo>
                        <a:pt x="20775" y="77202"/>
                        <a:pt x="20775" y="67582"/>
                        <a:pt x="20775" y="57866"/>
                      </a:cubicBezTo>
                      <a:cubicBezTo>
                        <a:pt x="20775" y="43769"/>
                        <a:pt x="17536" y="17957"/>
                        <a:pt x="40587" y="22148"/>
                      </a:cubicBezTo>
                      <a:cubicBezTo>
                        <a:pt x="41349" y="22243"/>
                        <a:pt x="41729" y="21862"/>
                        <a:pt x="41825" y="21195"/>
                      </a:cubicBezTo>
                      <a:cubicBezTo>
                        <a:pt x="41825" y="21100"/>
                        <a:pt x="41920" y="21100"/>
                        <a:pt x="41920" y="21005"/>
                      </a:cubicBezTo>
                      <a:cubicBezTo>
                        <a:pt x="43635" y="16528"/>
                        <a:pt x="45254" y="12051"/>
                        <a:pt x="46968" y="7574"/>
                      </a:cubicBezTo>
                      <a:cubicBezTo>
                        <a:pt x="47635" y="5288"/>
                        <a:pt x="45444" y="1383"/>
                        <a:pt x="43349" y="812"/>
                      </a:cubicBezTo>
                      <a:close/>
                    </a:path>
                  </a:pathLst>
                </a:custGeom>
                <a:grpFill/>
                <a:ln w="9525" cap="flat">
                  <a:noFill/>
                  <a:prstDash val="solid"/>
                  <a:miter/>
                </a:ln>
              </p:spPr>
              <p:txBody>
                <a:bodyPr rtlCol="0" anchor="ctr"/>
                <a:lstStyle/>
                <a:p>
                  <a:endParaRPr lang="en-US" sz="1050"/>
                </a:p>
              </p:txBody>
            </p:sp>
            <p:sp>
              <p:nvSpPr>
                <p:cNvPr id="37" name="Vrije vorm: vorm 36">
                  <a:extLst>
                    <a:ext uri="{FF2B5EF4-FFF2-40B4-BE49-F238E27FC236}">
                      <a16:creationId xmlns:a16="http://schemas.microsoft.com/office/drawing/2014/main" id="{F71BB758-7DC5-443D-96BE-CBAC8D5A6558}"/>
                    </a:ext>
                  </a:extLst>
                </p:cNvPr>
                <p:cNvSpPr/>
                <p:nvPr/>
              </p:nvSpPr>
              <p:spPr>
                <a:xfrm>
                  <a:off x="6534377" y="3879604"/>
                  <a:ext cx="75016" cy="121680"/>
                </a:xfrm>
                <a:custGeom>
                  <a:avLst/>
                  <a:gdLst>
                    <a:gd name="connsiteX0" fmla="*/ 71019 w 75016"/>
                    <a:gd name="connsiteY0" fmla="*/ 2500 h 121680"/>
                    <a:gd name="connsiteX1" fmla="*/ 56922 w 75016"/>
                    <a:gd name="connsiteY1" fmla="*/ 2500 h 121680"/>
                    <a:gd name="connsiteX2" fmla="*/ 53970 w 75016"/>
                    <a:gd name="connsiteY2" fmla="*/ 4310 h 121680"/>
                    <a:gd name="connsiteX3" fmla="*/ 44064 w 75016"/>
                    <a:gd name="connsiteY3" fmla="*/ 37266 h 121680"/>
                    <a:gd name="connsiteX4" fmla="*/ 39015 w 75016"/>
                    <a:gd name="connsiteY4" fmla="*/ 54221 h 121680"/>
                    <a:gd name="connsiteX5" fmla="*/ 37491 w 75016"/>
                    <a:gd name="connsiteY5" fmla="*/ 59459 h 121680"/>
                    <a:gd name="connsiteX6" fmla="*/ 37110 w 75016"/>
                    <a:gd name="connsiteY6" fmla="*/ 60888 h 121680"/>
                    <a:gd name="connsiteX7" fmla="*/ 19299 w 75016"/>
                    <a:gd name="connsiteY7" fmla="*/ 3452 h 121680"/>
                    <a:gd name="connsiteX8" fmla="*/ 14536 w 75016"/>
                    <a:gd name="connsiteY8" fmla="*/ 119 h 121680"/>
                    <a:gd name="connsiteX9" fmla="*/ 2344 w 75016"/>
                    <a:gd name="connsiteY9" fmla="*/ 4214 h 121680"/>
                    <a:gd name="connsiteX10" fmla="*/ 249 w 75016"/>
                    <a:gd name="connsiteY10" fmla="*/ 8977 h 121680"/>
                    <a:gd name="connsiteX11" fmla="*/ 24823 w 75016"/>
                    <a:gd name="connsiteY11" fmla="*/ 85463 h 121680"/>
                    <a:gd name="connsiteX12" fmla="*/ 27966 w 75016"/>
                    <a:gd name="connsiteY12" fmla="*/ 89654 h 121680"/>
                    <a:gd name="connsiteX13" fmla="*/ 13965 w 75016"/>
                    <a:gd name="connsiteY13" fmla="*/ 105084 h 121680"/>
                    <a:gd name="connsiteX14" fmla="*/ 11869 w 75016"/>
                    <a:gd name="connsiteY14" fmla="*/ 109847 h 121680"/>
                    <a:gd name="connsiteX15" fmla="*/ 15489 w 75016"/>
                    <a:gd name="connsiteY15" fmla="*/ 118229 h 121680"/>
                    <a:gd name="connsiteX16" fmla="*/ 20251 w 75016"/>
                    <a:gd name="connsiteY16" fmla="*/ 121562 h 121680"/>
                    <a:gd name="connsiteX17" fmla="*/ 47778 w 75016"/>
                    <a:gd name="connsiteY17" fmla="*/ 90320 h 121680"/>
                    <a:gd name="connsiteX18" fmla="*/ 74829 w 75016"/>
                    <a:gd name="connsiteY18" fmla="*/ 8786 h 121680"/>
                    <a:gd name="connsiteX19" fmla="*/ 71019 w 75016"/>
                    <a:gd name="connsiteY19" fmla="*/ 2500 h 12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016" h="121680">
                      <a:moveTo>
                        <a:pt x="71019" y="2500"/>
                      </a:moveTo>
                      <a:cubicBezTo>
                        <a:pt x="66352" y="2500"/>
                        <a:pt x="61685" y="2500"/>
                        <a:pt x="56922" y="2500"/>
                      </a:cubicBezTo>
                      <a:cubicBezTo>
                        <a:pt x="55684" y="2500"/>
                        <a:pt x="54351" y="2976"/>
                        <a:pt x="53970" y="4310"/>
                      </a:cubicBezTo>
                      <a:cubicBezTo>
                        <a:pt x="50636" y="15263"/>
                        <a:pt x="47397" y="26217"/>
                        <a:pt x="44064" y="37266"/>
                      </a:cubicBezTo>
                      <a:cubicBezTo>
                        <a:pt x="42349" y="42886"/>
                        <a:pt x="40635" y="48601"/>
                        <a:pt x="39015" y="54221"/>
                      </a:cubicBezTo>
                      <a:cubicBezTo>
                        <a:pt x="38539" y="55935"/>
                        <a:pt x="37968" y="57745"/>
                        <a:pt x="37491" y="59459"/>
                      </a:cubicBezTo>
                      <a:cubicBezTo>
                        <a:pt x="37396" y="59936"/>
                        <a:pt x="37205" y="60412"/>
                        <a:pt x="37110" y="60888"/>
                      </a:cubicBezTo>
                      <a:cubicBezTo>
                        <a:pt x="32157" y="41552"/>
                        <a:pt x="25299" y="22502"/>
                        <a:pt x="19299" y="3452"/>
                      </a:cubicBezTo>
                      <a:cubicBezTo>
                        <a:pt x="18727" y="1738"/>
                        <a:pt x="16536" y="-548"/>
                        <a:pt x="14536" y="119"/>
                      </a:cubicBezTo>
                      <a:cubicBezTo>
                        <a:pt x="10440" y="1452"/>
                        <a:pt x="6440" y="2881"/>
                        <a:pt x="2344" y="4214"/>
                      </a:cubicBezTo>
                      <a:cubicBezTo>
                        <a:pt x="249" y="4881"/>
                        <a:pt x="-418" y="6977"/>
                        <a:pt x="249" y="8977"/>
                      </a:cubicBezTo>
                      <a:cubicBezTo>
                        <a:pt x="8916" y="34123"/>
                        <a:pt x="19203" y="59459"/>
                        <a:pt x="24823" y="85463"/>
                      </a:cubicBezTo>
                      <a:cubicBezTo>
                        <a:pt x="25204" y="87272"/>
                        <a:pt x="26347" y="89082"/>
                        <a:pt x="27966" y="89654"/>
                      </a:cubicBezTo>
                      <a:cubicBezTo>
                        <a:pt x="25490" y="96607"/>
                        <a:pt x="22061" y="102227"/>
                        <a:pt x="13965" y="105084"/>
                      </a:cubicBezTo>
                      <a:cubicBezTo>
                        <a:pt x="12059" y="105751"/>
                        <a:pt x="11012" y="107846"/>
                        <a:pt x="11869" y="109847"/>
                      </a:cubicBezTo>
                      <a:cubicBezTo>
                        <a:pt x="13107" y="112609"/>
                        <a:pt x="14250" y="115466"/>
                        <a:pt x="15489" y="118229"/>
                      </a:cubicBezTo>
                      <a:cubicBezTo>
                        <a:pt x="16251" y="119943"/>
                        <a:pt x="18060" y="122229"/>
                        <a:pt x="20251" y="121562"/>
                      </a:cubicBezTo>
                      <a:cubicBezTo>
                        <a:pt x="35872" y="116800"/>
                        <a:pt x="42635" y="104989"/>
                        <a:pt x="47778" y="90320"/>
                      </a:cubicBezTo>
                      <a:cubicBezTo>
                        <a:pt x="56827" y="63174"/>
                        <a:pt x="65780" y="35933"/>
                        <a:pt x="74829" y="8786"/>
                      </a:cubicBezTo>
                      <a:cubicBezTo>
                        <a:pt x="75591" y="6405"/>
                        <a:pt x="73972" y="2500"/>
                        <a:pt x="71019" y="2500"/>
                      </a:cubicBezTo>
                      <a:close/>
                    </a:path>
                  </a:pathLst>
                </a:custGeom>
                <a:grpFill/>
                <a:ln w="9525" cap="flat">
                  <a:noFill/>
                  <a:prstDash val="solid"/>
                  <a:miter/>
                </a:ln>
              </p:spPr>
              <p:txBody>
                <a:bodyPr rtlCol="0" anchor="ctr"/>
                <a:lstStyle/>
                <a:p>
                  <a:endParaRPr lang="en-US" sz="1050"/>
                </a:p>
              </p:txBody>
            </p:sp>
            <p:sp>
              <p:nvSpPr>
                <p:cNvPr id="40" name="Vrije vorm: vorm 39">
                  <a:extLst>
                    <a:ext uri="{FF2B5EF4-FFF2-40B4-BE49-F238E27FC236}">
                      <a16:creationId xmlns:a16="http://schemas.microsoft.com/office/drawing/2014/main" id="{9177A551-C1A8-4EFE-BC2C-3887E583527C}"/>
                    </a:ext>
                  </a:extLst>
                </p:cNvPr>
                <p:cNvSpPr/>
                <p:nvPr/>
              </p:nvSpPr>
              <p:spPr>
                <a:xfrm>
                  <a:off x="6665689" y="3859710"/>
                  <a:ext cx="47474" cy="111383"/>
                </a:xfrm>
                <a:custGeom>
                  <a:avLst/>
                  <a:gdLst>
                    <a:gd name="connsiteX0" fmla="*/ 27242 w 47474"/>
                    <a:gd name="connsiteY0" fmla="*/ 61541 h 111383"/>
                    <a:gd name="connsiteX1" fmla="*/ 27242 w 47474"/>
                    <a:gd name="connsiteY1" fmla="*/ 39920 h 111383"/>
                    <a:gd name="connsiteX2" fmla="*/ 43625 w 47474"/>
                    <a:gd name="connsiteY2" fmla="*/ 39253 h 111383"/>
                    <a:gd name="connsiteX3" fmla="*/ 42863 w 47474"/>
                    <a:gd name="connsiteY3" fmla="*/ 38014 h 111383"/>
                    <a:gd name="connsiteX4" fmla="*/ 43625 w 47474"/>
                    <a:gd name="connsiteY4" fmla="*/ 39253 h 111383"/>
                    <a:gd name="connsiteX5" fmla="*/ 47434 w 47474"/>
                    <a:gd name="connsiteY5" fmla="*/ 29918 h 111383"/>
                    <a:gd name="connsiteX6" fmla="*/ 42672 w 47474"/>
                    <a:gd name="connsiteY6" fmla="*/ 22774 h 111383"/>
                    <a:gd name="connsiteX7" fmla="*/ 28004 w 47474"/>
                    <a:gd name="connsiteY7" fmla="*/ 22774 h 111383"/>
                    <a:gd name="connsiteX8" fmla="*/ 29242 w 47474"/>
                    <a:gd name="connsiteY8" fmla="*/ 6963 h 111383"/>
                    <a:gd name="connsiteX9" fmla="*/ 24479 w 47474"/>
                    <a:gd name="connsiteY9" fmla="*/ 10 h 111383"/>
                    <a:gd name="connsiteX10" fmla="*/ 11525 w 47474"/>
                    <a:gd name="connsiteY10" fmla="*/ 2867 h 111383"/>
                    <a:gd name="connsiteX11" fmla="*/ 11525 w 47474"/>
                    <a:gd name="connsiteY11" fmla="*/ 3058 h 111383"/>
                    <a:gd name="connsiteX12" fmla="*/ 10287 w 47474"/>
                    <a:gd name="connsiteY12" fmla="*/ 19441 h 111383"/>
                    <a:gd name="connsiteX13" fmla="*/ 0 w 47474"/>
                    <a:gd name="connsiteY13" fmla="*/ 22679 h 111383"/>
                    <a:gd name="connsiteX14" fmla="*/ 0 w 47474"/>
                    <a:gd name="connsiteY14" fmla="*/ 22870 h 111383"/>
                    <a:gd name="connsiteX15" fmla="*/ 0 w 47474"/>
                    <a:gd name="connsiteY15" fmla="*/ 32204 h 111383"/>
                    <a:gd name="connsiteX16" fmla="*/ 4763 w 47474"/>
                    <a:gd name="connsiteY16" fmla="*/ 39157 h 111383"/>
                    <a:gd name="connsiteX17" fmla="*/ 10001 w 47474"/>
                    <a:gd name="connsiteY17" fmla="*/ 39157 h 111383"/>
                    <a:gd name="connsiteX18" fmla="*/ 13430 w 47474"/>
                    <a:gd name="connsiteY18" fmla="*/ 96688 h 111383"/>
                    <a:gd name="connsiteX19" fmla="*/ 15716 w 47474"/>
                    <a:gd name="connsiteY19" fmla="*/ 101641 h 111383"/>
                    <a:gd name="connsiteX20" fmla="*/ 46768 w 47474"/>
                    <a:gd name="connsiteY20" fmla="*/ 107928 h 111383"/>
                    <a:gd name="connsiteX21" fmla="*/ 46768 w 47474"/>
                    <a:gd name="connsiteY21" fmla="*/ 107737 h 111383"/>
                    <a:gd name="connsiteX22" fmla="*/ 45053 w 47474"/>
                    <a:gd name="connsiteY22" fmla="*/ 99832 h 111383"/>
                    <a:gd name="connsiteX23" fmla="*/ 40291 w 47474"/>
                    <a:gd name="connsiteY23" fmla="*/ 92878 h 111383"/>
                    <a:gd name="connsiteX24" fmla="*/ 27432 w 47474"/>
                    <a:gd name="connsiteY24" fmla="*/ 93640 h 111383"/>
                    <a:gd name="connsiteX25" fmla="*/ 27242 w 47474"/>
                    <a:gd name="connsiteY25" fmla="*/ 86497 h 111383"/>
                    <a:gd name="connsiteX26" fmla="*/ 27242 w 47474"/>
                    <a:gd name="connsiteY26" fmla="*/ 61541 h 11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474" h="111383">
                      <a:moveTo>
                        <a:pt x="27242" y="61541"/>
                      </a:moveTo>
                      <a:cubicBezTo>
                        <a:pt x="27242" y="54302"/>
                        <a:pt x="27242" y="47158"/>
                        <a:pt x="27242" y="39920"/>
                      </a:cubicBezTo>
                      <a:cubicBezTo>
                        <a:pt x="27242" y="38586"/>
                        <a:pt x="41434" y="39253"/>
                        <a:pt x="43625" y="39253"/>
                      </a:cubicBezTo>
                      <a:cubicBezTo>
                        <a:pt x="43434" y="39253"/>
                        <a:pt x="43148" y="38776"/>
                        <a:pt x="42863" y="38014"/>
                      </a:cubicBezTo>
                      <a:cubicBezTo>
                        <a:pt x="43434" y="38586"/>
                        <a:pt x="43720" y="39062"/>
                        <a:pt x="43625" y="39253"/>
                      </a:cubicBezTo>
                      <a:cubicBezTo>
                        <a:pt x="44863" y="36109"/>
                        <a:pt x="46196" y="33061"/>
                        <a:pt x="47434" y="29918"/>
                      </a:cubicBezTo>
                      <a:cubicBezTo>
                        <a:pt x="47911" y="28775"/>
                        <a:pt x="44005" y="22774"/>
                        <a:pt x="42672" y="22774"/>
                      </a:cubicBezTo>
                      <a:cubicBezTo>
                        <a:pt x="37814" y="22774"/>
                        <a:pt x="32861" y="22774"/>
                        <a:pt x="28004" y="22774"/>
                      </a:cubicBezTo>
                      <a:cubicBezTo>
                        <a:pt x="28289" y="17536"/>
                        <a:pt x="28670" y="12202"/>
                        <a:pt x="29242" y="6963"/>
                      </a:cubicBezTo>
                      <a:cubicBezTo>
                        <a:pt x="29337" y="5820"/>
                        <a:pt x="25622" y="-276"/>
                        <a:pt x="24479" y="10"/>
                      </a:cubicBezTo>
                      <a:cubicBezTo>
                        <a:pt x="20193" y="962"/>
                        <a:pt x="15812" y="1915"/>
                        <a:pt x="11525" y="2867"/>
                      </a:cubicBezTo>
                      <a:cubicBezTo>
                        <a:pt x="11525" y="2962"/>
                        <a:pt x="11525" y="2962"/>
                        <a:pt x="11525" y="3058"/>
                      </a:cubicBezTo>
                      <a:cubicBezTo>
                        <a:pt x="10954" y="8487"/>
                        <a:pt x="10573" y="14011"/>
                        <a:pt x="10287" y="19441"/>
                      </a:cubicBezTo>
                      <a:cubicBezTo>
                        <a:pt x="10001" y="24679"/>
                        <a:pt x="4000" y="22679"/>
                        <a:pt x="0" y="22679"/>
                      </a:cubicBezTo>
                      <a:cubicBezTo>
                        <a:pt x="0" y="22774"/>
                        <a:pt x="0" y="22774"/>
                        <a:pt x="0" y="22870"/>
                      </a:cubicBezTo>
                      <a:cubicBezTo>
                        <a:pt x="0" y="26013"/>
                        <a:pt x="0" y="29061"/>
                        <a:pt x="0" y="32204"/>
                      </a:cubicBezTo>
                      <a:cubicBezTo>
                        <a:pt x="0" y="33538"/>
                        <a:pt x="3334" y="39157"/>
                        <a:pt x="4763" y="39157"/>
                      </a:cubicBezTo>
                      <a:cubicBezTo>
                        <a:pt x="6572" y="39157"/>
                        <a:pt x="8287" y="39157"/>
                        <a:pt x="10001" y="39157"/>
                      </a:cubicBezTo>
                      <a:cubicBezTo>
                        <a:pt x="9334" y="55255"/>
                        <a:pt x="7334" y="80686"/>
                        <a:pt x="13430" y="96688"/>
                      </a:cubicBezTo>
                      <a:cubicBezTo>
                        <a:pt x="13907" y="98593"/>
                        <a:pt x="14669" y="100213"/>
                        <a:pt x="15716" y="101641"/>
                      </a:cubicBezTo>
                      <a:cubicBezTo>
                        <a:pt x="21050" y="110785"/>
                        <a:pt x="30480" y="114786"/>
                        <a:pt x="46768" y="107928"/>
                      </a:cubicBezTo>
                      <a:cubicBezTo>
                        <a:pt x="46768" y="107833"/>
                        <a:pt x="46768" y="107833"/>
                        <a:pt x="46768" y="107737"/>
                      </a:cubicBezTo>
                      <a:cubicBezTo>
                        <a:pt x="46196" y="105070"/>
                        <a:pt x="45625" y="102499"/>
                        <a:pt x="45053" y="99832"/>
                      </a:cubicBezTo>
                      <a:cubicBezTo>
                        <a:pt x="44863" y="98784"/>
                        <a:pt x="41529" y="92402"/>
                        <a:pt x="40291" y="92878"/>
                      </a:cubicBezTo>
                      <a:cubicBezTo>
                        <a:pt x="37052" y="94021"/>
                        <a:pt x="27908" y="95450"/>
                        <a:pt x="27432" y="93640"/>
                      </a:cubicBezTo>
                      <a:cubicBezTo>
                        <a:pt x="26956" y="91640"/>
                        <a:pt x="27242" y="88687"/>
                        <a:pt x="27242" y="86497"/>
                      </a:cubicBezTo>
                      <a:cubicBezTo>
                        <a:pt x="27242" y="78305"/>
                        <a:pt x="27242" y="69923"/>
                        <a:pt x="27242" y="61541"/>
                      </a:cubicBezTo>
                      <a:close/>
                    </a:path>
                  </a:pathLst>
                </a:custGeom>
                <a:grpFill/>
                <a:ln w="9525" cap="flat">
                  <a:noFill/>
                  <a:prstDash val="solid"/>
                  <a:miter/>
                </a:ln>
              </p:spPr>
              <p:txBody>
                <a:bodyPr rtlCol="0" anchor="ctr"/>
                <a:lstStyle/>
                <a:p>
                  <a:endParaRPr lang="en-US" sz="1050"/>
                </a:p>
              </p:txBody>
            </p:sp>
            <p:sp>
              <p:nvSpPr>
                <p:cNvPr id="41" name="Vrije vorm: vorm 40">
                  <a:extLst>
                    <a:ext uri="{FF2B5EF4-FFF2-40B4-BE49-F238E27FC236}">
                      <a16:creationId xmlns:a16="http://schemas.microsoft.com/office/drawing/2014/main" id="{1FA45967-127F-4C2F-9CF4-245A3CC1620F}"/>
                    </a:ext>
                  </a:extLst>
                </p:cNvPr>
                <p:cNvSpPr/>
                <p:nvPr/>
              </p:nvSpPr>
              <p:spPr>
                <a:xfrm>
                  <a:off x="6727552" y="3881797"/>
                  <a:ext cx="72665" cy="88603"/>
                </a:xfrm>
                <a:custGeom>
                  <a:avLst/>
                  <a:gdLst>
                    <a:gd name="connsiteX0" fmla="*/ 70535 w 72665"/>
                    <a:gd name="connsiteY0" fmla="*/ 76411 h 88603"/>
                    <a:gd name="connsiteX1" fmla="*/ 66630 w 72665"/>
                    <a:gd name="connsiteY1" fmla="*/ 45074 h 88603"/>
                    <a:gd name="connsiteX2" fmla="*/ 65011 w 72665"/>
                    <a:gd name="connsiteY2" fmla="*/ 15737 h 88603"/>
                    <a:gd name="connsiteX3" fmla="*/ 3098 w 72665"/>
                    <a:gd name="connsiteY3" fmla="*/ 10498 h 88603"/>
                    <a:gd name="connsiteX4" fmla="*/ 2908 w 72665"/>
                    <a:gd name="connsiteY4" fmla="*/ 11736 h 88603"/>
                    <a:gd name="connsiteX5" fmla="*/ 9099 w 72665"/>
                    <a:gd name="connsiteY5" fmla="*/ 20595 h 88603"/>
                    <a:gd name="connsiteX6" fmla="*/ 16147 w 72665"/>
                    <a:gd name="connsiteY6" fmla="*/ 24024 h 88603"/>
                    <a:gd name="connsiteX7" fmla="*/ 47009 w 72665"/>
                    <a:gd name="connsiteY7" fmla="*/ 22785 h 88603"/>
                    <a:gd name="connsiteX8" fmla="*/ 46532 w 72665"/>
                    <a:gd name="connsiteY8" fmla="*/ 31929 h 88603"/>
                    <a:gd name="connsiteX9" fmla="*/ 28911 w 72665"/>
                    <a:gd name="connsiteY9" fmla="*/ 32977 h 88603"/>
                    <a:gd name="connsiteX10" fmla="*/ 50 w 72665"/>
                    <a:gd name="connsiteY10" fmla="*/ 57742 h 88603"/>
                    <a:gd name="connsiteX11" fmla="*/ 14052 w 72665"/>
                    <a:gd name="connsiteY11" fmla="*/ 83460 h 88603"/>
                    <a:gd name="connsiteX12" fmla="*/ 51676 w 72665"/>
                    <a:gd name="connsiteY12" fmla="*/ 79745 h 88603"/>
                    <a:gd name="connsiteX13" fmla="*/ 60724 w 72665"/>
                    <a:gd name="connsiteY13" fmla="*/ 86889 h 88603"/>
                    <a:gd name="connsiteX14" fmla="*/ 64725 w 72665"/>
                    <a:gd name="connsiteY14" fmla="*/ 88603 h 88603"/>
                    <a:gd name="connsiteX15" fmla="*/ 65392 w 72665"/>
                    <a:gd name="connsiteY15" fmla="*/ 88603 h 88603"/>
                    <a:gd name="connsiteX16" fmla="*/ 66249 w 72665"/>
                    <a:gd name="connsiteY16" fmla="*/ 88127 h 88603"/>
                    <a:gd name="connsiteX17" fmla="*/ 72535 w 72665"/>
                    <a:gd name="connsiteY17" fmla="*/ 79269 h 88603"/>
                    <a:gd name="connsiteX18" fmla="*/ 70535 w 72665"/>
                    <a:gd name="connsiteY18" fmla="*/ 76411 h 88603"/>
                    <a:gd name="connsiteX19" fmla="*/ 23291 w 72665"/>
                    <a:gd name="connsiteY19" fmla="*/ 54408 h 88603"/>
                    <a:gd name="connsiteX20" fmla="*/ 46723 w 72665"/>
                    <a:gd name="connsiteY20" fmla="*/ 45264 h 88603"/>
                    <a:gd name="connsiteX21" fmla="*/ 46437 w 72665"/>
                    <a:gd name="connsiteY21" fmla="*/ 56694 h 88603"/>
                    <a:gd name="connsiteX22" fmla="*/ 45484 w 72665"/>
                    <a:gd name="connsiteY22" fmla="*/ 63267 h 88603"/>
                    <a:gd name="connsiteX23" fmla="*/ 33007 w 72665"/>
                    <a:gd name="connsiteY23" fmla="*/ 72887 h 88603"/>
                    <a:gd name="connsiteX24" fmla="*/ 23291 w 72665"/>
                    <a:gd name="connsiteY24" fmla="*/ 54408 h 88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665" h="88603">
                      <a:moveTo>
                        <a:pt x="70535" y="76411"/>
                      </a:moveTo>
                      <a:cubicBezTo>
                        <a:pt x="63010" y="71649"/>
                        <a:pt x="66439" y="52980"/>
                        <a:pt x="66630" y="45074"/>
                      </a:cubicBezTo>
                      <a:cubicBezTo>
                        <a:pt x="66821" y="36216"/>
                        <a:pt x="69106" y="23643"/>
                        <a:pt x="65011" y="15737"/>
                      </a:cubicBezTo>
                      <a:cubicBezTo>
                        <a:pt x="52723" y="-7885"/>
                        <a:pt x="21577" y="-837"/>
                        <a:pt x="3098" y="10498"/>
                      </a:cubicBezTo>
                      <a:cubicBezTo>
                        <a:pt x="2622" y="10784"/>
                        <a:pt x="2527" y="11260"/>
                        <a:pt x="2908" y="11736"/>
                      </a:cubicBezTo>
                      <a:cubicBezTo>
                        <a:pt x="5003" y="14689"/>
                        <a:pt x="7003" y="17642"/>
                        <a:pt x="9099" y="20595"/>
                      </a:cubicBezTo>
                      <a:cubicBezTo>
                        <a:pt x="10051" y="21928"/>
                        <a:pt x="14338" y="25452"/>
                        <a:pt x="16147" y="24024"/>
                      </a:cubicBezTo>
                      <a:cubicBezTo>
                        <a:pt x="22910" y="18690"/>
                        <a:pt x="45389" y="7355"/>
                        <a:pt x="47009" y="22785"/>
                      </a:cubicBezTo>
                      <a:cubicBezTo>
                        <a:pt x="47009" y="22595"/>
                        <a:pt x="47675" y="31929"/>
                        <a:pt x="46532" y="31929"/>
                      </a:cubicBezTo>
                      <a:cubicBezTo>
                        <a:pt x="40627" y="31644"/>
                        <a:pt x="34721" y="32120"/>
                        <a:pt x="28911" y="32977"/>
                      </a:cubicBezTo>
                      <a:cubicBezTo>
                        <a:pt x="15862" y="34787"/>
                        <a:pt x="907" y="42978"/>
                        <a:pt x="50" y="57742"/>
                      </a:cubicBezTo>
                      <a:cubicBezTo>
                        <a:pt x="-521" y="68696"/>
                        <a:pt x="3765" y="78602"/>
                        <a:pt x="14052" y="83460"/>
                      </a:cubicBezTo>
                      <a:cubicBezTo>
                        <a:pt x="27577" y="89937"/>
                        <a:pt x="40436" y="88127"/>
                        <a:pt x="51676" y="79745"/>
                      </a:cubicBezTo>
                      <a:cubicBezTo>
                        <a:pt x="54057" y="82793"/>
                        <a:pt x="57010" y="84888"/>
                        <a:pt x="60724" y="86889"/>
                      </a:cubicBezTo>
                      <a:cubicBezTo>
                        <a:pt x="61963" y="87746"/>
                        <a:pt x="63582" y="88508"/>
                        <a:pt x="64725" y="88603"/>
                      </a:cubicBezTo>
                      <a:cubicBezTo>
                        <a:pt x="65011" y="88603"/>
                        <a:pt x="65201" y="88603"/>
                        <a:pt x="65392" y="88603"/>
                      </a:cubicBezTo>
                      <a:cubicBezTo>
                        <a:pt x="65773" y="88508"/>
                        <a:pt x="66059" y="88413"/>
                        <a:pt x="66249" y="88127"/>
                      </a:cubicBezTo>
                      <a:cubicBezTo>
                        <a:pt x="68344" y="85174"/>
                        <a:pt x="70440" y="82221"/>
                        <a:pt x="72535" y="79269"/>
                      </a:cubicBezTo>
                      <a:cubicBezTo>
                        <a:pt x="73202" y="78316"/>
                        <a:pt x="71107" y="76792"/>
                        <a:pt x="70535" y="76411"/>
                      </a:cubicBezTo>
                      <a:close/>
                      <a:moveTo>
                        <a:pt x="23291" y="54408"/>
                      </a:moveTo>
                      <a:cubicBezTo>
                        <a:pt x="27292" y="46122"/>
                        <a:pt x="38722" y="45455"/>
                        <a:pt x="46723" y="45264"/>
                      </a:cubicBezTo>
                      <a:cubicBezTo>
                        <a:pt x="46627" y="49074"/>
                        <a:pt x="46532" y="52884"/>
                        <a:pt x="46437" y="56694"/>
                      </a:cubicBezTo>
                      <a:cubicBezTo>
                        <a:pt x="46342" y="59171"/>
                        <a:pt x="46627" y="61076"/>
                        <a:pt x="45484" y="63267"/>
                      </a:cubicBezTo>
                      <a:cubicBezTo>
                        <a:pt x="42817" y="68124"/>
                        <a:pt x="38150" y="71172"/>
                        <a:pt x="33007" y="72887"/>
                      </a:cubicBezTo>
                      <a:cubicBezTo>
                        <a:pt x="20624" y="76887"/>
                        <a:pt x="19291" y="62600"/>
                        <a:pt x="23291" y="54408"/>
                      </a:cubicBezTo>
                      <a:close/>
                    </a:path>
                  </a:pathLst>
                </a:custGeom>
                <a:grpFill/>
                <a:ln w="9525" cap="flat">
                  <a:noFill/>
                  <a:prstDash val="solid"/>
                  <a:miter/>
                </a:ln>
              </p:spPr>
              <p:txBody>
                <a:bodyPr rtlCol="0" anchor="ctr"/>
                <a:lstStyle/>
                <a:p>
                  <a:endParaRPr lang="en-US" sz="1050"/>
                </a:p>
              </p:txBody>
            </p:sp>
            <p:sp>
              <p:nvSpPr>
                <p:cNvPr id="42" name="Vrije vorm: vorm 41">
                  <a:extLst>
                    <a:ext uri="{FF2B5EF4-FFF2-40B4-BE49-F238E27FC236}">
                      <a16:creationId xmlns:a16="http://schemas.microsoft.com/office/drawing/2014/main" id="{403E6129-C39F-43C3-BF86-621033C7A3F2}"/>
                    </a:ext>
                  </a:extLst>
                </p:cNvPr>
                <p:cNvSpPr/>
                <p:nvPr/>
              </p:nvSpPr>
              <p:spPr>
                <a:xfrm>
                  <a:off x="6815256" y="3846453"/>
                  <a:ext cx="74330" cy="122994"/>
                </a:xfrm>
                <a:custGeom>
                  <a:avLst/>
                  <a:gdLst>
                    <a:gd name="connsiteX0" fmla="*/ 21788 w 74330"/>
                    <a:gd name="connsiteY0" fmla="*/ 40604 h 122994"/>
                    <a:gd name="connsiteX1" fmla="*/ 19502 w 74330"/>
                    <a:gd name="connsiteY1" fmla="*/ 5171 h 122994"/>
                    <a:gd name="connsiteX2" fmla="*/ 12929 w 74330"/>
                    <a:gd name="connsiteY2" fmla="*/ 27 h 122994"/>
                    <a:gd name="connsiteX3" fmla="*/ 642 w 74330"/>
                    <a:gd name="connsiteY3" fmla="*/ 2408 h 122994"/>
                    <a:gd name="connsiteX4" fmla="*/ 261 w 74330"/>
                    <a:gd name="connsiteY4" fmla="*/ 2885 h 122994"/>
                    <a:gd name="connsiteX5" fmla="*/ 2357 w 74330"/>
                    <a:gd name="connsiteY5" fmla="*/ 56225 h 122994"/>
                    <a:gd name="connsiteX6" fmla="*/ 71 w 74330"/>
                    <a:gd name="connsiteY6" fmla="*/ 115661 h 122994"/>
                    <a:gd name="connsiteX7" fmla="*/ 6548 w 74330"/>
                    <a:gd name="connsiteY7" fmla="*/ 121090 h 122994"/>
                    <a:gd name="connsiteX8" fmla="*/ 18835 w 74330"/>
                    <a:gd name="connsiteY8" fmla="*/ 121090 h 122994"/>
                    <a:gd name="connsiteX9" fmla="*/ 19121 w 74330"/>
                    <a:gd name="connsiteY9" fmla="*/ 120899 h 122994"/>
                    <a:gd name="connsiteX10" fmla="*/ 21121 w 74330"/>
                    <a:gd name="connsiteY10" fmla="*/ 114327 h 122994"/>
                    <a:gd name="connsiteX11" fmla="*/ 42743 w 74330"/>
                    <a:gd name="connsiteY11" fmla="*/ 122995 h 122994"/>
                    <a:gd name="connsiteX12" fmla="*/ 69508 w 74330"/>
                    <a:gd name="connsiteY12" fmla="*/ 56225 h 122994"/>
                    <a:gd name="connsiteX13" fmla="*/ 21788 w 74330"/>
                    <a:gd name="connsiteY13" fmla="*/ 40604 h 122994"/>
                    <a:gd name="connsiteX14" fmla="*/ 21407 w 74330"/>
                    <a:gd name="connsiteY14" fmla="*/ 94991 h 122994"/>
                    <a:gd name="connsiteX15" fmla="*/ 21407 w 74330"/>
                    <a:gd name="connsiteY15" fmla="*/ 68988 h 122994"/>
                    <a:gd name="connsiteX16" fmla="*/ 21407 w 74330"/>
                    <a:gd name="connsiteY16" fmla="*/ 61940 h 122994"/>
                    <a:gd name="connsiteX17" fmla="*/ 28455 w 74330"/>
                    <a:gd name="connsiteY17" fmla="*/ 55558 h 122994"/>
                    <a:gd name="connsiteX18" fmla="*/ 49696 w 74330"/>
                    <a:gd name="connsiteY18" fmla="*/ 54891 h 122994"/>
                    <a:gd name="connsiteX19" fmla="*/ 50077 w 74330"/>
                    <a:gd name="connsiteY19" fmla="*/ 96420 h 122994"/>
                    <a:gd name="connsiteX20" fmla="*/ 34361 w 74330"/>
                    <a:gd name="connsiteY20" fmla="*/ 106612 h 122994"/>
                    <a:gd name="connsiteX21" fmla="*/ 26169 w 74330"/>
                    <a:gd name="connsiteY21" fmla="*/ 106517 h 122994"/>
                    <a:gd name="connsiteX22" fmla="*/ 22264 w 74330"/>
                    <a:gd name="connsiteY22" fmla="*/ 104040 h 122994"/>
                    <a:gd name="connsiteX23" fmla="*/ 21407 w 74330"/>
                    <a:gd name="connsiteY23" fmla="*/ 94991 h 12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330" h="122994">
                      <a:moveTo>
                        <a:pt x="21788" y="40604"/>
                      </a:moveTo>
                      <a:cubicBezTo>
                        <a:pt x="22359" y="28697"/>
                        <a:pt x="22550" y="15934"/>
                        <a:pt x="19502" y="5171"/>
                      </a:cubicBezTo>
                      <a:cubicBezTo>
                        <a:pt x="19025" y="3361"/>
                        <a:pt x="15025" y="-354"/>
                        <a:pt x="12929" y="27"/>
                      </a:cubicBezTo>
                      <a:cubicBezTo>
                        <a:pt x="8834" y="789"/>
                        <a:pt x="4738" y="1646"/>
                        <a:pt x="642" y="2408"/>
                      </a:cubicBezTo>
                      <a:cubicBezTo>
                        <a:pt x="356" y="2408"/>
                        <a:pt x="261" y="2599"/>
                        <a:pt x="261" y="2885"/>
                      </a:cubicBezTo>
                      <a:cubicBezTo>
                        <a:pt x="5309" y="18887"/>
                        <a:pt x="2357" y="39842"/>
                        <a:pt x="2357" y="56225"/>
                      </a:cubicBezTo>
                      <a:cubicBezTo>
                        <a:pt x="2357" y="73560"/>
                        <a:pt x="6357" y="99182"/>
                        <a:pt x="71" y="115661"/>
                      </a:cubicBezTo>
                      <a:cubicBezTo>
                        <a:pt x="-691" y="117661"/>
                        <a:pt x="4928" y="121090"/>
                        <a:pt x="6548" y="121090"/>
                      </a:cubicBezTo>
                      <a:cubicBezTo>
                        <a:pt x="10643" y="121090"/>
                        <a:pt x="14739" y="121090"/>
                        <a:pt x="18835" y="121090"/>
                      </a:cubicBezTo>
                      <a:cubicBezTo>
                        <a:pt x="18930" y="120995"/>
                        <a:pt x="19025" y="120995"/>
                        <a:pt x="19121" y="120899"/>
                      </a:cubicBezTo>
                      <a:cubicBezTo>
                        <a:pt x="20740" y="116518"/>
                        <a:pt x="20740" y="117089"/>
                        <a:pt x="21121" y="114327"/>
                      </a:cubicBezTo>
                      <a:cubicBezTo>
                        <a:pt x="27312" y="119280"/>
                        <a:pt x="34361" y="122233"/>
                        <a:pt x="42743" y="122995"/>
                      </a:cubicBezTo>
                      <a:cubicBezTo>
                        <a:pt x="74842" y="121185"/>
                        <a:pt x="79795" y="80037"/>
                        <a:pt x="69508" y="56225"/>
                      </a:cubicBezTo>
                      <a:cubicBezTo>
                        <a:pt x="60935" y="36222"/>
                        <a:pt x="38837" y="31364"/>
                        <a:pt x="21788" y="40604"/>
                      </a:cubicBezTo>
                      <a:close/>
                      <a:moveTo>
                        <a:pt x="21407" y="94991"/>
                      </a:moveTo>
                      <a:cubicBezTo>
                        <a:pt x="21407" y="86324"/>
                        <a:pt x="21407" y="77656"/>
                        <a:pt x="21407" y="68988"/>
                      </a:cubicBezTo>
                      <a:cubicBezTo>
                        <a:pt x="21407" y="66607"/>
                        <a:pt x="21407" y="64321"/>
                        <a:pt x="21407" y="61940"/>
                      </a:cubicBezTo>
                      <a:cubicBezTo>
                        <a:pt x="21407" y="60035"/>
                        <a:pt x="27122" y="56510"/>
                        <a:pt x="28455" y="55558"/>
                      </a:cubicBezTo>
                      <a:cubicBezTo>
                        <a:pt x="33694" y="51843"/>
                        <a:pt x="44362" y="49843"/>
                        <a:pt x="49696" y="54891"/>
                      </a:cubicBezTo>
                      <a:cubicBezTo>
                        <a:pt x="56363" y="66416"/>
                        <a:pt x="54839" y="84609"/>
                        <a:pt x="50077" y="96420"/>
                      </a:cubicBezTo>
                      <a:cubicBezTo>
                        <a:pt x="47410" y="103088"/>
                        <a:pt x="41123" y="105945"/>
                        <a:pt x="34361" y="106612"/>
                      </a:cubicBezTo>
                      <a:cubicBezTo>
                        <a:pt x="30741" y="106993"/>
                        <a:pt x="28074" y="106898"/>
                        <a:pt x="26169" y="106517"/>
                      </a:cubicBezTo>
                      <a:cubicBezTo>
                        <a:pt x="24740" y="105755"/>
                        <a:pt x="23502" y="104993"/>
                        <a:pt x="22264" y="104040"/>
                      </a:cubicBezTo>
                      <a:cubicBezTo>
                        <a:pt x="20930" y="101849"/>
                        <a:pt x="21407" y="98706"/>
                        <a:pt x="21407" y="94991"/>
                      </a:cubicBezTo>
                      <a:close/>
                    </a:path>
                  </a:pathLst>
                </a:custGeom>
                <a:grpFill/>
                <a:ln w="9525" cap="flat">
                  <a:noFill/>
                  <a:prstDash val="solid"/>
                  <a:miter/>
                </a:ln>
              </p:spPr>
              <p:txBody>
                <a:bodyPr rtlCol="0" anchor="ctr"/>
                <a:lstStyle/>
                <a:p>
                  <a:endParaRPr lang="en-US" sz="1050"/>
                </a:p>
              </p:txBody>
            </p:sp>
            <p:sp>
              <p:nvSpPr>
                <p:cNvPr id="43" name="Vrije vorm: vorm 42">
                  <a:extLst>
                    <a:ext uri="{FF2B5EF4-FFF2-40B4-BE49-F238E27FC236}">
                      <a16:creationId xmlns:a16="http://schemas.microsoft.com/office/drawing/2014/main" id="{C6D6BCB6-3EB6-4C31-859E-CD3DDCEF6E4C}"/>
                    </a:ext>
                  </a:extLst>
                </p:cNvPr>
                <p:cNvSpPr/>
                <p:nvPr/>
              </p:nvSpPr>
              <p:spPr>
                <a:xfrm>
                  <a:off x="6906730" y="3847605"/>
                  <a:ext cx="30231" cy="121176"/>
                </a:xfrm>
                <a:custGeom>
                  <a:avLst/>
                  <a:gdLst>
                    <a:gd name="connsiteX0" fmla="*/ 27660 w 30231"/>
                    <a:gd name="connsiteY0" fmla="*/ 110985 h 121176"/>
                    <a:gd name="connsiteX1" fmla="*/ 21659 w 30231"/>
                    <a:gd name="connsiteY1" fmla="*/ 106794 h 121176"/>
                    <a:gd name="connsiteX2" fmla="*/ 21659 w 30231"/>
                    <a:gd name="connsiteY2" fmla="*/ 88696 h 121176"/>
                    <a:gd name="connsiteX3" fmla="*/ 21659 w 30231"/>
                    <a:gd name="connsiteY3" fmla="*/ 54406 h 121176"/>
                    <a:gd name="connsiteX4" fmla="*/ 19564 w 30231"/>
                    <a:gd name="connsiteY4" fmla="*/ 4305 h 121176"/>
                    <a:gd name="connsiteX5" fmla="*/ 12515 w 30231"/>
                    <a:gd name="connsiteY5" fmla="*/ 18 h 121176"/>
                    <a:gd name="connsiteX6" fmla="*/ 228 w 30231"/>
                    <a:gd name="connsiteY6" fmla="*/ 2399 h 121176"/>
                    <a:gd name="connsiteX7" fmla="*/ 37 w 30231"/>
                    <a:gd name="connsiteY7" fmla="*/ 2685 h 121176"/>
                    <a:gd name="connsiteX8" fmla="*/ 1942 w 30231"/>
                    <a:gd name="connsiteY8" fmla="*/ 32784 h 121176"/>
                    <a:gd name="connsiteX9" fmla="*/ 1942 w 30231"/>
                    <a:gd name="connsiteY9" fmla="*/ 77742 h 121176"/>
                    <a:gd name="connsiteX10" fmla="*/ 21183 w 30231"/>
                    <a:gd name="connsiteY10" fmla="*/ 120986 h 121176"/>
                    <a:gd name="connsiteX11" fmla="*/ 22135 w 30231"/>
                    <a:gd name="connsiteY11" fmla="*/ 121176 h 121176"/>
                    <a:gd name="connsiteX12" fmla="*/ 30232 w 30231"/>
                    <a:gd name="connsiteY12" fmla="*/ 119367 h 121176"/>
                    <a:gd name="connsiteX13" fmla="*/ 30232 w 30231"/>
                    <a:gd name="connsiteY13" fmla="*/ 119176 h 121176"/>
                    <a:gd name="connsiteX14" fmla="*/ 27660 w 30231"/>
                    <a:gd name="connsiteY14" fmla="*/ 110985 h 12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231" h="121176">
                      <a:moveTo>
                        <a:pt x="27660" y="110985"/>
                      </a:moveTo>
                      <a:cubicBezTo>
                        <a:pt x="27279" y="109842"/>
                        <a:pt x="23755" y="107460"/>
                        <a:pt x="21659" y="106794"/>
                      </a:cubicBezTo>
                      <a:cubicBezTo>
                        <a:pt x="20516" y="101364"/>
                        <a:pt x="21659" y="91649"/>
                        <a:pt x="21659" y="88696"/>
                      </a:cubicBezTo>
                      <a:cubicBezTo>
                        <a:pt x="21659" y="77266"/>
                        <a:pt x="21659" y="65836"/>
                        <a:pt x="21659" y="54406"/>
                      </a:cubicBezTo>
                      <a:cubicBezTo>
                        <a:pt x="21659" y="38595"/>
                        <a:pt x="23945" y="19735"/>
                        <a:pt x="19564" y="4305"/>
                      </a:cubicBezTo>
                      <a:cubicBezTo>
                        <a:pt x="19183" y="2876"/>
                        <a:pt x="13944" y="-267"/>
                        <a:pt x="12515" y="18"/>
                      </a:cubicBezTo>
                      <a:cubicBezTo>
                        <a:pt x="8419" y="780"/>
                        <a:pt x="4324" y="1638"/>
                        <a:pt x="228" y="2399"/>
                      </a:cubicBezTo>
                      <a:cubicBezTo>
                        <a:pt x="37" y="2399"/>
                        <a:pt x="-58" y="2495"/>
                        <a:pt x="37" y="2685"/>
                      </a:cubicBezTo>
                      <a:cubicBezTo>
                        <a:pt x="2800" y="12115"/>
                        <a:pt x="1942" y="22974"/>
                        <a:pt x="1942" y="32784"/>
                      </a:cubicBezTo>
                      <a:cubicBezTo>
                        <a:pt x="1942" y="47739"/>
                        <a:pt x="1942" y="62788"/>
                        <a:pt x="1942" y="77742"/>
                      </a:cubicBezTo>
                      <a:cubicBezTo>
                        <a:pt x="1942" y="95649"/>
                        <a:pt x="-1772" y="117938"/>
                        <a:pt x="21183" y="120986"/>
                      </a:cubicBezTo>
                      <a:cubicBezTo>
                        <a:pt x="21564" y="121081"/>
                        <a:pt x="21850" y="121176"/>
                        <a:pt x="22135" y="121176"/>
                      </a:cubicBezTo>
                      <a:cubicBezTo>
                        <a:pt x="27374" y="120700"/>
                        <a:pt x="25183" y="121176"/>
                        <a:pt x="30232" y="119367"/>
                      </a:cubicBezTo>
                      <a:cubicBezTo>
                        <a:pt x="30232" y="119271"/>
                        <a:pt x="30232" y="119176"/>
                        <a:pt x="30232" y="119176"/>
                      </a:cubicBezTo>
                      <a:cubicBezTo>
                        <a:pt x="29279" y="116414"/>
                        <a:pt x="28422" y="113747"/>
                        <a:pt x="27660" y="110985"/>
                      </a:cubicBezTo>
                      <a:close/>
                    </a:path>
                  </a:pathLst>
                </a:custGeom>
                <a:grpFill/>
                <a:ln w="9525" cap="flat">
                  <a:noFill/>
                  <a:prstDash val="solid"/>
                  <a:miter/>
                </a:ln>
              </p:spPr>
              <p:txBody>
                <a:bodyPr rtlCol="0" anchor="ctr"/>
                <a:lstStyle/>
                <a:p>
                  <a:endParaRPr lang="en-US" sz="1050"/>
                </a:p>
              </p:txBody>
            </p:sp>
            <p:sp>
              <p:nvSpPr>
                <p:cNvPr id="44" name="Vrije vorm: vorm 43">
                  <a:extLst>
                    <a:ext uri="{FF2B5EF4-FFF2-40B4-BE49-F238E27FC236}">
                      <a16:creationId xmlns:a16="http://schemas.microsoft.com/office/drawing/2014/main" id="{B8676AA9-07A2-4811-8DBF-9DA88C4EBB99}"/>
                    </a:ext>
                  </a:extLst>
                </p:cNvPr>
                <p:cNvSpPr/>
                <p:nvPr/>
              </p:nvSpPr>
              <p:spPr>
                <a:xfrm>
                  <a:off x="6948468" y="3883717"/>
                  <a:ext cx="72217" cy="83766"/>
                </a:xfrm>
                <a:custGeom>
                  <a:avLst/>
                  <a:gdLst>
                    <a:gd name="connsiteX0" fmla="*/ 46976 w 72217"/>
                    <a:gd name="connsiteY0" fmla="*/ 958 h 83766"/>
                    <a:gd name="connsiteX1" fmla="*/ 875 w 72217"/>
                    <a:gd name="connsiteY1" fmla="*/ 31248 h 83766"/>
                    <a:gd name="connsiteX2" fmla="*/ 29927 w 72217"/>
                    <a:gd name="connsiteY2" fmla="*/ 82492 h 83766"/>
                    <a:gd name="connsiteX3" fmla="*/ 52977 w 72217"/>
                    <a:gd name="connsiteY3" fmla="*/ 82683 h 83766"/>
                    <a:gd name="connsiteX4" fmla="*/ 66598 w 72217"/>
                    <a:gd name="connsiteY4" fmla="*/ 76682 h 83766"/>
                    <a:gd name="connsiteX5" fmla="*/ 65550 w 72217"/>
                    <a:gd name="connsiteY5" fmla="*/ 65823 h 83766"/>
                    <a:gd name="connsiteX6" fmla="*/ 57073 w 72217"/>
                    <a:gd name="connsiteY6" fmla="*/ 64490 h 83766"/>
                    <a:gd name="connsiteX7" fmla="*/ 23069 w 72217"/>
                    <a:gd name="connsiteY7" fmla="*/ 44773 h 83766"/>
                    <a:gd name="connsiteX8" fmla="*/ 70884 w 72217"/>
                    <a:gd name="connsiteY8" fmla="*/ 44773 h 83766"/>
                    <a:gd name="connsiteX9" fmla="*/ 72218 w 72217"/>
                    <a:gd name="connsiteY9" fmla="*/ 44583 h 83766"/>
                    <a:gd name="connsiteX10" fmla="*/ 46976 w 72217"/>
                    <a:gd name="connsiteY10" fmla="*/ 958 h 83766"/>
                    <a:gd name="connsiteX11" fmla="*/ 46976 w 72217"/>
                    <a:gd name="connsiteY11" fmla="*/ 16389 h 83766"/>
                    <a:gd name="connsiteX12" fmla="*/ 51548 w 72217"/>
                    <a:gd name="connsiteY12" fmla="*/ 33629 h 83766"/>
                    <a:gd name="connsiteX13" fmla="*/ 40785 w 72217"/>
                    <a:gd name="connsiteY13" fmla="*/ 33629 h 83766"/>
                    <a:gd name="connsiteX14" fmla="*/ 23164 w 72217"/>
                    <a:gd name="connsiteY14" fmla="*/ 33629 h 83766"/>
                    <a:gd name="connsiteX15" fmla="*/ 28593 w 72217"/>
                    <a:gd name="connsiteY15" fmla="*/ 16293 h 83766"/>
                    <a:gd name="connsiteX16" fmla="*/ 46976 w 72217"/>
                    <a:gd name="connsiteY16" fmla="*/ 16389 h 8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217" h="83766">
                      <a:moveTo>
                        <a:pt x="46976" y="958"/>
                      </a:moveTo>
                      <a:cubicBezTo>
                        <a:pt x="23926" y="-3328"/>
                        <a:pt x="5162" y="6768"/>
                        <a:pt x="875" y="31248"/>
                      </a:cubicBezTo>
                      <a:cubicBezTo>
                        <a:pt x="-3125" y="54203"/>
                        <a:pt x="6590" y="76968"/>
                        <a:pt x="29927" y="82492"/>
                      </a:cubicBezTo>
                      <a:cubicBezTo>
                        <a:pt x="37547" y="84302"/>
                        <a:pt x="45262" y="84016"/>
                        <a:pt x="52977" y="82683"/>
                      </a:cubicBezTo>
                      <a:cubicBezTo>
                        <a:pt x="57549" y="81921"/>
                        <a:pt x="62978" y="79635"/>
                        <a:pt x="66598" y="76682"/>
                      </a:cubicBezTo>
                      <a:cubicBezTo>
                        <a:pt x="72027" y="72396"/>
                        <a:pt x="68693" y="71157"/>
                        <a:pt x="65550" y="65823"/>
                      </a:cubicBezTo>
                      <a:cubicBezTo>
                        <a:pt x="64788" y="64490"/>
                        <a:pt x="58216" y="63537"/>
                        <a:pt x="57073" y="64490"/>
                      </a:cubicBezTo>
                      <a:cubicBezTo>
                        <a:pt x="37451" y="80111"/>
                        <a:pt x="23164" y="64966"/>
                        <a:pt x="23069" y="44773"/>
                      </a:cubicBezTo>
                      <a:cubicBezTo>
                        <a:pt x="38975" y="44773"/>
                        <a:pt x="54977" y="44773"/>
                        <a:pt x="70884" y="44773"/>
                      </a:cubicBezTo>
                      <a:cubicBezTo>
                        <a:pt x="70884" y="44773"/>
                        <a:pt x="72218" y="44868"/>
                        <a:pt x="72218" y="44583"/>
                      </a:cubicBezTo>
                      <a:cubicBezTo>
                        <a:pt x="72218" y="25533"/>
                        <a:pt x="68979" y="5054"/>
                        <a:pt x="46976" y="958"/>
                      </a:cubicBezTo>
                      <a:close/>
                      <a:moveTo>
                        <a:pt x="46976" y="16389"/>
                      </a:moveTo>
                      <a:cubicBezTo>
                        <a:pt x="48310" y="18960"/>
                        <a:pt x="51263" y="33629"/>
                        <a:pt x="51548" y="33629"/>
                      </a:cubicBezTo>
                      <a:cubicBezTo>
                        <a:pt x="47929" y="33629"/>
                        <a:pt x="44405" y="33629"/>
                        <a:pt x="40785" y="33629"/>
                      </a:cubicBezTo>
                      <a:cubicBezTo>
                        <a:pt x="34880" y="33629"/>
                        <a:pt x="28974" y="33629"/>
                        <a:pt x="23164" y="33629"/>
                      </a:cubicBezTo>
                      <a:cubicBezTo>
                        <a:pt x="23640" y="27438"/>
                        <a:pt x="24783" y="21342"/>
                        <a:pt x="28593" y="16293"/>
                      </a:cubicBezTo>
                      <a:cubicBezTo>
                        <a:pt x="33641" y="9531"/>
                        <a:pt x="42119" y="10007"/>
                        <a:pt x="46976" y="16389"/>
                      </a:cubicBezTo>
                      <a:close/>
                    </a:path>
                  </a:pathLst>
                </a:custGeom>
                <a:grpFill/>
                <a:ln w="9525" cap="flat">
                  <a:noFill/>
                  <a:prstDash val="solid"/>
                  <a:miter/>
                </a:ln>
              </p:spPr>
              <p:txBody>
                <a:bodyPr rtlCol="0" anchor="ctr"/>
                <a:lstStyle/>
                <a:p>
                  <a:endParaRPr lang="en-US" sz="1050"/>
                </a:p>
              </p:txBody>
            </p:sp>
          </p:grpSp>
        </p:grpSp>
      </p:grpSp>
      <p:sp>
        <p:nvSpPr>
          <p:cNvPr id="54" name="Titel 38">
            <a:extLst>
              <a:ext uri="{FF2B5EF4-FFF2-40B4-BE49-F238E27FC236}">
                <a16:creationId xmlns:a16="http://schemas.microsoft.com/office/drawing/2014/main" id="{48364FD8-D5EC-4A5C-8870-B579DCDD5F54}"/>
              </a:ext>
            </a:extLst>
          </p:cNvPr>
          <p:cNvSpPr>
            <a:spLocks noGrp="1"/>
          </p:cNvSpPr>
          <p:nvPr>
            <p:ph type="title" hasCustomPrompt="1"/>
          </p:nvPr>
        </p:nvSpPr>
        <p:spPr>
          <a:xfrm>
            <a:off x="523875" y="870858"/>
            <a:ext cx="8081303" cy="804044"/>
          </a:xfrm>
        </p:spPr>
        <p:txBody>
          <a:bodyPr anchor="b"/>
          <a:lstStyle>
            <a:lvl1pPr algn="l">
              <a:defRPr sz="6000" b="1">
                <a:solidFill>
                  <a:schemeClr val="bg2"/>
                </a:solidFill>
              </a:defRPr>
            </a:lvl1pPr>
          </a:lstStyle>
          <a:p>
            <a:r>
              <a:rPr lang="en-US" noProof="0"/>
              <a:t>Thank you</a:t>
            </a:r>
            <a:endParaRPr lang="en-US"/>
          </a:p>
        </p:txBody>
      </p:sp>
      <p:sp>
        <p:nvSpPr>
          <p:cNvPr id="56" name="Ondertitel 2">
            <a:extLst>
              <a:ext uri="{FF2B5EF4-FFF2-40B4-BE49-F238E27FC236}">
                <a16:creationId xmlns:a16="http://schemas.microsoft.com/office/drawing/2014/main" id="{47B08953-0C38-4230-BFF7-0FB286CFD9F2}"/>
              </a:ext>
            </a:extLst>
          </p:cNvPr>
          <p:cNvSpPr>
            <a:spLocks noGrp="1"/>
          </p:cNvSpPr>
          <p:nvPr>
            <p:ph type="subTitle" idx="16" hasCustomPrompt="1"/>
          </p:nvPr>
        </p:nvSpPr>
        <p:spPr>
          <a:xfrm>
            <a:off x="523875" y="1732474"/>
            <a:ext cx="8081303" cy="545363"/>
          </a:xfrm>
          <a:noFill/>
        </p:spPr>
        <p:txBody>
          <a:bodyPr tIns="0"/>
          <a:lstStyle>
            <a:lvl1pPr marL="0" indent="0" algn="l">
              <a:buNone/>
              <a:defRPr sz="4050" i="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For your attention</a:t>
            </a:r>
          </a:p>
        </p:txBody>
      </p:sp>
      <p:sp>
        <p:nvSpPr>
          <p:cNvPr id="45" name="Tijdelijke aanduiding voor verticale tekst 2">
            <a:extLst>
              <a:ext uri="{FF2B5EF4-FFF2-40B4-BE49-F238E27FC236}">
                <a16:creationId xmlns:a16="http://schemas.microsoft.com/office/drawing/2014/main" id="{AAF7CA24-D51B-40F2-B108-E7301CCEF2C2}"/>
              </a:ext>
            </a:extLst>
          </p:cNvPr>
          <p:cNvSpPr>
            <a:spLocks noGrp="1"/>
          </p:cNvSpPr>
          <p:nvPr>
            <p:ph type="body" orient="vert" idx="1" hasCustomPrompt="1"/>
          </p:nvPr>
        </p:nvSpPr>
        <p:spPr>
          <a:xfrm>
            <a:off x="523874" y="2378944"/>
            <a:ext cx="8081303" cy="333221"/>
          </a:xfrm>
        </p:spPr>
        <p:txBody>
          <a:bodyPr vert="horz" lIns="0" tIns="0" rIns="0" bIns="0"/>
          <a:lstStyle>
            <a:lvl1pPr marL="0" indent="0">
              <a:buFontTx/>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a:t>Questions?</a:t>
            </a:r>
          </a:p>
        </p:txBody>
      </p:sp>
    </p:spTree>
    <p:extLst>
      <p:ext uri="{BB962C8B-B14F-4D97-AF65-F5344CB8AC3E}">
        <p14:creationId xmlns:p14="http://schemas.microsoft.com/office/powerpoint/2010/main" val="396168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CA586-86E2-1611-BC1D-22AF6659124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NL"/>
          </a:p>
        </p:txBody>
      </p:sp>
      <p:sp>
        <p:nvSpPr>
          <p:cNvPr id="3" name="Subtitle 2">
            <a:extLst>
              <a:ext uri="{FF2B5EF4-FFF2-40B4-BE49-F238E27FC236}">
                <a16:creationId xmlns:a16="http://schemas.microsoft.com/office/drawing/2014/main" id="{CF50A2C3-7A6E-E8ED-7B9B-3C65C26DF851}"/>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NL"/>
          </a:p>
        </p:txBody>
      </p:sp>
      <p:sp>
        <p:nvSpPr>
          <p:cNvPr id="4" name="Date Placeholder 3">
            <a:extLst>
              <a:ext uri="{FF2B5EF4-FFF2-40B4-BE49-F238E27FC236}">
                <a16:creationId xmlns:a16="http://schemas.microsoft.com/office/drawing/2014/main" id="{849EF471-E1A6-3C66-E523-C34E6E772F6C}"/>
              </a:ext>
            </a:extLst>
          </p:cNvPr>
          <p:cNvSpPr>
            <a:spLocks noGrp="1"/>
          </p:cNvSpPr>
          <p:nvPr>
            <p:ph type="dt" sz="half" idx="10"/>
          </p:nvPr>
        </p:nvSpPr>
        <p:spPr/>
        <p:txBody>
          <a:bodyPr/>
          <a:lstStyle/>
          <a:p>
            <a:fld id="{8CC2A136-ADBA-4569-A6F6-65515AECAA6B}" type="datetimeFigureOut">
              <a:rPr lang="en-NL" smtClean="0"/>
              <a:t>08/10/2024</a:t>
            </a:fld>
            <a:endParaRPr lang="en-NL"/>
          </a:p>
        </p:txBody>
      </p:sp>
      <p:sp>
        <p:nvSpPr>
          <p:cNvPr id="5" name="Footer Placeholder 4">
            <a:extLst>
              <a:ext uri="{FF2B5EF4-FFF2-40B4-BE49-F238E27FC236}">
                <a16:creationId xmlns:a16="http://schemas.microsoft.com/office/drawing/2014/main" id="{E6C80423-3DB3-8FB0-2D83-3D0EEED49FB9}"/>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36795564-55E5-2C6A-C0CD-4A3033284AE6}"/>
              </a:ext>
            </a:extLst>
          </p:cNvPr>
          <p:cNvSpPr>
            <a:spLocks noGrp="1"/>
          </p:cNvSpPr>
          <p:nvPr>
            <p:ph type="sldNum" sz="quarter" idx="12"/>
          </p:nvPr>
        </p:nvSpPr>
        <p:spPr/>
        <p:txBody>
          <a:bodyPr/>
          <a:lstStyle/>
          <a:p>
            <a:fld id="{F2B3D8AA-F02A-40A2-BD5E-CDAB754FADE4}" type="slidenum">
              <a:rPr lang="en-NL" smtClean="0"/>
              <a:t>‹#›</a:t>
            </a:fld>
            <a:endParaRPr lang="en-NL"/>
          </a:p>
        </p:txBody>
      </p:sp>
    </p:spTree>
    <p:extLst>
      <p:ext uri="{BB962C8B-B14F-4D97-AF65-F5344CB8AC3E}">
        <p14:creationId xmlns:p14="http://schemas.microsoft.com/office/powerpoint/2010/main" val="38960573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Titeldia">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69BB5227-4733-EA4B-8B2A-C7963B23F3B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 y="4362121"/>
            <a:ext cx="9144001" cy="889347"/>
          </a:xfrm>
          <a:prstGeom prst="rect">
            <a:avLst/>
          </a:prstGeom>
        </p:spPr>
      </p:pic>
      <p:pic>
        <p:nvPicPr>
          <p:cNvPr id="12" name="Graphic 11">
            <a:extLst>
              <a:ext uri="{FF2B5EF4-FFF2-40B4-BE49-F238E27FC236}">
                <a16:creationId xmlns:a16="http://schemas.microsoft.com/office/drawing/2014/main" id="{C725DC09-88E6-A446-95D9-0981EA7F877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47890" y="4634748"/>
            <a:ext cx="887312" cy="344093"/>
          </a:xfrm>
          <a:prstGeom prst="rect">
            <a:avLst/>
          </a:prstGeom>
        </p:spPr>
      </p:pic>
      <p:sp>
        <p:nvSpPr>
          <p:cNvPr id="5" name="Tijdelijke aanduiding voor titel 1">
            <a:extLst>
              <a:ext uri="{FF2B5EF4-FFF2-40B4-BE49-F238E27FC236}">
                <a16:creationId xmlns:a16="http://schemas.microsoft.com/office/drawing/2014/main" id="{CFC5E4E8-ED6E-B640-956E-FF64B4751843}"/>
              </a:ext>
            </a:extLst>
          </p:cNvPr>
          <p:cNvSpPr>
            <a:spLocks noGrp="1"/>
          </p:cNvSpPr>
          <p:nvPr>
            <p:ph type="title"/>
          </p:nvPr>
        </p:nvSpPr>
        <p:spPr>
          <a:xfrm>
            <a:off x="537312" y="664050"/>
            <a:ext cx="7547316" cy="261665"/>
          </a:xfrm>
          <a:prstGeom prst="rect">
            <a:avLst/>
          </a:prstGeom>
        </p:spPr>
        <p:txBody>
          <a:bodyPr vert="horz" lIns="0" tIns="0" rIns="0" bIns="0" rtlCol="0" anchor="t" anchorCtr="0">
            <a:noAutofit/>
          </a:bodyPr>
          <a:lstStyle>
            <a:lvl1pPr>
              <a:defRPr>
                <a:solidFill>
                  <a:srgbClr val="00B25A"/>
                </a:solidFill>
              </a:defRPr>
            </a:lvl1pPr>
          </a:lstStyle>
          <a:p>
            <a:r>
              <a:rPr lang="nl-NL"/>
              <a:t>Click here </a:t>
            </a:r>
            <a:r>
              <a:rPr lang="nl-NL" err="1"/>
              <a:t>to</a:t>
            </a:r>
            <a:r>
              <a:rPr lang="nl-NL"/>
              <a:t> </a:t>
            </a:r>
            <a:r>
              <a:rPr lang="nl-NL" err="1"/>
              <a:t>insert</a:t>
            </a:r>
            <a:r>
              <a:rPr lang="nl-NL"/>
              <a:t> </a:t>
            </a:r>
            <a:r>
              <a:rPr lang="nl-NL" err="1"/>
              <a:t>title</a:t>
            </a:r>
            <a:endParaRPr lang="nl-NL"/>
          </a:p>
        </p:txBody>
      </p:sp>
      <p:sp>
        <p:nvSpPr>
          <p:cNvPr id="6" name="Slide Number Placeholder 8">
            <a:extLst>
              <a:ext uri="{FF2B5EF4-FFF2-40B4-BE49-F238E27FC236}">
                <a16:creationId xmlns:a16="http://schemas.microsoft.com/office/drawing/2014/main" id="{7D16C174-CB71-3047-A74B-A1EA29A0051D}"/>
              </a:ext>
            </a:extLst>
          </p:cNvPr>
          <p:cNvSpPr>
            <a:spLocks noGrp="1"/>
          </p:cNvSpPr>
          <p:nvPr>
            <p:ph type="sldNum" sz="quarter" idx="4"/>
          </p:nvPr>
        </p:nvSpPr>
        <p:spPr>
          <a:xfrm>
            <a:off x="279688" y="4772727"/>
            <a:ext cx="304681" cy="273844"/>
          </a:xfrm>
          <a:prstGeom prst="rect">
            <a:avLst/>
          </a:prstGeom>
        </p:spPr>
        <p:txBody>
          <a:bodyPr vert="horz" lIns="0" tIns="0" rIns="0" bIns="0" rtlCol="0" anchor="ctr"/>
          <a:lstStyle>
            <a:lvl1pPr algn="l">
              <a:defRPr sz="675">
                <a:solidFill>
                  <a:schemeClr val="bg1"/>
                </a:solidFill>
              </a:defRPr>
            </a:lvl1pPr>
          </a:lstStyle>
          <a:p>
            <a:fld id="{39621C45-3C99-3146-A47F-E25331DFB732}" type="slidenum">
              <a:rPr lang="x-none" smtClean="0"/>
              <a:pPr/>
              <a:t>‹#›</a:t>
            </a:fld>
            <a:endParaRPr lang="x-none"/>
          </a:p>
        </p:txBody>
      </p:sp>
    </p:spTree>
    <p:extLst>
      <p:ext uri="{BB962C8B-B14F-4D97-AF65-F5344CB8AC3E}">
        <p14:creationId xmlns:p14="http://schemas.microsoft.com/office/powerpoint/2010/main" val="293786063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dditional_Content_Slide">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4957762" y="0"/>
            <a:ext cx="4186238" cy="5143500"/>
          </a:xfrm>
          <a:pattFill prst="wdDnDiag">
            <a:fgClr>
              <a:schemeClr val="accent1"/>
            </a:fgClr>
            <a:bgClr>
              <a:schemeClr val="bg1"/>
            </a:bgClr>
          </a:pattFill>
        </p:spPr>
        <p:txBody>
          <a:bodyPr anchor="ctr">
            <a:normAutofit/>
          </a:bodyPr>
          <a:lstStyle>
            <a:lvl1pPr marL="0" indent="0" algn="ctr">
              <a:buNone/>
              <a:defRPr sz="1400"/>
            </a:lvl1pPr>
          </a:lstStyle>
          <a:p>
            <a:r>
              <a:rPr lang="en-US"/>
              <a:t>Drag and Drop your picture here</a:t>
            </a:r>
          </a:p>
        </p:txBody>
      </p:sp>
      <p:sp>
        <p:nvSpPr>
          <p:cNvPr id="2" name="TextBox 1"/>
          <p:cNvSpPr txBox="1"/>
          <p:nvPr/>
        </p:nvSpPr>
        <p:spPr>
          <a:xfrm>
            <a:off x="1617133" y="152400"/>
            <a:ext cx="601134" cy="601133"/>
          </a:xfrm>
          <a:prstGeom prst="rect">
            <a:avLst/>
          </a:prstGeom>
        </p:spPr>
        <p:txBody>
          <a:bodyPr vert="horz" wrap="square" lIns="68580" tIns="34290" rIns="68580" bIns="34290" rtlCol="0" anchor="ctr">
            <a:normAutofit/>
          </a:bodyPr>
          <a:lstStyle/>
          <a:p>
            <a:pPr algn="l"/>
            <a:endParaRPr lang="en-US" sz="1500" b="1">
              <a:solidFill>
                <a:srgbClr val="EDAE00"/>
              </a:solidFill>
              <a:latin typeface="Avenir Next Bold"/>
              <a:cs typeface="Avenir Next Bold"/>
            </a:endParaRPr>
          </a:p>
        </p:txBody>
      </p:sp>
      <p:cxnSp>
        <p:nvCxnSpPr>
          <p:cNvPr id="18" name="Straight Connector 17"/>
          <p:cNvCxnSpPr/>
          <p:nvPr/>
        </p:nvCxnSpPr>
        <p:spPr>
          <a:xfrm flipH="1">
            <a:off x="626533" y="2126428"/>
            <a:ext cx="3533422" cy="0"/>
          </a:xfrm>
          <a:prstGeom prst="line">
            <a:avLst/>
          </a:prstGeom>
          <a:ln w="28575">
            <a:solidFill>
              <a:srgbClr val="218455"/>
            </a:solidFill>
          </a:ln>
        </p:spPr>
        <p:style>
          <a:lnRef idx="1">
            <a:schemeClr val="accent1"/>
          </a:lnRef>
          <a:fillRef idx="0">
            <a:schemeClr val="accent1"/>
          </a:fillRef>
          <a:effectRef idx="0">
            <a:schemeClr val="accent1"/>
          </a:effectRef>
          <a:fontRef idx="minor">
            <a:schemeClr val="tx1"/>
          </a:fontRef>
        </p:style>
      </p:cxnSp>
      <p:sp>
        <p:nvSpPr>
          <p:cNvPr id="21" name="Text Placeholder 2"/>
          <p:cNvSpPr>
            <a:spLocks noGrp="1"/>
          </p:cNvSpPr>
          <p:nvPr>
            <p:ph idx="16" hasCustomPrompt="1"/>
          </p:nvPr>
        </p:nvSpPr>
        <p:spPr>
          <a:xfrm>
            <a:off x="601133" y="2506133"/>
            <a:ext cx="3564467" cy="2202790"/>
          </a:xfrm>
          <a:prstGeom prst="rect">
            <a:avLst/>
          </a:prstGeom>
        </p:spPr>
        <p:txBody>
          <a:bodyPr vert="horz" lIns="68580" tIns="34290" rIns="68580" bIns="34290" rtlCol="0">
            <a:noAutofit/>
          </a:bodyPr>
          <a:lstStyle>
            <a:lvl1pPr>
              <a:lnSpc>
                <a:spcPct val="100000"/>
              </a:lnSpc>
              <a:defRPr sz="1800">
                <a:latin typeface="Open Sans"/>
                <a:cs typeface="Open Sans"/>
              </a:defRPr>
            </a:lvl1pPr>
            <a:lvl2pPr>
              <a:lnSpc>
                <a:spcPct val="100000"/>
              </a:lnSpc>
              <a:defRPr sz="1800">
                <a:latin typeface="Open Sans"/>
                <a:cs typeface="Open Sans"/>
              </a:defRPr>
            </a:lvl2pPr>
            <a:lvl3pPr>
              <a:lnSpc>
                <a:spcPct val="100000"/>
              </a:lnSpc>
              <a:defRPr sz="1800">
                <a:latin typeface="Open Sans"/>
                <a:cs typeface="Open Sans"/>
              </a:defRPr>
            </a:lvl3pPr>
            <a:lvl4pPr>
              <a:defRPr sz="1400">
                <a:latin typeface="Open Sans"/>
                <a:cs typeface="Open Sans"/>
              </a:defRPr>
            </a:lvl4pPr>
            <a:lvl5pPr>
              <a:defRPr sz="1400">
                <a:latin typeface="Open Sans"/>
                <a:cs typeface="Open Sans"/>
              </a:defRPr>
            </a:lvl5pPr>
          </a:lstStyle>
          <a:p>
            <a:pPr lvl="0"/>
            <a:r>
              <a:rPr lang="en-US" noProof="0"/>
              <a:t>Click to edit content</a:t>
            </a:r>
          </a:p>
        </p:txBody>
      </p:sp>
      <p:sp>
        <p:nvSpPr>
          <p:cNvPr id="22" name="Text Placeholder 2"/>
          <p:cNvSpPr>
            <a:spLocks noGrp="1"/>
          </p:cNvSpPr>
          <p:nvPr>
            <p:ph idx="28" hasCustomPrompt="1"/>
          </p:nvPr>
        </p:nvSpPr>
        <p:spPr>
          <a:xfrm>
            <a:off x="609600" y="526815"/>
            <a:ext cx="3556000" cy="1369719"/>
          </a:xfrm>
          <a:prstGeom prst="rect">
            <a:avLst/>
          </a:prstGeom>
        </p:spPr>
        <p:txBody>
          <a:bodyPr vert="horz" lIns="68580" tIns="34290" rIns="68580" bIns="34290" rtlCol="0" anchor="b">
            <a:normAutofit/>
          </a:bodyPr>
          <a:lstStyle>
            <a:lvl1pPr marL="0" indent="0">
              <a:lnSpc>
                <a:spcPct val="90000"/>
              </a:lnSpc>
              <a:buNone/>
              <a:defRPr sz="3000" b="1" i="0" cap="all" baseline="0">
                <a:solidFill>
                  <a:srgbClr val="B1503A"/>
                </a:solidFill>
                <a:latin typeface="AvenirNext LT Pro Bold" panose="020B0504020202020204" pitchFamily="34" charset="77"/>
                <a:cs typeface="AvenirNext LT Pro Bold" panose="020B0504020202020204" pitchFamily="34" charset="77"/>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noProof="0"/>
              <a:t>Click here </a:t>
            </a:r>
          </a:p>
        </p:txBody>
      </p:sp>
      <p:sp>
        <p:nvSpPr>
          <p:cNvPr id="10" name="TextBox 1"/>
          <p:cNvSpPr txBox="1"/>
          <p:nvPr/>
        </p:nvSpPr>
        <p:spPr>
          <a:xfrm>
            <a:off x="1617133" y="152400"/>
            <a:ext cx="601134" cy="601133"/>
          </a:xfrm>
          <a:prstGeom prst="rect">
            <a:avLst/>
          </a:prstGeom>
        </p:spPr>
        <p:txBody>
          <a:bodyPr vert="horz" wrap="square" lIns="68580" tIns="34290" rIns="68580" bIns="34290" rtlCol="0" anchor="ctr">
            <a:normAutofit/>
          </a:bodyPr>
          <a:lstStyle/>
          <a:p>
            <a:pPr algn="l"/>
            <a:endParaRPr lang="en-US" sz="1500" b="1">
              <a:solidFill>
                <a:srgbClr val="EDAE00"/>
              </a:solidFill>
              <a:latin typeface="Avenir Next Bold"/>
              <a:cs typeface="Avenir Next Bold"/>
            </a:endParaRPr>
          </a:p>
        </p:txBody>
      </p:sp>
      <p:cxnSp>
        <p:nvCxnSpPr>
          <p:cNvPr id="11" name="Straight Connector 17"/>
          <p:cNvCxnSpPr/>
          <p:nvPr/>
        </p:nvCxnSpPr>
        <p:spPr>
          <a:xfrm flipH="1">
            <a:off x="626533" y="2126428"/>
            <a:ext cx="3533422" cy="0"/>
          </a:xfrm>
          <a:prstGeom prst="line">
            <a:avLst/>
          </a:prstGeom>
          <a:ln w="28575">
            <a:solidFill>
              <a:srgbClr val="218455"/>
            </a:solidFill>
          </a:ln>
        </p:spPr>
        <p:style>
          <a:lnRef idx="1">
            <a:schemeClr val="accent1"/>
          </a:lnRef>
          <a:fillRef idx="0">
            <a:schemeClr val="accent1"/>
          </a:fillRef>
          <a:effectRef idx="0">
            <a:schemeClr val="accent1"/>
          </a:effectRef>
          <a:fontRef idx="minor">
            <a:schemeClr val="tx1"/>
          </a:fontRef>
        </p:style>
      </p:cxnSp>
      <p:sp>
        <p:nvSpPr>
          <p:cNvPr id="9" name="TextBox 1">
            <a:extLst>
              <a:ext uri="{FF2B5EF4-FFF2-40B4-BE49-F238E27FC236}">
                <a16:creationId xmlns:a16="http://schemas.microsoft.com/office/drawing/2014/main" id="{2198EE9D-48CA-4B2F-8CB4-2BA76DF7547F}"/>
              </a:ext>
            </a:extLst>
          </p:cNvPr>
          <p:cNvSpPr txBox="1"/>
          <p:nvPr userDrawn="1"/>
        </p:nvSpPr>
        <p:spPr>
          <a:xfrm>
            <a:off x="1617133" y="152400"/>
            <a:ext cx="601134" cy="601133"/>
          </a:xfrm>
          <a:prstGeom prst="rect">
            <a:avLst/>
          </a:prstGeom>
        </p:spPr>
        <p:txBody>
          <a:bodyPr vert="horz" wrap="square" lIns="68580" tIns="34290" rIns="68580" bIns="34290" rtlCol="0" anchor="ctr">
            <a:normAutofit/>
          </a:bodyPr>
          <a:lstStyle/>
          <a:p>
            <a:pPr algn="l"/>
            <a:endParaRPr lang="en-US" sz="1500" b="1">
              <a:solidFill>
                <a:srgbClr val="EDAE00"/>
              </a:solidFill>
              <a:latin typeface="Avenir Next Bold"/>
              <a:cs typeface="Avenir Next Bold"/>
            </a:endParaRPr>
          </a:p>
        </p:txBody>
      </p:sp>
      <p:cxnSp>
        <p:nvCxnSpPr>
          <p:cNvPr id="12" name="Straight Connector 17">
            <a:extLst>
              <a:ext uri="{FF2B5EF4-FFF2-40B4-BE49-F238E27FC236}">
                <a16:creationId xmlns:a16="http://schemas.microsoft.com/office/drawing/2014/main" id="{9BB847FA-26BE-4BB3-9BBD-6E123C05F4CE}"/>
              </a:ext>
            </a:extLst>
          </p:cNvPr>
          <p:cNvCxnSpPr/>
          <p:nvPr userDrawn="1"/>
        </p:nvCxnSpPr>
        <p:spPr>
          <a:xfrm flipH="1">
            <a:off x="626533" y="2126428"/>
            <a:ext cx="3533422" cy="0"/>
          </a:xfrm>
          <a:prstGeom prst="line">
            <a:avLst/>
          </a:prstGeom>
          <a:ln w="28575">
            <a:solidFill>
              <a:srgbClr val="B1503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76578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
    <p:spTree>
      <p:nvGrpSpPr>
        <p:cNvPr id="1" name=""/>
        <p:cNvGrpSpPr/>
        <p:nvPr/>
      </p:nvGrpSpPr>
      <p:grpSpPr>
        <a:xfrm>
          <a:off x="0" y="0"/>
          <a:ext cx="0" cy="0"/>
          <a:chOff x="0" y="0"/>
          <a:chExt cx="0" cy="0"/>
        </a:xfrm>
      </p:grpSpPr>
      <p:sp>
        <p:nvSpPr>
          <p:cNvPr id="5" name="Tekstvak 4"/>
          <p:cNvSpPr txBox="1"/>
          <p:nvPr userDrawn="1"/>
        </p:nvSpPr>
        <p:spPr>
          <a:xfrm>
            <a:off x="-8063" y="-204470"/>
            <a:ext cx="9144000" cy="213585"/>
          </a:xfrm>
          <a:prstGeom prst="rect">
            <a:avLst/>
          </a:prstGeom>
          <a:noFill/>
        </p:spPr>
        <p:txBody>
          <a:bodyPr wrap="square" rtlCol="0">
            <a:spAutoFit/>
          </a:bodyPr>
          <a:lstStyle/>
          <a:p>
            <a:pPr algn="l"/>
            <a:r>
              <a:rPr lang="en-US" sz="788" b="1" spc="38" baseline="0">
                <a:solidFill>
                  <a:schemeClr val="accent2"/>
                </a:solidFill>
                <a:latin typeface="+mj-lt"/>
                <a:cs typeface="Calibri" panose="020F0502020204030204" pitchFamily="34" charset="0"/>
              </a:rPr>
              <a:t>Template name: </a:t>
            </a:r>
            <a:r>
              <a:rPr lang="en-US" sz="788" b="0" spc="38" baseline="0">
                <a:solidFill>
                  <a:schemeClr val="accent2"/>
                </a:solidFill>
                <a:latin typeface="+mj-lt"/>
                <a:cs typeface="Calibri" panose="020F0502020204030204" pitchFamily="34" charset="0"/>
              </a:rPr>
              <a:t>Blank</a:t>
            </a:r>
          </a:p>
        </p:txBody>
      </p:sp>
      <p:grpSp>
        <p:nvGrpSpPr>
          <p:cNvPr id="22" name="INSTRUCTION">
            <a:extLst>
              <a:ext uri="{FF2B5EF4-FFF2-40B4-BE49-F238E27FC236}">
                <a16:creationId xmlns:a16="http://schemas.microsoft.com/office/drawing/2014/main" id="{AEFFA678-176E-4873-8A5F-05210CA57300}"/>
              </a:ext>
            </a:extLst>
          </p:cNvPr>
          <p:cNvGrpSpPr/>
          <p:nvPr userDrawn="1"/>
        </p:nvGrpSpPr>
        <p:grpSpPr>
          <a:xfrm>
            <a:off x="4384" y="5274908"/>
            <a:ext cx="2795966" cy="1183043"/>
            <a:chOff x="5846" y="7033211"/>
            <a:chExt cx="3727954" cy="1577390"/>
          </a:xfrm>
        </p:grpSpPr>
        <p:sp>
          <p:nvSpPr>
            <p:cNvPr id="23" name="Rechthoek 22">
              <a:extLst>
                <a:ext uri="{FF2B5EF4-FFF2-40B4-BE49-F238E27FC236}">
                  <a16:creationId xmlns:a16="http://schemas.microsoft.com/office/drawing/2014/main" id="{9AA3262C-3452-41B2-ADC8-75BCB41D6190}"/>
                </a:ext>
              </a:extLst>
            </p:cNvPr>
            <p:cNvSpPr/>
            <p:nvPr userDrawn="1"/>
          </p:nvSpPr>
          <p:spPr>
            <a:xfrm>
              <a:off x="5846" y="7033211"/>
              <a:ext cx="3727954" cy="157739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450"/>
                </a:spcBef>
                <a:spcAft>
                  <a:spcPts val="450"/>
                </a:spcAft>
              </a:pPr>
              <a:r>
                <a:rPr lang="en-GB" sz="1050" b="1" cap="all" baseline="0" noProof="0">
                  <a:solidFill>
                    <a:schemeClr val="accent1"/>
                  </a:solidFill>
                  <a:latin typeface="Calibri" panose="020F0502020204030204" pitchFamily="34" charset="0"/>
                  <a:cs typeface="Calibri" panose="020F0502020204030204" pitchFamily="34" charset="0"/>
                </a:rPr>
                <a:t>EDIT Footer, slide number</a:t>
              </a:r>
              <a:br>
                <a:rPr lang="en-GB" sz="1050" b="1" cap="all" baseline="0" noProof="0">
                  <a:solidFill>
                    <a:schemeClr val="accent1"/>
                  </a:solidFill>
                  <a:latin typeface="Calibri" panose="020F0502020204030204" pitchFamily="34" charset="0"/>
                  <a:cs typeface="Calibri" panose="020F0502020204030204" pitchFamily="34" charset="0"/>
                </a:rPr>
              </a:br>
              <a:r>
                <a:rPr lang="en-GB" sz="1050" b="1" cap="all" baseline="0" noProof="0">
                  <a:solidFill>
                    <a:schemeClr val="accent1"/>
                  </a:solidFill>
                  <a:latin typeface="Calibri" panose="020F0502020204030204" pitchFamily="34" charset="0"/>
                  <a:cs typeface="Calibri" panose="020F0502020204030204" pitchFamily="34" charset="0"/>
                </a:rPr>
                <a:t>and date</a:t>
              </a:r>
            </a:p>
          </p:txBody>
        </p:sp>
        <p:sp>
          <p:nvSpPr>
            <p:cNvPr id="24" name="Ovaal 23">
              <a:extLst>
                <a:ext uri="{FF2B5EF4-FFF2-40B4-BE49-F238E27FC236}">
                  <a16:creationId xmlns:a16="http://schemas.microsoft.com/office/drawing/2014/main" id="{7A591CF7-0866-4243-A7F2-AC3982DACB1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5" name="Rechthoek 24">
              <a:extLst>
                <a:ext uri="{FF2B5EF4-FFF2-40B4-BE49-F238E27FC236}">
                  <a16:creationId xmlns:a16="http://schemas.microsoft.com/office/drawing/2014/main" id="{C6A7E401-3495-4BD4-A5B5-5E81986C54FC}"/>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ader &amp; Footer’</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6" name="Ovaal 25">
              <a:extLst>
                <a:ext uri="{FF2B5EF4-FFF2-40B4-BE49-F238E27FC236}">
                  <a16:creationId xmlns:a16="http://schemas.microsoft.com/office/drawing/2014/main" id="{6DBEBB89-BBA1-4343-97BE-F0E0E4C58DFE}"/>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7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7" name="Rechthoek 26">
              <a:extLst>
                <a:ext uri="{FF2B5EF4-FFF2-40B4-BE49-F238E27FC236}">
                  <a16:creationId xmlns:a16="http://schemas.microsoft.com/office/drawing/2014/main" id="{4762E27F-1B40-47D0-9732-891C7AF704CA}"/>
                </a:ext>
              </a:extLst>
            </p:cNvPr>
            <p:cNvSpPr/>
            <p:nvPr userDrawn="1"/>
          </p:nvSpPr>
          <p:spPr>
            <a:xfrm>
              <a:off x="472596" y="8108870"/>
              <a:ext cx="2322719" cy="380988"/>
            </a:xfrm>
            <a:prstGeom prst="rect">
              <a:avLst/>
            </a:prstGeom>
            <a:noFill/>
            <a:ln w="25400" cap="flat" cmpd="sng" algn="ctr">
              <a:noFill/>
              <a:prstDash val="solid"/>
            </a:ln>
            <a:effectLst/>
          </p:spPr>
          <p:txBody>
            <a:bodyPr lIns="0" tIns="0" rIns="0" bIns="0" rtlCol="0" anchor="t">
              <a:noAutofit/>
            </a:bodyPr>
            <a:lstStyle/>
            <a:p>
              <a:pPr marL="0" marR="0" lvl="0" indent="0" defTabSz="685800" eaLnBrk="1" fontAlgn="auto" latinLnBrk="0" hangingPunct="1">
                <a:lnSpc>
                  <a:spcPct val="90000"/>
                </a:lnSpc>
                <a:spcBef>
                  <a:spcPts val="450"/>
                </a:spcBef>
                <a:spcAft>
                  <a:spcPts val="450"/>
                </a:spcAft>
                <a:buClrTx/>
                <a:buSzTx/>
                <a:buFontTx/>
                <a:buNone/>
                <a:tabLst/>
                <a:defRPr/>
              </a:pP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a:t>
              </a:r>
              <a:r>
                <a:rPr kumimoji="0" lang="en-GB" sz="9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pply to All’</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pply the changes to every slide.</a:t>
              </a:r>
            </a:p>
          </p:txBody>
        </p:sp>
        <p:grpSp>
          <p:nvGrpSpPr>
            <p:cNvPr id="28" name="Groep 27">
              <a:extLst>
                <a:ext uri="{FF2B5EF4-FFF2-40B4-BE49-F238E27FC236}">
                  <a16:creationId xmlns:a16="http://schemas.microsoft.com/office/drawing/2014/main" id="{AD9DED97-8914-418E-BF47-95EDBC804242}"/>
                </a:ext>
              </a:extLst>
            </p:cNvPr>
            <p:cNvGrpSpPr/>
            <p:nvPr userDrawn="1"/>
          </p:nvGrpSpPr>
          <p:grpSpPr>
            <a:xfrm>
              <a:off x="2939884" y="7739834"/>
              <a:ext cx="681133" cy="750023"/>
              <a:chOff x="-910573" y="4987990"/>
              <a:chExt cx="681133" cy="750023"/>
            </a:xfrm>
          </p:grpSpPr>
          <p:grpSp>
            <p:nvGrpSpPr>
              <p:cNvPr id="29" name="Groep 28">
                <a:extLst>
                  <a:ext uri="{FF2B5EF4-FFF2-40B4-BE49-F238E27FC236}">
                    <a16:creationId xmlns:a16="http://schemas.microsoft.com/office/drawing/2014/main" id="{5C793BD3-3C0E-4C60-A68B-99E7974B8A6B}"/>
                  </a:ext>
                </a:extLst>
              </p:cNvPr>
              <p:cNvGrpSpPr/>
              <p:nvPr userDrawn="1"/>
            </p:nvGrpSpPr>
            <p:grpSpPr>
              <a:xfrm>
                <a:off x="-713542" y="4987990"/>
                <a:ext cx="287071" cy="379107"/>
                <a:chOff x="-4050578" y="288410"/>
                <a:chExt cx="322125" cy="379107"/>
              </a:xfrm>
            </p:grpSpPr>
            <p:sp>
              <p:nvSpPr>
                <p:cNvPr id="31" name="Rechthoek met één afgeknipte en afgeronde hoek 47">
                  <a:extLst>
                    <a:ext uri="{FF2B5EF4-FFF2-40B4-BE49-F238E27FC236}">
                      <a16:creationId xmlns:a16="http://schemas.microsoft.com/office/drawing/2014/main" id="{775F5A8B-C782-42CC-AF38-852EF4FC915A}"/>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32" name="Rechthoekige driehoek 31">
                  <a:extLst>
                    <a:ext uri="{FF2B5EF4-FFF2-40B4-BE49-F238E27FC236}">
                      <a16:creationId xmlns:a16="http://schemas.microsoft.com/office/drawing/2014/main" id="{91489EA2-2795-4A52-803B-4B6029EC5D7A}"/>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33" name="Rechthoek 32">
                  <a:extLst>
                    <a:ext uri="{FF2B5EF4-FFF2-40B4-BE49-F238E27FC236}">
                      <a16:creationId xmlns:a16="http://schemas.microsoft.com/office/drawing/2014/main" id="{D067E827-6B59-4D1A-B03E-193678A41AFD}"/>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34" name="Rechthoek 33">
                  <a:extLst>
                    <a:ext uri="{FF2B5EF4-FFF2-40B4-BE49-F238E27FC236}">
                      <a16:creationId xmlns:a16="http://schemas.microsoft.com/office/drawing/2014/main" id="{73D681D2-E86B-401F-86A8-0FADFB152F03}"/>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685800" fontAlgn="auto">
                    <a:lnSpc>
                      <a:spcPct val="100000"/>
                    </a:lnSpc>
                    <a:spcBef>
                      <a:spcPts val="0"/>
                    </a:spcBef>
                    <a:spcAft>
                      <a:spcPts val="0"/>
                    </a:spcAft>
                    <a:buClrTx/>
                    <a:buSzTx/>
                    <a:buFontTx/>
                    <a:buNone/>
                    <a:tabLst/>
                  </a:pPr>
                  <a:endParaRPr kumimoji="0" lang="en-GB" sz="675"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30" name="Rechthoek 29">
                <a:extLst>
                  <a:ext uri="{FF2B5EF4-FFF2-40B4-BE49-F238E27FC236}">
                    <a16:creationId xmlns:a16="http://schemas.microsoft.com/office/drawing/2014/main" id="{22B1001B-373E-4E1A-A9FC-B9D76FE3D5C1}"/>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75"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Header &amp; Footer</a:t>
                </a:r>
              </a:p>
            </p:txBody>
          </p:sp>
        </p:grpSp>
      </p:grpSp>
      <p:sp>
        <p:nvSpPr>
          <p:cNvPr id="8" name="Tijdelijke aanduiding voor dianummer 5">
            <a:extLst>
              <a:ext uri="{FF2B5EF4-FFF2-40B4-BE49-F238E27FC236}">
                <a16:creationId xmlns:a16="http://schemas.microsoft.com/office/drawing/2014/main" id="{C4204D60-269B-68D6-F166-67E41F87045C}"/>
              </a:ext>
            </a:extLst>
          </p:cNvPr>
          <p:cNvSpPr>
            <a:spLocks noGrp="1"/>
          </p:cNvSpPr>
          <p:nvPr>
            <p:ph type="sldNum" sz="quarter" idx="4"/>
          </p:nvPr>
        </p:nvSpPr>
        <p:spPr>
          <a:xfrm>
            <a:off x="8553596" y="4796896"/>
            <a:ext cx="202500" cy="108569"/>
          </a:xfrm>
          <a:prstGeom prst="rect">
            <a:avLst/>
          </a:prstGeom>
        </p:spPr>
        <p:txBody>
          <a:bodyPr vert="horz" lIns="0" tIns="0" rIns="0" bIns="0" rtlCol="0" anchor="ctr"/>
          <a:lstStyle>
            <a:lvl1pPr algn="r">
              <a:defRPr sz="750" b="1">
                <a:solidFill>
                  <a:schemeClr val="accent1"/>
                </a:solidFill>
                <a:latin typeface="+mj-lt"/>
                <a:cs typeface="Segoe UI Light" panose="020B0502040204020203" pitchFamily="34" charset="0"/>
              </a:defRPr>
            </a:lvl1pPr>
          </a:lstStyle>
          <a:p>
            <a:fld id="{9E843DB9-9987-4157-AB9C-CEA8D7D910BB}" type="slidenum">
              <a:rPr lang="nl-NL" smtClean="0"/>
              <a:pPr/>
              <a:t>‹#›</a:t>
            </a:fld>
            <a:endParaRPr lang="nl-NL"/>
          </a:p>
        </p:txBody>
      </p:sp>
      <p:sp>
        <p:nvSpPr>
          <p:cNvPr id="2" name="Titel 1">
            <a:extLst>
              <a:ext uri="{FF2B5EF4-FFF2-40B4-BE49-F238E27FC236}">
                <a16:creationId xmlns:a16="http://schemas.microsoft.com/office/drawing/2014/main" id="{4E4ECCCC-95FF-68FC-470E-EA9B96055DBE}"/>
              </a:ext>
            </a:extLst>
          </p:cNvPr>
          <p:cNvSpPr>
            <a:spLocks noGrp="1"/>
          </p:cNvSpPr>
          <p:nvPr>
            <p:ph type="title" hasCustomPrompt="1"/>
          </p:nvPr>
        </p:nvSpPr>
        <p:spPr/>
        <p:txBody>
          <a:bodyPr/>
          <a:lstStyle/>
          <a:p>
            <a:r>
              <a:rPr lang="en-US" noProof="0"/>
              <a:t>Add a slide title here</a:t>
            </a:r>
            <a:endParaRPr lang="nl-NL"/>
          </a:p>
        </p:txBody>
      </p:sp>
      <p:sp>
        <p:nvSpPr>
          <p:cNvPr id="3" name="Tijdelijke aanduiding voor verticale tekst 2">
            <a:extLst>
              <a:ext uri="{FF2B5EF4-FFF2-40B4-BE49-F238E27FC236}">
                <a16:creationId xmlns:a16="http://schemas.microsoft.com/office/drawing/2014/main" id="{92E8C452-E92F-F800-9ACC-07D6A00FCD9A}"/>
              </a:ext>
            </a:extLst>
          </p:cNvPr>
          <p:cNvSpPr>
            <a:spLocks noGrp="1"/>
          </p:cNvSpPr>
          <p:nvPr>
            <p:ph type="body" orient="vert" idx="10" hasCustomPrompt="1"/>
          </p:nvPr>
        </p:nvSpPr>
        <p:spPr>
          <a:xfrm>
            <a:off x="395526" y="466960"/>
            <a:ext cx="8360570" cy="181606"/>
          </a:xfrm>
        </p:spPr>
        <p:txBody>
          <a:bodyPr vert="horz" lIns="0" tIns="0" rIns="0" bIns="0"/>
          <a:lstStyle>
            <a:lvl1pPr marL="0" indent="0">
              <a:buNone/>
              <a:defRPr sz="1050" b="1">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en-US" noProof="0"/>
              <a:t>Subtitle </a:t>
            </a:r>
          </a:p>
        </p:txBody>
      </p:sp>
    </p:spTree>
    <p:extLst>
      <p:ext uri="{BB962C8B-B14F-4D97-AF65-F5344CB8AC3E}">
        <p14:creationId xmlns:p14="http://schemas.microsoft.com/office/powerpoint/2010/main" val="4075163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dditional_Content_Slide">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17817" y="0"/>
            <a:ext cx="4186238" cy="5143500"/>
          </a:xfrm>
          <a:pattFill prst="wdDnDiag">
            <a:fgClr>
              <a:schemeClr val="accent1"/>
            </a:fgClr>
            <a:bgClr>
              <a:schemeClr val="bg1"/>
            </a:bgClr>
          </a:pattFill>
        </p:spPr>
        <p:txBody>
          <a:bodyPr anchor="ctr">
            <a:normAutofit/>
          </a:bodyPr>
          <a:lstStyle>
            <a:lvl1pPr marL="0" indent="0" algn="ctr">
              <a:buNone/>
              <a:defRPr sz="1400"/>
            </a:lvl1pPr>
          </a:lstStyle>
          <a:p>
            <a:r>
              <a:rPr lang="en-US"/>
              <a:t>Drag and Drop your picture here</a:t>
            </a:r>
          </a:p>
        </p:txBody>
      </p:sp>
      <p:sp>
        <p:nvSpPr>
          <p:cNvPr id="2" name="TextBox 1"/>
          <p:cNvSpPr txBox="1"/>
          <p:nvPr/>
        </p:nvSpPr>
        <p:spPr>
          <a:xfrm>
            <a:off x="1617133" y="152400"/>
            <a:ext cx="601134" cy="601133"/>
          </a:xfrm>
          <a:prstGeom prst="rect">
            <a:avLst/>
          </a:prstGeom>
        </p:spPr>
        <p:txBody>
          <a:bodyPr vert="horz" wrap="square" lIns="68580" tIns="34290" rIns="68580" bIns="34290" rtlCol="0" anchor="ctr">
            <a:normAutofit/>
          </a:bodyPr>
          <a:lstStyle/>
          <a:p>
            <a:pPr algn="l"/>
            <a:endParaRPr lang="en-US" sz="1500" b="1">
              <a:solidFill>
                <a:srgbClr val="EDAE00"/>
              </a:solidFill>
              <a:latin typeface="Avenir Next Bold"/>
              <a:cs typeface="Avenir Next Bold"/>
            </a:endParaRPr>
          </a:p>
        </p:txBody>
      </p:sp>
      <p:sp>
        <p:nvSpPr>
          <p:cNvPr id="21" name="Text Placeholder 2"/>
          <p:cNvSpPr>
            <a:spLocks noGrp="1"/>
          </p:cNvSpPr>
          <p:nvPr>
            <p:ph idx="16" hasCustomPrompt="1"/>
          </p:nvPr>
        </p:nvSpPr>
        <p:spPr>
          <a:xfrm>
            <a:off x="4893806" y="1635517"/>
            <a:ext cx="3564467" cy="3073406"/>
          </a:xfrm>
          <a:prstGeom prst="rect">
            <a:avLst/>
          </a:prstGeom>
        </p:spPr>
        <p:txBody>
          <a:bodyPr vert="horz" lIns="68580" tIns="34290" rIns="68580" bIns="34290" rtlCol="0">
            <a:noAutofit/>
          </a:bodyPr>
          <a:lstStyle>
            <a:lvl1pPr>
              <a:lnSpc>
                <a:spcPct val="100000"/>
              </a:lnSpc>
              <a:defRPr sz="1800">
                <a:latin typeface="Open Sans"/>
                <a:cs typeface="Open Sans"/>
              </a:defRPr>
            </a:lvl1pPr>
            <a:lvl2pPr>
              <a:lnSpc>
                <a:spcPct val="100000"/>
              </a:lnSpc>
              <a:defRPr sz="1800">
                <a:latin typeface="Open Sans"/>
                <a:cs typeface="Open Sans"/>
              </a:defRPr>
            </a:lvl2pPr>
            <a:lvl3pPr>
              <a:lnSpc>
                <a:spcPct val="100000"/>
              </a:lnSpc>
              <a:defRPr sz="1800">
                <a:latin typeface="Open Sans"/>
                <a:cs typeface="Open Sans"/>
              </a:defRPr>
            </a:lvl3pPr>
            <a:lvl4pPr>
              <a:defRPr sz="1400">
                <a:latin typeface="Open Sans"/>
                <a:cs typeface="Open Sans"/>
              </a:defRPr>
            </a:lvl4pPr>
            <a:lvl5pPr>
              <a:defRPr sz="1400">
                <a:latin typeface="Open Sans"/>
                <a:cs typeface="Open Sans"/>
              </a:defRPr>
            </a:lvl5pPr>
          </a:lstStyle>
          <a:p>
            <a:pPr lvl="0"/>
            <a:r>
              <a:rPr lang="en-US" noProof="0"/>
              <a:t>Click to edit content</a:t>
            </a:r>
          </a:p>
        </p:txBody>
      </p:sp>
      <p:sp>
        <p:nvSpPr>
          <p:cNvPr id="22" name="Text Placeholder 2"/>
          <p:cNvSpPr>
            <a:spLocks noGrp="1"/>
          </p:cNvSpPr>
          <p:nvPr>
            <p:ph idx="28" hasCustomPrompt="1"/>
          </p:nvPr>
        </p:nvSpPr>
        <p:spPr>
          <a:xfrm>
            <a:off x="4902273" y="434577"/>
            <a:ext cx="3556000" cy="740019"/>
          </a:xfrm>
          <a:prstGeom prst="rect">
            <a:avLst/>
          </a:prstGeom>
        </p:spPr>
        <p:txBody>
          <a:bodyPr vert="horz" lIns="68580" tIns="34290" rIns="68580" bIns="34290" rtlCol="0" anchor="b">
            <a:normAutofit/>
          </a:bodyPr>
          <a:lstStyle>
            <a:lvl1pPr marL="0" indent="0">
              <a:lnSpc>
                <a:spcPct val="90000"/>
              </a:lnSpc>
              <a:buNone/>
              <a:defRPr sz="3000" b="1" i="0" cap="all" baseline="0">
                <a:solidFill>
                  <a:srgbClr val="B1503A"/>
                </a:solidFill>
                <a:latin typeface="AvenirNext LT Pro Bold" panose="020B0504020202020204" pitchFamily="34" charset="77"/>
                <a:cs typeface="AvenirNext LT Pro Bold" panose="020B0504020202020204" pitchFamily="34" charset="77"/>
              </a:defRPr>
            </a:lvl1pPr>
            <a:lvl2pPr>
              <a:defRPr sz="1500">
                <a:latin typeface="Open Sans"/>
                <a:cs typeface="Open Sans"/>
              </a:defRPr>
            </a:lvl2pPr>
            <a:lvl3pPr>
              <a:defRPr sz="1300">
                <a:latin typeface="Open Sans"/>
                <a:cs typeface="Open Sans"/>
              </a:defRPr>
            </a:lvl3pPr>
            <a:lvl4pPr>
              <a:defRPr sz="1100">
                <a:latin typeface="Open Sans"/>
                <a:cs typeface="Open Sans"/>
              </a:defRPr>
            </a:lvl4pPr>
            <a:lvl5pPr>
              <a:defRPr sz="1000">
                <a:latin typeface="Open Sans"/>
                <a:cs typeface="Open Sans"/>
              </a:defRPr>
            </a:lvl5pPr>
          </a:lstStyle>
          <a:p>
            <a:pPr lvl="0"/>
            <a:r>
              <a:rPr lang="en-US" noProof="0"/>
              <a:t>Click here </a:t>
            </a:r>
          </a:p>
        </p:txBody>
      </p:sp>
      <p:sp>
        <p:nvSpPr>
          <p:cNvPr id="10" name="TextBox 1"/>
          <p:cNvSpPr txBox="1"/>
          <p:nvPr/>
        </p:nvSpPr>
        <p:spPr>
          <a:xfrm>
            <a:off x="1617133" y="152400"/>
            <a:ext cx="601134" cy="601133"/>
          </a:xfrm>
          <a:prstGeom prst="rect">
            <a:avLst/>
          </a:prstGeom>
        </p:spPr>
        <p:txBody>
          <a:bodyPr vert="horz" wrap="square" lIns="68580" tIns="34290" rIns="68580" bIns="34290" rtlCol="0" anchor="ctr">
            <a:normAutofit/>
          </a:bodyPr>
          <a:lstStyle/>
          <a:p>
            <a:pPr algn="l"/>
            <a:endParaRPr lang="en-US" sz="1500" b="1">
              <a:solidFill>
                <a:srgbClr val="EDAE00"/>
              </a:solidFill>
              <a:latin typeface="Avenir Next Bold"/>
              <a:cs typeface="Avenir Next Bold"/>
            </a:endParaRPr>
          </a:p>
        </p:txBody>
      </p:sp>
      <p:sp>
        <p:nvSpPr>
          <p:cNvPr id="9" name="TextBox 1">
            <a:extLst>
              <a:ext uri="{FF2B5EF4-FFF2-40B4-BE49-F238E27FC236}">
                <a16:creationId xmlns:a16="http://schemas.microsoft.com/office/drawing/2014/main" id="{2198EE9D-48CA-4B2F-8CB4-2BA76DF7547F}"/>
              </a:ext>
            </a:extLst>
          </p:cNvPr>
          <p:cNvSpPr txBox="1"/>
          <p:nvPr userDrawn="1"/>
        </p:nvSpPr>
        <p:spPr>
          <a:xfrm>
            <a:off x="1617133" y="152400"/>
            <a:ext cx="601134" cy="601133"/>
          </a:xfrm>
          <a:prstGeom prst="rect">
            <a:avLst/>
          </a:prstGeom>
        </p:spPr>
        <p:txBody>
          <a:bodyPr vert="horz" wrap="square" lIns="68580" tIns="34290" rIns="68580" bIns="34290" rtlCol="0" anchor="ctr">
            <a:normAutofit/>
          </a:bodyPr>
          <a:lstStyle/>
          <a:p>
            <a:pPr algn="l"/>
            <a:endParaRPr lang="en-US" sz="1500" b="1">
              <a:solidFill>
                <a:srgbClr val="EDAE00"/>
              </a:solidFill>
              <a:latin typeface="Avenir Next Bold"/>
              <a:cs typeface="Avenir Next Bold"/>
            </a:endParaRPr>
          </a:p>
        </p:txBody>
      </p:sp>
      <p:cxnSp>
        <p:nvCxnSpPr>
          <p:cNvPr id="12" name="Straight Connector 17">
            <a:extLst>
              <a:ext uri="{FF2B5EF4-FFF2-40B4-BE49-F238E27FC236}">
                <a16:creationId xmlns:a16="http://schemas.microsoft.com/office/drawing/2014/main" id="{9BB847FA-26BE-4BB3-9BBD-6E123C05F4CE}"/>
              </a:ext>
            </a:extLst>
          </p:cNvPr>
          <p:cNvCxnSpPr/>
          <p:nvPr userDrawn="1"/>
        </p:nvCxnSpPr>
        <p:spPr>
          <a:xfrm flipH="1">
            <a:off x="4919206" y="1249200"/>
            <a:ext cx="3533422" cy="0"/>
          </a:xfrm>
          <a:prstGeom prst="line">
            <a:avLst/>
          </a:prstGeom>
          <a:ln w="28575">
            <a:solidFill>
              <a:srgbClr val="B1503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94733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Quote_Slide">
    <p:spTree>
      <p:nvGrpSpPr>
        <p:cNvPr id="1" name=""/>
        <p:cNvGrpSpPr/>
        <p:nvPr/>
      </p:nvGrpSpPr>
      <p:grpSpPr>
        <a:xfrm>
          <a:off x="0" y="0"/>
          <a:ext cx="0" cy="0"/>
          <a:chOff x="0" y="0"/>
          <a:chExt cx="0" cy="0"/>
        </a:xfrm>
      </p:grpSpPr>
      <p:sp>
        <p:nvSpPr>
          <p:cNvPr id="7" name="Rectangle 6"/>
          <p:cNvSpPr/>
          <p:nvPr/>
        </p:nvSpPr>
        <p:spPr>
          <a:xfrm>
            <a:off x="-33358" y="4954988"/>
            <a:ext cx="266740" cy="192360"/>
          </a:xfrm>
          <a:prstGeom prst="rect">
            <a:avLst/>
          </a:prstGeom>
        </p:spPr>
        <p:txBody>
          <a:bodyPr wrap="none" lIns="68580" tIns="34290" rIns="68580" bIns="34290" anchor="ctr">
            <a:spAutoFit/>
          </a:bodyPr>
          <a:lstStyle/>
          <a:p>
            <a:pPr algn="ctr"/>
            <a:fld id="{5F67ED02-2E89-4859-A55B-01E9D03E868A}" type="slidenum">
              <a:rPr lang="en-US" sz="800" b="1" smtClean="0">
                <a:solidFill>
                  <a:schemeClr val="tx1"/>
                </a:solidFill>
              </a:rPr>
              <a:pPr algn="ctr"/>
              <a:t>‹#›</a:t>
            </a:fld>
            <a:endParaRPr lang="en-US" sz="800" b="1">
              <a:solidFill>
                <a:schemeClr val="tx1"/>
              </a:solidFill>
            </a:endParaRPr>
          </a:p>
        </p:txBody>
      </p:sp>
      <p:sp>
        <p:nvSpPr>
          <p:cNvPr id="5" name="Rectangle 4"/>
          <p:cNvSpPr/>
          <p:nvPr/>
        </p:nvSpPr>
        <p:spPr>
          <a:xfrm>
            <a:off x="0" y="0"/>
            <a:ext cx="9144000" cy="5143500"/>
          </a:xfrm>
          <a:prstGeom prst="rect">
            <a:avLst/>
          </a:prstGeom>
          <a:solidFill>
            <a:srgbClr val="B1503A"/>
          </a:solidFill>
          <a:ln>
            <a:solidFill>
              <a:srgbClr val="B1503A"/>
            </a:solid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sp>
        <p:nvSpPr>
          <p:cNvPr id="15" name="Title Placeholder 1"/>
          <p:cNvSpPr>
            <a:spLocks noGrp="1"/>
          </p:cNvSpPr>
          <p:nvPr>
            <p:ph type="title" hasCustomPrompt="1"/>
          </p:nvPr>
        </p:nvSpPr>
        <p:spPr>
          <a:xfrm>
            <a:off x="626178" y="498733"/>
            <a:ext cx="7886700" cy="2820200"/>
          </a:xfrm>
          <a:prstGeom prst="rect">
            <a:avLst/>
          </a:prstGeom>
        </p:spPr>
        <p:txBody>
          <a:bodyPr vert="horz" lIns="68580" tIns="34290" rIns="68580" bIns="34290" rtlCol="0" anchor="ctr">
            <a:normAutofit/>
          </a:bodyPr>
          <a:lstStyle>
            <a:lvl1pPr algn="ctr">
              <a:lnSpc>
                <a:spcPct val="110000"/>
              </a:lnSpc>
              <a:defRPr sz="2700" b="0" spc="100" baseline="0">
                <a:solidFill>
                  <a:schemeClr val="bg1"/>
                </a:solidFill>
                <a:latin typeface="Open Sans" panose="020B0606030504020204" pitchFamily="34" charset="0"/>
                <a:cs typeface="Roboto Slab Bold"/>
              </a:defRPr>
            </a:lvl1pPr>
          </a:lstStyle>
          <a:p>
            <a:r>
              <a:rPr lang="en-US" noProof="0"/>
              <a:t>Click here to edit</a:t>
            </a:r>
          </a:p>
        </p:txBody>
      </p:sp>
      <p:sp>
        <p:nvSpPr>
          <p:cNvPr id="16" name="Tijdelijke aanduiding voor tekst 13"/>
          <p:cNvSpPr>
            <a:spLocks noGrp="1"/>
          </p:cNvSpPr>
          <p:nvPr>
            <p:ph type="body" sz="quarter" idx="11" hasCustomPrompt="1"/>
          </p:nvPr>
        </p:nvSpPr>
        <p:spPr>
          <a:xfrm>
            <a:off x="2789238" y="3866248"/>
            <a:ext cx="3551237" cy="397475"/>
          </a:xfrm>
        </p:spPr>
        <p:txBody>
          <a:bodyPr>
            <a:noAutofit/>
          </a:bodyPr>
          <a:lstStyle>
            <a:lvl1pPr marL="0" indent="0" algn="ctr">
              <a:buNone/>
              <a:defRPr sz="2100" b="1" i="0" cap="all" baseline="0">
                <a:solidFill>
                  <a:schemeClr val="bg1"/>
                </a:solidFill>
                <a:latin typeface="AvenirNext LT Pro Bold" panose="020B0504020202020204" pitchFamily="34" charset="77"/>
                <a:cs typeface="AvenirNext LT Pro Bold" panose="020B0504020202020204" pitchFamily="34" charset="77"/>
              </a:defRPr>
            </a:lvl1pPr>
            <a:lvl2pPr marL="342900" indent="0" algn="ctr">
              <a:buNone/>
              <a:defRPr sz="2100" b="1">
                <a:solidFill>
                  <a:schemeClr val="bg1"/>
                </a:solidFill>
                <a:latin typeface="Avenir Next Medium"/>
                <a:cs typeface="Avenir Next Medium"/>
              </a:defRPr>
            </a:lvl2pPr>
            <a:lvl3pPr marL="685800" indent="0" algn="ctr">
              <a:buNone/>
              <a:defRPr sz="2100" b="1">
                <a:solidFill>
                  <a:schemeClr val="bg1"/>
                </a:solidFill>
                <a:latin typeface="Avenir Next Medium"/>
                <a:cs typeface="Avenir Next Medium"/>
              </a:defRPr>
            </a:lvl3pPr>
            <a:lvl4pPr marL="1028700" indent="0" algn="ctr">
              <a:buNone/>
              <a:defRPr sz="2100" b="1">
                <a:solidFill>
                  <a:schemeClr val="bg1"/>
                </a:solidFill>
                <a:latin typeface="Avenir Next Medium"/>
                <a:cs typeface="Avenir Next Medium"/>
              </a:defRPr>
            </a:lvl4pPr>
            <a:lvl5pPr marL="1371600" indent="0" algn="ctr">
              <a:buNone/>
              <a:defRPr sz="2100" b="1">
                <a:solidFill>
                  <a:schemeClr val="bg1"/>
                </a:solidFill>
                <a:latin typeface="Avenir Next Medium"/>
                <a:cs typeface="Avenir Next Medium"/>
              </a:defRPr>
            </a:lvl5pPr>
          </a:lstStyle>
          <a:p>
            <a:pPr lvl="0"/>
            <a:r>
              <a:rPr lang="en-US" sz="2100" b="1" noProof="0">
                <a:solidFill>
                  <a:srgbClr val="FFFFFF"/>
                </a:solidFill>
                <a:latin typeface="Avenir Next Regular"/>
                <a:cs typeface="Avenir Next Regular"/>
              </a:rPr>
              <a:t>CLICK HERE TO EDIT</a:t>
            </a:r>
            <a:endParaRPr lang="en-US" noProof="0"/>
          </a:p>
        </p:txBody>
      </p:sp>
      <p:cxnSp>
        <p:nvCxnSpPr>
          <p:cNvPr id="8" name="Straight Connector 8">
            <a:extLst>
              <a:ext uri="{FF2B5EF4-FFF2-40B4-BE49-F238E27FC236}">
                <a16:creationId xmlns:a16="http://schemas.microsoft.com/office/drawing/2014/main" id="{A95E1E54-DD3F-49DB-A6B1-388DC5ACB21F}"/>
              </a:ext>
            </a:extLst>
          </p:cNvPr>
          <p:cNvCxnSpPr/>
          <p:nvPr userDrawn="1"/>
        </p:nvCxnSpPr>
        <p:spPr>
          <a:xfrm>
            <a:off x="2528890" y="3879806"/>
            <a:ext cx="408622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3226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_Slide">
    <p:spTree>
      <p:nvGrpSpPr>
        <p:cNvPr id="1" name=""/>
        <p:cNvGrpSpPr/>
        <p:nvPr/>
      </p:nvGrpSpPr>
      <p:grpSpPr>
        <a:xfrm>
          <a:off x="0" y="0"/>
          <a:ext cx="0" cy="0"/>
          <a:chOff x="0" y="0"/>
          <a:chExt cx="0" cy="0"/>
        </a:xfrm>
      </p:grpSpPr>
      <p:sp>
        <p:nvSpPr>
          <p:cNvPr id="3" name="Rectangle 2"/>
          <p:cNvSpPr/>
          <p:nvPr userDrawn="1"/>
        </p:nvSpPr>
        <p:spPr>
          <a:xfrm>
            <a:off x="-33358" y="4954988"/>
            <a:ext cx="266740" cy="192360"/>
          </a:xfrm>
          <a:prstGeom prst="rect">
            <a:avLst/>
          </a:prstGeom>
        </p:spPr>
        <p:txBody>
          <a:bodyPr wrap="none" lIns="68580" tIns="34290" rIns="68580" bIns="34290" anchor="ctr">
            <a:spAutoFit/>
          </a:bodyPr>
          <a:lstStyle/>
          <a:p>
            <a:pPr algn="ctr"/>
            <a:fld id="{5F67ED02-2E89-4859-A55B-01E9D03E868A}" type="slidenum">
              <a:rPr lang="en-US" sz="800" b="1" smtClean="0">
                <a:solidFill>
                  <a:schemeClr val="tx1"/>
                </a:solidFill>
              </a:rPr>
              <a:pPr algn="ctr"/>
              <a:t>‹#›</a:t>
            </a:fld>
            <a:endParaRPr lang="en-US" sz="800" b="1">
              <a:solidFill>
                <a:schemeClr val="tx1"/>
              </a:solidFill>
            </a:endParaRPr>
          </a:p>
        </p:txBody>
      </p:sp>
      <p:sp>
        <p:nvSpPr>
          <p:cNvPr id="4" name="Rectangle 3"/>
          <p:cNvSpPr/>
          <p:nvPr userDrawn="1"/>
        </p:nvSpPr>
        <p:spPr>
          <a:xfrm>
            <a:off x="0" y="0"/>
            <a:ext cx="9144000" cy="5143500"/>
          </a:xfrm>
          <a:prstGeom prst="rect">
            <a:avLst/>
          </a:prstGeom>
          <a:solidFill>
            <a:srgbClr val="B1503A"/>
          </a:solidFill>
          <a:ln>
            <a:no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cxnSp>
        <p:nvCxnSpPr>
          <p:cNvPr id="5" name="Straight Connector 4"/>
          <p:cNvCxnSpPr/>
          <p:nvPr userDrawn="1"/>
        </p:nvCxnSpPr>
        <p:spPr>
          <a:xfrm>
            <a:off x="2528890" y="3046875"/>
            <a:ext cx="408622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itle Placeholder 1"/>
          <p:cNvSpPr>
            <a:spLocks noGrp="1"/>
          </p:cNvSpPr>
          <p:nvPr>
            <p:ph type="title" hasCustomPrompt="1"/>
          </p:nvPr>
        </p:nvSpPr>
        <p:spPr>
          <a:xfrm>
            <a:off x="626178" y="1491236"/>
            <a:ext cx="7886700" cy="1359208"/>
          </a:xfrm>
          <a:prstGeom prst="rect">
            <a:avLst/>
          </a:prstGeom>
        </p:spPr>
        <p:txBody>
          <a:bodyPr vert="horz" lIns="68580" tIns="34290" rIns="68580" bIns="34290" rtlCol="0" anchor="ctr">
            <a:normAutofit/>
          </a:bodyPr>
          <a:lstStyle>
            <a:lvl1pPr algn="ctr">
              <a:defRPr sz="3000" b="1" i="0" cap="all" baseline="0">
                <a:solidFill>
                  <a:schemeClr val="bg1"/>
                </a:solidFill>
                <a:latin typeface="AvenirNext LT Pro Bold" panose="020B0504020202020204" pitchFamily="34" charset="77"/>
                <a:cs typeface="AvenirNext LT Pro Bold" panose="020B0504020202020204" pitchFamily="34" charset="77"/>
              </a:defRPr>
            </a:lvl1pPr>
          </a:lstStyle>
          <a:p>
            <a:r>
              <a:rPr lang="en-US" noProof="0"/>
              <a:t>01. CLICK TO EDIT</a:t>
            </a:r>
          </a:p>
        </p:txBody>
      </p:sp>
    </p:spTree>
    <p:extLst>
      <p:ext uri="{BB962C8B-B14F-4D97-AF65-F5344CB8AC3E}">
        <p14:creationId xmlns:p14="http://schemas.microsoft.com/office/powerpoint/2010/main" val="31457616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basic_slide">
    <p:spTree>
      <p:nvGrpSpPr>
        <p:cNvPr id="1" name=""/>
        <p:cNvGrpSpPr/>
        <p:nvPr/>
      </p:nvGrpSpPr>
      <p:grpSpPr>
        <a:xfrm>
          <a:off x="0" y="0"/>
          <a:ext cx="0" cy="0"/>
          <a:chOff x="0" y="0"/>
          <a:chExt cx="0" cy="0"/>
        </a:xfrm>
      </p:grpSpPr>
      <p:sp>
        <p:nvSpPr>
          <p:cNvPr id="7" name="Rectangle 3"/>
          <p:cNvSpPr/>
          <p:nvPr userDrawn="1"/>
        </p:nvSpPr>
        <p:spPr>
          <a:xfrm>
            <a:off x="8122093" y="0"/>
            <a:ext cx="1021906" cy="5143500"/>
          </a:xfrm>
          <a:prstGeom prst="rect">
            <a:avLst/>
          </a:prstGeom>
          <a:solidFill>
            <a:srgbClr val="B44A31"/>
          </a:solidFill>
          <a:ln>
            <a:no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pic>
        <p:nvPicPr>
          <p:cNvPr id="2" name="Picture 1" descr="A black and orange logo&#10;&#10;Description automatically generated">
            <a:extLst>
              <a:ext uri="{FF2B5EF4-FFF2-40B4-BE49-F238E27FC236}">
                <a16:creationId xmlns:a16="http://schemas.microsoft.com/office/drawing/2014/main" id="{3E8A64D5-5F1C-942B-8CC7-EBBCF8F2032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6099" y="4693617"/>
            <a:ext cx="1315621" cy="238122"/>
          </a:xfrm>
          <a:prstGeom prst="rect">
            <a:avLst/>
          </a:prstGeom>
        </p:spPr>
      </p:pic>
    </p:spTree>
    <p:extLst>
      <p:ext uri="{BB962C8B-B14F-4D97-AF65-F5344CB8AC3E}">
        <p14:creationId xmlns:p14="http://schemas.microsoft.com/office/powerpoint/2010/main" val="979294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8_basic_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713319" y="364068"/>
            <a:ext cx="7178401" cy="558800"/>
          </a:xfrm>
          <a:prstGeom prst="rect">
            <a:avLst/>
          </a:prstGeom>
        </p:spPr>
        <p:txBody>
          <a:bodyPr vert="horz" lIns="68580" tIns="34290" rIns="68580" bIns="34290" rtlCol="0" anchor="ctr">
            <a:normAutofit/>
          </a:bodyPr>
          <a:lstStyle>
            <a:lvl1pPr>
              <a:defRPr sz="3000" b="1" i="0" cap="all" baseline="0">
                <a:solidFill>
                  <a:srgbClr val="B44A31"/>
                </a:solidFill>
                <a:latin typeface="AvenirNext LT Pro Bold" panose="020B0504020202020204" pitchFamily="34" charset="77"/>
              </a:defRPr>
            </a:lvl1pPr>
          </a:lstStyle>
          <a:p>
            <a:r>
              <a:rPr lang="en-US" noProof="0"/>
              <a:t>TITLE OF SLIDE</a:t>
            </a:r>
          </a:p>
        </p:txBody>
      </p:sp>
      <p:cxnSp>
        <p:nvCxnSpPr>
          <p:cNvPr id="12" name="Straight Connector 11"/>
          <p:cNvCxnSpPr>
            <a:cxnSpLocks/>
          </p:cNvCxnSpPr>
          <p:nvPr/>
        </p:nvCxnSpPr>
        <p:spPr>
          <a:xfrm flipH="1">
            <a:off x="791655" y="961175"/>
            <a:ext cx="2829322" cy="0"/>
          </a:xfrm>
          <a:prstGeom prst="line">
            <a:avLst/>
          </a:prstGeom>
          <a:ln w="28575">
            <a:solidFill>
              <a:srgbClr val="218455"/>
            </a:solidFill>
          </a:ln>
        </p:spPr>
        <p:style>
          <a:lnRef idx="1">
            <a:schemeClr val="accent1"/>
          </a:lnRef>
          <a:fillRef idx="0">
            <a:schemeClr val="accent1"/>
          </a:fillRef>
          <a:effectRef idx="0">
            <a:schemeClr val="accent1"/>
          </a:effectRef>
          <a:fontRef idx="minor">
            <a:schemeClr val="tx1"/>
          </a:fontRef>
        </p:style>
      </p:cxnSp>
      <p:sp>
        <p:nvSpPr>
          <p:cNvPr id="13" name="Text Placeholder 2"/>
          <p:cNvSpPr>
            <a:spLocks noGrp="1"/>
          </p:cNvSpPr>
          <p:nvPr>
            <p:ph idx="1"/>
          </p:nvPr>
        </p:nvSpPr>
        <p:spPr>
          <a:xfrm>
            <a:off x="713316" y="1369219"/>
            <a:ext cx="7172497" cy="3167339"/>
          </a:xfrm>
          <a:prstGeom prst="rect">
            <a:avLst/>
          </a:prstGeom>
        </p:spPr>
        <p:txBody>
          <a:bodyPr vert="horz" lIns="68580" tIns="34290" rIns="68580" bIns="34290" rtlCol="0">
            <a:noAutofit/>
          </a:bodyPr>
          <a:lstStyle>
            <a:lvl1pPr>
              <a:defRPr sz="1800" baseline="0">
                <a:latin typeface="Open Sans"/>
                <a:cs typeface="Open Sans"/>
              </a:defRPr>
            </a:lvl1pPr>
            <a:lvl2pPr>
              <a:defRPr sz="1800" baseline="0">
                <a:latin typeface="Open Sans"/>
                <a:cs typeface="Open Sans"/>
              </a:defRPr>
            </a:lvl2pPr>
            <a:lvl3pPr>
              <a:defRPr sz="1800" baseline="0">
                <a:latin typeface="Open Sans"/>
                <a:cs typeface="Open Sans"/>
              </a:defRPr>
            </a:lvl3pPr>
            <a:lvl4pPr>
              <a:defRPr sz="1800" baseline="0">
                <a:latin typeface="Open Sans"/>
                <a:cs typeface="Open Sans"/>
              </a:defRPr>
            </a:lvl4pPr>
            <a:lvl5pPr>
              <a:defRPr sz="1000">
                <a:latin typeface="Open Sans"/>
                <a:cs typeface="Open Sans"/>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Rectangle 3"/>
          <p:cNvSpPr/>
          <p:nvPr/>
        </p:nvSpPr>
        <p:spPr>
          <a:xfrm>
            <a:off x="8122093" y="0"/>
            <a:ext cx="1021906" cy="5143500"/>
          </a:xfrm>
          <a:prstGeom prst="rect">
            <a:avLst/>
          </a:prstGeom>
          <a:solidFill>
            <a:srgbClr val="218455"/>
          </a:solidFill>
          <a:ln>
            <a:no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cxnSp>
        <p:nvCxnSpPr>
          <p:cNvPr id="9" name="Straight Connector 11">
            <a:extLst>
              <a:ext uri="{FF2B5EF4-FFF2-40B4-BE49-F238E27FC236}">
                <a16:creationId xmlns:a16="http://schemas.microsoft.com/office/drawing/2014/main" id="{76E6C0D8-DE1E-4B94-88EA-1CD490D6F5E8}"/>
              </a:ext>
            </a:extLst>
          </p:cNvPr>
          <p:cNvCxnSpPr>
            <a:cxnSpLocks/>
          </p:cNvCxnSpPr>
          <p:nvPr userDrawn="1"/>
        </p:nvCxnSpPr>
        <p:spPr>
          <a:xfrm flipH="1">
            <a:off x="791655" y="961175"/>
            <a:ext cx="2829322" cy="0"/>
          </a:xfrm>
          <a:prstGeom prst="line">
            <a:avLst/>
          </a:prstGeom>
          <a:ln w="28575">
            <a:solidFill>
              <a:srgbClr val="B44A31"/>
            </a:solidFill>
          </a:ln>
        </p:spPr>
        <p:style>
          <a:lnRef idx="1">
            <a:schemeClr val="accent1"/>
          </a:lnRef>
          <a:fillRef idx="0">
            <a:schemeClr val="accent1"/>
          </a:fillRef>
          <a:effectRef idx="0">
            <a:schemeClr val="accent1"/>
          </a:effectRef>
          <a:fontRef idx="minor">
            <a:schemeClr val="tx1"/>
          </a:fontRef>
        </p:style>
      </p:cxnSp>
      <p:sp>
        <p:nvSpPr>
          <p:cNvPr id="10" name="Rectangle 3">
            <a:extLst>
              <a:ext uri="{FF2B5EF4-FFF2-40B4-BE49-F238E27FC236}">
                <a16:creationId xmlns:a16="http://schemas.microsoft.com/office/drawing/2014/main" id="{F548A2A8-966A-4AE8-924D-A85FB872F052}"/>
              </a:ext>
            </a:extLst>
          </p:cNvPr>
          <p:cNvSpPr/>
          <p:nvPr userDrawn="1"/>
        </p:nvSpPr>
        <p:spPr>
          <a:xfrm>
            <a:off x="8122093" y="0"/>
            <a:ext cx="1021906" cy="5143500"/>
          </a:xfrm>
          <a:prstGeom prst="rect">
            <a:avLst/>
          </a:prstGeom>
          <a:solidFill>
            <a:srgbClr val="B44A31"/>
          </a:solidFill>
          <a:ln>
            <a:no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a:p>
        </p:txBody>
      </p:sp>
      <p:pic>
        <p:nvPicPr>
          <p:cNvPr id="2" name="Picture 1" descr="A black and orange logo&#10;&#10;Description automatically generated">
            <a:extLst>
              <a:ext uri="{FF2B5EF4-FFF2-40B4-BE49-F238E27FC236}">
                <a16:creationId xmlns:a16="http://schemas.microsoft.com/office/drawing/2014/main" id="{E51AA062-4634-0794-F1FE-1A7B327F47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6099" y="4693617"/>
            <a:ext cx="1315621" cy="238122"/>
          </a:xfrm>
          <a:prstGeom prst="rect">
            <a:avLst/>
          </a:prstGeom>
        </p:spPr>
      </p:pic>
    </p:spTree>
    <p:extLst>
      <p:ext uri="{BB962C8B-B14F-4D97-AF65-F5344CB8AC3E}">
        <p14:creationId xmlns:p14="http://schemas.microsoft.com/office/powerpoint/2010/main" val="3744591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image" Target="../media/image20.emf"/><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oleObject" Target="../embeddings/oleObject1.bin"/><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1.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7"/>
            <a:ext cx="7886700" cy="994172"/>
          </a:xfrm>
          <a:prstGeom prst="rect">
            <a:avLst/>
          </a:prstGeom>
        </p:spPr>
        <p:txBody>
          <a:bodyPr vert="horz" lIns="68580" tIns="34290" rIns="68580" bIns="34290" rtlCol="0" anchor="ctr">
            <a:normAutofit/>
          </a:bodyPr>
          <a:lstStyle/>
          <a:p>
            <a:r>
              <a:rPr lang="en-US" noProof="0"/>
              <a:t>FSSC PowerPoint Template</a:t>
            </a:r>
          </a:p>
        </p:txBody>
      </p:sp>
      <p:sp>
        <p:nvSpPr>
          <p:cNvPr id="3" name="Text Placeholder 2"/>
          <p:cNvSpPr>
            <a:spLocks noGrp="1"/>
          </p:cNvSpPr>
          <p:nvPr>
            <p:ph type="body" idx="1"/>
          </p:nvPr>
        </p:nvSpPr>
        <p:spPr>
          <a:xfrm>
            <a:off x="628650" y="1369219"/>
            <a:ext cx="7886700" cy="3263504"/>
          </a:xfrm>
          <a:prstGeom prst="rect">
            <a:avLst/>
          </a:prstGeom>
        </p:spPr>
        <p:txBody>
          <a:bodyPr vert="horz" lIns="68580" tIns="34290" rIns="68580" bIns="34290" rtlCol="0">
            <a:normAutofit/>
          </a:bodyPr>
          <a:lstStyle/>
          <a:p>
            <a:pPr lvl="0"/>
            <a:endParaRPr lang="en-US" noProof="0"/>
          </a:p>
        </p:txBody>
      </p:sp>
    </p:spTree>
    <p:extLst>
      <p:ext uri="{BB962C8B-B14F-4D97-AF65-F5344CB8AC3E}">
        <p14:creationId xmlns:p14="http://schemas.microsoft.com/office/powerpoint/2010/main" val="664740756"/>
      </p:ext>
    </p:extLst>
  </p:cSld>
  <p:clrMap bg1="lt1" tx1="dk1" bg2="lt2" tx2="dk2" accent1="accent1" accent2="accent2" accent3="accent3" accent4="accent4" accent5="accent5" accent6="accent6" hlink="hlink" folHlink="folHlink"/>
  <p:sldLayoutIdLst>
    <p:sldLayoutId id="2147483902" r:id="rId1"/>
    <p:sldLayoutId id="2147483879" r:id="rId2"/>
    <p:sldLayoutId id="2147483880" r:id="rId3"/>
    <p:sldLayoutId id="2147483881" r:id="rId4"/>
    <p:sldLayoutId id="2147483903" r:id="rId5"/>
    <p:sldLayoutId id="2147483882" r:id="rId6"/>
    <p:sldLayoutId id="2147483889" r:id="rId7"/>
    <p:sldLayoutId id="2147483896" r:id="rId8"/>
    <p:sldLayoutId id="2147483897" r:id="rId9"/>
    <p:sldLayoutId id="2147483898" r:id="rId10"/>
    <p:sldLayoutId id="2147483899" r:id="rId11"/>
    <p:sldLayoutId id="2147483884" r:id="rId12"/>
    <p:sldLayoutId id="2147483891" r:id="rId13"/>
    <p:sldLayoutId id="2147483904" r:id="rId14"/>
    <p:sldLayoutId id="2147483893" r:id="rId15"/>
    <p:sldLayoutId id="2147483901" r:id="rId16"/>
    <p:sldLayoutId id="2147483939" r:id="rId17"/>
    <p:sldLayoutId id="2147483944" r:id="rId18"/>
    <p:sldLayoutId id="2147483945" r:id="rId19"/>
  </p:sldLayoutIdLst>
  <p:txStyles>
    <p:titleStyle>
      <a:lvl1pPr algn="l" defTabSz="685800" rtl="0" eaLnBrk="1" latinLnBrk="0" hangingPunct="1">
        <a:lnSpc>
          <a:spcPct val="90000"/>
        </a:lnSpc>
        <a:spcBef>
          <a:spcPct val="0"/>
        </a:spcBef>
        <a:buNone/>
        <a:defRPr sz="3300" b="1" kern="1200">
          <a:solidFill>
            <a:schemeClr val="tx1"/>
          </a:solidFill>
          <a:latin typeface="Avenir Next Bold"/>
          <a:ea typeface="+mj-ea"/>
          <a:cs typeface="Avenir Next Bold"/>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Open Sans"/>
          <a:ea typeface="+mn-ea"/>
          <a:cs typeface="Open San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a:ea typeface="+mn-ea"/>
          <a:cs typeface="Open San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Open Sans"/>
          <a:ea typeface="+mn-ea"/>
          <a:cs typeface="Open San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Open Sans"/>
          <a:ea typeface="+mn-ea"/>
          <a:cs typeface="Open San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Open Sans"/>
          <a:ea typeface="+mn-ea"/>
          <a:cs typeface="Open San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81AB4800-B715-2902-E6CF-51395F8F2301}"/>
              </a:ext>
            </a:extLst>
          </p:cNvPr>
          <p:cNvGraphicFramePr>
            <a:graphicFrameLocks noChangeAspect="1"/>
          </p:cNvGraphicFramePr>
          <p:nvPr userDrawn="1">
            <p:custDataLst>
              <p:tags r:id="rId23"/>
            </p:custDataLst>
            <p:extLst>
              <p:ext uri="{D42A27DB-BD31-4B8C-83A1-F6EECF244321}">
                <p14:modId xmlns:p14="http://schemas.microsoft.com/office/powerpoint/2010/main" val="27748975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4" imgW="359" imgH="355" progId="TCLayout.ActiveDocument.1">
                  <p:embed/>
                </p:oleObj>
              </mc:Choice>
              <mc:Fallback>
                <p:oleObj name="think-cell Slide" r:id="rId24" imgW="359" imgH="355" progId="TCLayout.ActiveDocument.1">
                  <p:embed/>
                  <p:pic>
                    <p:nvPicPr>
                      <p:cNvPr id="18" name="think-cell data - do not delete" hidden="1">
                        <a:extLst>
                          <a:ext uri="{FF2B5EF4-FFF2-40B4-BE49-F238E27FC236}">
                            <a16:creationId xmlns:a16="http://schemas.microsoft.com/office/drawing/2014/main" id="{81AB4800-B715-2902-E6CF-51395F8F2301}"/>
                          </a:ext>
                        </a:extLst>
                      </p:cNvPr>
                      <p:cNvPicPr/>
                      <p:nvPr/>
                    </p:nvPicPr>
                    <p:blipFill>
                      <a:blip r:embed="rId25"/>
                      <a:stretch>
                        <a:fillRect/>
                      </a:stretch>
                    </p:blipFill>
                    <p:spPr>
                      <a:xfrm>
                        <a:off x="1191" y="1191"/>
                        <a:ext cx="1191" cy="1191"/>
                      </a:xfrm>
                      <a:prstGeom prst="rect">
                        <a:avLst/>
                      </a:prstGeom>
                    </p:spPr>
                  </p:pic>
                </p:oleObj>
              </mc:Fallback>
            </mc:AlternateContent>
          </a:graphicData>
        </a:graphic>
      </p:graphicFrame>
      <p:sp>
        <p:nvSpPr>
          <p:cNvPr id="5" name="Vrije vorm: vorm 4">
            <a:extLst>
              <a:ext uri="{FF2B5EF4-FFF2-40B4-BE49-F238E27FC236}">
                <a16:creationId xmlns:a16="http://schemas.microsoft.com/office/drawing/2014/main" id="{32CE6233-7F51-474F-BF64-CA433B885B4D}"/>
              </a:ext>
            </a:extLst>
          </p:cNvPr>
          <p:cNvSpPr/>
          <p:nvPr userDrawn="1"/>
        </p:nvSpPr>
        <p:spPr>
          <a:xfrm>
            <a:off x="-9523" y="4436521"/>
            <a:ext cx="9155309" cy="706979"/>
          </a:xfrm>
          <a:custGeom>
            <a:avLst/>
            <a:gdLst>
              <a:gd name="connsiteX0" fmla="*/ 0 w 2809875"/>
              <a:gd name="connsiteY0" fmla="*/ 0 h 133350"/>
              <a:gd name="connsiteX1" fmla="*/ 269875 w 2809875"/>
              <a:gd name="connsiteY1" fmla="*/ 6350 h 133350"/>
              <a:gd name="connsiteX2" fmla="*/ 790575 w 2809875"/>
              <a:gd name="connsiteY2" fmla="*/ 6350 h 133350"/>
              <a:gd name="connsiteX3" fmla="*/ 1362075 w 2809875"/>
              <a:gd name="connsiteY3" fmla="*/ 9525 h 133350"/>
              <a:gd name="connsiteX4" fmla="*/ 1616075 w 2809875"/>
              <a:gd name="connsiteY4" fmla="*/ 9525 h 133350"/>
              <a:gd name="connsiteX5" fmla="*/ 1787525 w 2809875"/>
              <a:gd name="connsiteY5" fmla="*/ 28575 h 133350"/>
              <a:gd name="connsiteX6" fmla="*/ 2057400 w 2809875"/>
              <a:gd name="connsiteY6" fmla="*/ 69850 h 133350"/>
              <a:gd name="connsiteX7" fmla="*/ 2251075 w 2809875"/>
              <a:gd name="connsiteY7" fmla="*/ 98425 h 133350"/>
              <a:gd name="connsiteX8" fmla="*/ 2451100 w 2809875"/>
              <a:gd name="connsiteY8" fmla="*/ 117475 h 133350"/>
              <a:gd name="connsiteX9" fmla="*/ 2613025 w 2809875"/>
              <a:gd name="connsiteY9" fmla="*/ 123825 h 133350"/>
              <a:gd name="connsiteX10" fmla="*/ 2724150 w 2809875"/>
              <a:gd name="connsiteY10" fmla="*/ 133350 h 133350"/>
              <a:gd name="connsiteX11" fmla="*/ 2809875 w 2809875"/>
              <a:gd name="connsiteY11" fmla="*/ 130175 h 133350"/>
              <a:gd name="connsiteX0" fmla="*/ 0 w 2724150"/>
              <a:gd name="connsiteY0" fmla="*/ 0 h 133350"/>
              <a:gd name="connsiteX1" fmla="*/ 269875 w 2724150"/>
              <a:gd name="connsiteY1" fmla="*/ 6350 h 133350"/>
              <a:gd name="connsiteX2" fmla="*/ 790575 w 2724150"/>
              <a:gd name="connsiteY2" fmla="*/ 6350 h 133350"/>
              <a:gd name="connsiteX3" fmla="*/ 1362075 w 2724150"/>
              <a:gd name="connsiteY3" fmla="*/ 9525 h 133350"/>
              <a:gd name="connsiteX4" fmla="*/ 1616075 w 2724150"/>
              <a:gd name="connsiteY4" fmla="*/ 9525 h 133350"/>
              <a:gd name="connsiteX5" fmla="*/ 1787525 w 2724150"/>
              <a:gd name="connsiteY5" fmla="*/ 28575 h 133350"/>
              <a:gd name="connsiteX6" fmla="*/ 2057400 w 2724150"/>
              <a:gd name="connsiteY6" fmla="*/ 69850 h 133350"/>
              <a:gd name="connsiteX7" fmla="*/ 2251075 w 2724150"/>
              <a:gd name="connsiteY7" fmla="*/ 98425 h 133350"/>
              <a:gd name="connsiteX8" fmla="*/ 2451100 w 2724150"/>
              <a:gd name="connsiteY8" fmla="*/ 117475 h 133350"/>
              <a:gd name="connsiteX9" fmla="*/ 2613025 w 2724150"/>
              <a:gd name="connsiteY9" fmla="*/ 123825 h 133350"/>
              <a:gd name="connsiteX10" fmla="*/ 2724150 w 2724150"/>
              <a:gd name="connsiteY10" fmla="*/ 133350 h 133350"/>
              <a:gd name="connsiteX0" fmla="*/ 0 w 2974975"/>
              <a:gd name="connsiteY0" fmla="*/ 0 h 123825"/>
              <a:gd name="connsiteX1" fmla="*/ 269875 w 2974975"/>
              <a:gd name="connsiteY1" fmla="*/ 6350 h 123825"/>
              <a:gd name="connsiteX2" fmla="*/ 790575 w 2974975"/>
              <a:gd name="connsiteY2" fmla="*/ 6350 h 123825"/>
              <a:gd name="connsiteX3" fmla="*/ 1362075 w 2974975"/>
              <a:gd name="connsiteY3" fmla="*/ 9525 h 123825"/>
              <a:gd name="connsiteX4" fmla="*/ 1616075 w 2974975"/>
              <a:gd name="connsiteY4" fmla="*/ 9525 h 123825"/>
              <a:gd name="connsiteX5" fmla="*/ 1787525 w 2974975"/>
              <a:gd name="connsiteY5" fmla="*/ 28575 h 123825"/>
              <a:gd name="connsiteX6" fmla="*/ 2057400 w 2974975"/>
              <a:gd name="connsiteY6" fmla="*/ 69850 h 123825"/>
              <a:gd name="connsiteX7" fmla="*/ 2251075 w 2974975"/>
              <a:gd name="connsiteY7" fmla="*/ 98425 h 123825"/>
              <a:gd name="connsiteX8" fmla="*/ 2451100 w 2974975"/>
              <a:gd name="connsiteY8" fmla="*/ 117475 h 123825"/>
              <a:gd name="connsiteX9" fmla="*/ 2613025 w 2974975"/>
              <a:gd name="connsiteY9" fmla="*/ 123825 h 123825"/>
              <a:gd name="connsiteX10" fmla="*/ 2974975 w 2974975"/>
              <a:gd name="connsiteY10" fmla="*/ 117475 h 123825"/>
              <a:gd name="connsiteX0" fmla="*/ 0 w 2974975"/>
              <a:gd name="connsiteY0" fmla="*/ 0 h 129628"/>
              <a:gd name="connsiteX1" fmla="*/ 269875 w 2974975"/>
              <a:gd name="connsiteY1" fmla="*/ 6350 h 129628"/>
              <a:gd name="connsiteX2" fmla="*/ 790575 w 2974975"/>
              <a:gd name="connsiteY2" fmla="*/ 6350 h 129628"/>
              <a:gd name="connsiteX3" fmla="*/ 1362075 w 2974975"/>
              <a:gd name="connsiteY3" fmla="*/ 9525 h 129628"/>
              <a:gd name="connsiteX4" fmla="*/ 1616075 w 2974975"/>
              <a:gd name="connsiteY4" fmla="*/ 9525 h 129628"/>
              <a:gd name="connsiteX5" fmla="*/ 1787525 w 2974975"/>
              <a:gd name="connsiteY5" fmla="*/ 28575 h 129628"/>
              <a:gd name="connsiteX6" fmla="*/ 2057400 w 2974975"/>
              <a:gd name="connsiteY6" fmla="*/ 69850 h 129628"/>
              <a:gd name="connsiteX7" fmla="*/ 2251075 w 2974975"/>
              <a:gd name="connsiteY7" fmla="*/ 98425 h 129628"/>
              <a:gd name="connsiteX8" fmla="*/ 2451100 w 2974975"/>
              <a:gd name="connsiteY8" fmla="*/ 117475 h 129628"/>
              <a:gd name="connsiteX9" fmla="*/ 2613025 w 2974975"/>
              <a:gd name="connsiteY9" fmla="*/ 123825 h 129628"/>
              <a:gd name="connsiteX10" fmla="*/ 2974975 w 2974975"/>
              <a:gd name="connsiteY10" fmla="*/ 117475 h 129628"/>
              <a:gd name="connsiteX0" fmla="*/ 0 w 2999202"/>
              <a:gd name="connsiteY0" fmla="*/ 0 h 129628"/>
              <a:gd name="connsiteX1" fmla="*/ 269875 w 2999202"/>
              <a:gd name="connsiteY1" fmla="*/ 6350 h 129628"/>
              <a:gd name="connsiteX2" fmla="*/ 790575 w 2999202"/>
              <a:gd name="connsiteY2" fmla="*/ 6350 h 129628"/>
              <a:gd name="connsiteX3" fmla="*/ 1362075 w 2999202"/>
              <a:gd name="connsiteY3" fmla="*/ 9525 h 129628"/>
              <a:gd name="connsiteX4" fmla="*/ 1616075 w 2999202"/>
              <a:gd name="connsiteY4" fmla="*/ 9525 h 129628"/>
              <a:gd name="connsiteX5" fmla="*/ 1787525 w 2999202"/>
              <a:gd name="connsiteY5" fmla="*/ 28575 h 129628"/>
              <a:gd name="connsiteX6" fmla="*/ 2057400 w 2999202"/>
              <a:gd name="connsiteY6" fmla="*/ 69850 h 129628"/>
              <a:gd name="connsiteX7" fmla="*/ 2251075 w 2999202"/>
              <a:gd name="connsiteY7" fmla="*/ 98425 h 129628"/>
              <a:gd name="connsiteX8" fmla="*/ 2451100 w 2999202"/>
              <a:gd name="connsiteY8" fmla="*/ 117475 h 129628"/>
              <a:gd name="connsiteX9" fmla="*/ 2613025 w 2999202"/>
              <a:gd name="connsiteY9" fmla="*/ 123825 h 129628"/>
              <a:gd name="connsiteX10" fmla="*/ 2974975 w 2999202"/>
              <a:gd name="connsiteY10" fmla="*/ 117475 h 129628"/>
              <a:gd name="connsiteX11" fmla="*/ 2965450 w 2999202"/>
              <a:gd name="connsiteY11" fmla="*/ 111125 h 129628"/>
              <a:gd name="connsiteX0" fmla="*/ 0 w 4064002"/>
              <a:gd name="connsiteY0" fmla="*/ 82550 h 212178"/>
              <a:gd name="connsiteX1" fmla="*/ 269875 w 4064002"/>
              <a:gd name="connsiteY1" fmla="*/ 88900 h 212178"/>
              <a:gd name="connsiteX2" fmla="*/ 790575 w 4064002"/>
              <a:gd name="connsiteY2" fmla="*/ 88900 h 212178"/>
              <a:gd name="connsiteX3" fmla="*/ 1362075 w 4064002"/>
              <a:gd name="connsiteY3" fmla="*/ 92075 h 212178"/>
              <a:gd name="connsiteX4" fmla="*/ 1616075 w 4064002"/>
              <a:gd name="connsiteY4" fmla="*/ 92075 h 212178"/>
              <a:gd name="connsiteX5" fmla="*/ 1787525 w 4064002"/>
              <a:gd name="connsiteY5" fmla="*/ 111125 h 212178"/>
              <a:gd name="connsiteX6" fmla="*/ 2057400 w 4064002"/>
              <a:gd name="connsiteY6" fmla="*/ 152400 h 212178"/>
              <a:gd name="connsiteX7" fmla="*/ 2251075 w 4064002"/>
              <a:gd name="connsiteY7" fmla="*/ 180975 h 212178"/>
              <a:gd name="connsiteX8" fmla="*/ 2451100 w 4064002"/>
              <a:gd name="connsiteY8" fmla="*/ 200025 h 212178"/>
              <a:gd name="connsiteX9" fmla="*/ 2613025 w 4064002"/>
              <a:gd name="connsiteY9" fmla="*/ 206375 h 212178"/>
              <a:gd name="connsiteX10" fmla="*/ 2974975 w 4064002"/>
              <a:gd name="connsiteY10" fmla="*/ 200025 h 212178"/>
              <a:gd name="connsiteX11" fmla="*/ 4064000 w 4064002"/>
              <a:gd name="connsiteY11" fmla="*/ 0 h 212178"/>
              <a:gd name="connsiteX0" fmla="*/ 0 w 4244977"/>
              <a:gd name="connsiteY0" fmla="*/ 117475 h 247103"/>
              <a:gd name="connsiteX1" fmla="*/ 269875 w 4244977"/>
              <a:gd name="connsiteY1" fmla="*/ 123825 h 247103"/>
              <a:gd name="connsiteX2" fmla="*/ 790575 w 4244977"/>
              <a:gd name="connsiteY2" fmla="*/ 123825 h 247103"/>
              <a:gd name="connsiteX3" fmla="*/ 1362075 w 4244977"/>
              <a:gd name="connsiteY3" fmla="*/ 127000 h 247103"/>
              <a:gd name="connsiteX4" fmla="*/ 1616075 w 4244977"/>
              <a:gd name="connsiteY4" fmla="*/ 127000 h 247103"/>
              <a:gd name="connsiteX5" fmla="*/ 1787525 w 4244977"/>
              <a:gd name="connsiteY5" fmla="*/ 146050 h 247103"/>
              <a:gd name="connsiteX6" fmla="*/ 2057400 w 4244977"/>
              <a:gd name="connsiteY6" fmla="*/ 187325 h 247103"/>
              <a:gd name="connsiteX7" fmla="*/ 2251075 w 4244977"/>
              <a:gd name="connsiteY7" fmla="*/ 215900 h 247103"/>
              <a:gd name="connsiteX8" fmla="*/ 2451100 w 4244977"/>
              <a:gd name="connsiteY8" fmla="*/ 234950 h 247103"/>
              <a:gd name="connsiteX9" fmla="*/ 2613025 w 4244977"/>
              <a:gd name="connsiteY9" fmla="*/ 241300 h 247103"/>
              <a:gd name="connsiteX10" fmla="*/ 2974975 w 4244977"/>
              <a:gd name="connsiteY10" fmla="*/ 234950 h 247103"/>
              <a:gd name="connsiteX11" fmla="*/ 4244975 w 4244977"/>
              <a:gd name="connsiteY11" fmla="*/ 0 h 247103"/>
              <a:gd name="connsiteX0" fmla="*/ 0 w 4244977"/>
              <a:gd name="connsiteY0" fmla="*/ 117475 h 247103"/>
              <a:gd name="connsiteX1" fmla="*/ 269875 w 4244977"/>
              <a:gd name="connsiteY1" fmla="*/ 123825 h 247103"/>
              <a:gd name="connsiteX2" fmla="*/ 790575 w 4244977"/>
              <a:gd name="connsiteY2" fmla="*/ 123825 h 247103"/>
              <a:gd name="connsiteX3" fmla="*/ 1362075 w 4244977"/>
              <a:gd name="connsiteY3" fmla="*/ 127000 h 247103"/>
              <a:gd name="connsiteX4" fmla="*/ 1616075 w 4244977"/>
              <a:gd name="connsiteY4" fmla="*/ 127000 h 247103"/>
              <a:gd name="connsiteX5" fmla="*/ 1787525 w 4244977"/>
              <a:gd name="connsiteY5" fmla="*/ 146050 h 247103"/>
              <a:gd name="connsiteX6" fmla="*/ 2057400 w 4244977"/>
              <a:gd name="connsiteY6" fmla="*/ 187325 h 247103"/>
              <a:gd name="connsiteX7" fmla="*/ 2251075 w 4244977"/>
              <a:gd name="connsiteY7" fmla="*/ 215900 h 247103"/>
              <a:gd name="connsiteX8" fmla="*/ 2451100 w 4244977"/>
              <a:gd name="connsiteY8" fmla="*/ 234950 h 247103"/>
              <a:gd name="connsiteX9" fmla="*/ 2613025 w 4244977"/>
              <a:gd name="connsiteY9" fmla="*/ 241300 h 247103"/>
              <a:gd name="connsiteX10" fmla="*/ 2974975 w 4244977"/>
              <a:gd name="connsiteY10" fmla="*/ 234950 h 247103"/>
              <a:gd name="connsiteX11" fmla="*/ 4244975 w 4244977"/>
              <a:gd name="connsiteY11" fmla="*/ 0 h 247103"/>
              <a:gd name="connsiteX0" fmla="*/ 0 w 4089402"/>
              <a:gd name="connsiteY0" fmla="*/ 85725 h 215353"/>
              <a:gd name="connsiteX1" fmla="*/ 269875 w 4089402"/>
              <a:gd name="connsiteY1" fmla="*/ 92075 h 215353"/>
              <a:gd name="connsiteX2" fmla="*/ 790575 w 4089402"/>
              <a:gd name="connsiteY2" fmla="*/ 92075 h 215353"/>
              <a:gd name="connsiteX3" fmla="*/ 1362075 w 4089402"/>
              <a:gd name="connsiteY3" fmla="*/ 95250 h 215353"/>
              <a:gd name="connsiteX4" fmla="*/ 1616075 w 4089402"/>
              <a:gd name="connsiteY4" fmla="*/ 95250 h 215353"/>
              <a:gd name="connsiteX5" fmla="*/ 1787525 w 4089402"/>
              <a:gd name="connsiteY5" fmla="*/ 114300 h 215353"/>
              <a:gd name="connsiteX6" fmla="*/ 2057400 w 4089402"/>
              <a:gd name="connsiteY6" fmla="*/ 155575 h 215353"/>
              <a:gd name="connsiteX7" fmla="*/ 2251075 w 4089402"/>
              <a:gd name="connsiteY7" fmla="*/ 184150 h 215353"/>
              <a:gd name="connsiteX8" fmla="*/ 2451100 w 4089402"/>
              <a:gd name="connsiteY8" fmla="*/ 203200 h 215353"/>
              <a:gd name="connsiteX9" fmla="*/ 2613025 w 4089402"/>
              <a:gd name="connsiteY9" fmla="*/ 209550 h 215353"/>
              <a:gd name="connsiteX10" fmla="*/ 2974975 w 4089402"/>
              <a:gd name="connsiteY10" fmla="*/ 203200 h 215353"/>
              <a:gd name="connsiteX11" fmla="*/ 4089400 w 4089402"/>
              <a:gd name="connsiteY11" fmla="*/ 0 h 215353"/>
              <a:gd name="connsiteX0" fmla="*/ 0 w 4076702"/>
              <a:gd name="connsiteY0" fmla="*/ 92075 h 221703"/>
              <a:gd name="connsiteX1" fmla="*/ 269875 w 4076702"/>
              <a:gd name="connsiteY1" fmla="*/ 98425 h 221703"/>
              <a:gd name="connsiteX2" fmla="*/ 790575 w 4076702"/>
              <a:gd name="connsiteY2" fmla="*/ 98425 h 221703"/>
              <a:gd name="connsiteX3" fmla="*/ 1362075 w 4076702"/>
              <a:gd name="connsiteY3" fmla="*/ 101600 h 221703"/>
              <a:gd name="connsiteX4" fmla="*/ 1616075 w 4076702"/>
              <a:gd name="connsiteY4" fmla="*/ 101600 h 221703"/>
              <a:gd name="connsiteX5" fmla="*/ 1787525 w 4076702"/>
              <a:gd name="connsiteY5" fmla="*/ 120650 h 221703"/>
              <a:gd name="connsiteX6" fmla="*/ 2057400 w 4076702"/>
              <a:gd name="connsiteY6" fmla="*/ 161925 h 221703"/>
              <a:gd name="connsiteX7" fmla="*/ 2251075 w 4076702"/>
              <a:gd name="connsiteY7" fmla="*/ 190500 h 221703"/>
              <a:gd name="connsiteX8" fmla="*/ 2451100 w 4076702"/>
              <a:gd name="connsiteY8" fmla="*/ 209550 h 221703"/>
              <a:gd name="connsiteX9" fmla="*/ 2613025 w 4076702"/>
              <a:gd name="connsiteY9" fmla="*/ 215900 h 221703"/>
              <a:gd name="connsiteX10" fmla="*/ 2974975 w 4076702"/>
              <a:gd name="connsiteY10" fmla="*/ 209550 h 221703"/>
              <a:gd name="connsiteX11" fmla="*/ 4076700 w 4076702"/>
              <a:gd name="connsiteY11" fmla="*/ 0 h 221703"/>
              <a:gd name="connsiteX0" fmla="*/ 0 w 4157403"/>
              <a:gd name="connsiteY0" fmla="*/ 106715 h 236343"/>
              <a:gd name="connsiteX1" fmla="*/ 269875 w 4157403"/>
              <a:gd name="connsiteY1" fmla="*/ 113065 h 236343"/>
              <a:gd name="connsiteX2" fmla="*/ 790575 w 4157403"/>
              <a:gd name="connsiteY2" fmla="*/ 113065 h 236343"/>
              <a:gd name="connsiteX3" fmla="*/ 1362075 w 4157403"/>
              <a:gd name="connsiteY3" fmla="*/ 116240 h 236343"/>
              <a:gd name="connsiteX4" fmla="*/ 1616075 w 4157403"/>
              <a:gd name="connsiteY4" fmla="*/ 116240 h 236343"/>
              <a:gd name="connsiteX5" fmla="*/ 1787525 w 4157403"/>
              <a:gd name="connsiteY5" fmla="*/ 135290 h 236343"/>
              <a:gd name="connsiteX6" fmla="*/ 2057400 w 4157403"/>
              <a:gd name="connsiteY6" fmla="*/ 176565 h 236343"/>
              <a:gd name="connsiteX7" fmla="*/ 2251075 w 4157403"/>
              <a:gd name="connsiteY7" fmla="*/ 205140 h 236343"/>
              <a:gd name="connsiteX8" fmla="*/ 2451100 w 4157403"/>
              <a:gd name="connsiteY8" fmla="*/ 224190 h 236343"/>
              <a:gd name="connsiteX9" fmla="*/ 2613025 w 4157403"/>
              <a:gd name="connsiteY9" fmla="*/ 230540 h 236343"/>
              <a:gd name="connsiteX10" fmla="*/ 2974975 w 4157403"/>
              <a:gd name="connsiteY10" fmla="*/ 224190 h 236343"/>
              <a:gd name="connsiteX11" fmla="*/ 4076700 w 4157403"/>
              <a:gd name="connsiteY11" fmla="*/ 14640 h 236343"/>
              <a:gd name="connsiteX12" fmla="*/ 4073524 w 4157403"/>
              <a:gd name="connsiteY12" fmla="*/ 17816 h 236343"/>
              <a:gd name="connsiteX0" fmla="*/ 0 w 4314829"/>
              <a:gd name="connsiteY0" fmla="*/ 113169 h 242797"/>
              <a:gd name="connsiteX1" fmla="*/ 269875 w 4314829"/>
              <a:gd name="connsiteY1" fmla="*/ 119519 h 242797"/>
              <a:gd name="connsiteX2" fmla="*/ 790575 w 4314829"/>
              <a:gd name="connsiteY2" fmla="*/ 119519 h 242797"/>
              <a:gd name="connsiteX3" fmla="*/ 1362075 w 4314829"/>
              <a:gd name="connsiteY3" fmla="*/ 122694 h 242797"/>
              <a:gd name="connsiteX4" fmla="*/ 1616075 w 4314829"/>
              <a:gd name="connsiteY4" fmla="*/ 122694 h 242797"/>
              <a:gd name="connsiteX5" fmla="*/ 1787525 w 4314829"/>
              <a:gd name="connsiteY5" fmla="*/ 141744 h 242797"/>
              <a:gd name="connsiteX6" fmla="*/ 2057400 w 4314829"/>
              <a:gd name="connsiteY6" fmla="*/ 183019 h 242797"/>
              <a:gd name="connsiteX7" fmla="*/ 2251075 w 4314829"/>
              <a:gd name="connsiteY7" fmla="*/ 211594 h 242797"/>
              <a:gd name="connsiteX8" fmla="*/ 2451100 w 4314829"/>
              <a:gd name="connsiteY8" fmla="*/ 230644 h 242797"/>
              <a:gd name="connsiteX9" fmla="*/ 2613025 w 4314829"/>
              <a:gd name="connsiteY9" fmla="*/ 236994 h 242797"/>
              <a:gd name="connsiteX10" fmla="*/ 2974975 w 4314829"/>
              <a:gd name="connsiteY10" fmla="*/ 230644 h 242797"/>
              <a:gd name="connsiteX11" fmla="*/ 4076700 w 4314829"/>
              <a:gd name="connsiteY11" fmla="*/ 21094 h 242797"/>
              <a:gd name="connsiteX12" fmla="*/ 4314824 w 4314829"/>
              <a:gd name="connsiteY12" fmla="*/ 5220 h 242797"/>
              <a:gd name="connsiteX0" fmla="*/ 0 w 4334399"/>
              <a:gd name="connsiteY0" fmla="*/ 113169 h 242797"/>
              <a:gd name="connsiteX1" fmla="*/ 269875 w 4334399"/>
              <a:gd name="connsiteY1" fmla="*/ 119519 h 242797"/>
              <a:gd name="connsiteX2" fmla="*/ 790575 w 4334399"/>
              <a:gd name="connsiteY2" fmla="*/ 119519 h 242797"/>
              <a:gd name="connsiteX3" fmla="*/ 1362075 w 4334399"/>
              <a:gd name="connsiteY3" fmla="*/ 122694 h 242797"/>
              <a:gd name="connsiteX4" fmla="*/ 1616075 w 4334399"/>
              <a:gd name="connsiteY4" fmla="*/ 122694 h 242797"/>
              <a:gd name="connsiteX5" fmla="*/ 1787525 w 4334399"/>
              <a:gd name="connsiteY5" fmla="*/ 141744 h 242797"/>
              <a:gd name="connsiteX6" fmla="*/ 2057400 w 4334399"/>
              <a:gd name="connsiteY6" fmla="*/ 183019 h 242797"/>
              <a:gd name="connsiteX7" fmla="*/ 2251075 w 4334399"/>
              <a:gd name="connsiteY7" fmla="*/ 211594 h 242797"/>
              <a:gd name="connsiteX8" fmla="*/ 2451100 w 4334399"/>
              <a:gd name="connsiteY8" fmla="*/ 230644 h 242797"/>
              <a:gd name="connsiteX9" fmla="*/ 2613025 w 4334399"/>
              <a:gd name="connsiteY9" fmla="*/ 236994 h 242797"/>
              <a:gd name="connsiteX10" fmla="*/ 2974975 w 4334399"/>
              <a:gd name="connsiteY10" fmla="*/ 230644 h 242797"/>
              <a:gd name="connsiteX11" fmla="*/ 4076700 w 4334399"/>
              <a:gd name="connsiteY11" fmla="*/ 21094 h 242797"/>
              <a:gd name="connsiteX12" fmla="*/ 4314824 w 4334399"/>
              <a:gd name="connsiteY12" fmla="*/ 5220 h 242797"/>
              <a:gd name="connsiteX13" fmla="*/ 4321174 w 4334399"/>
              <a:gd name="connsiteY13" fmla="*/ 8395 h 242797"/>
              <a:gd name="connsiteX0" fmla="*/ 0 w 4648199"/>
              <a:gd name="connsiteY0" fmla="*/ 113169 h 242797"/>
              <a:gd name="connsiteX1" fmla="*/ 269875 w 4648199"/>
              <a:gd name="connsiteY1" fmla="*/ 119519 h 242797"/>
              <a:gd name="connsiteX2" fmla="*/ 790575 w 4648199"/>
              <a:gd name="connsiteY2" fmla="*/ 119519 h 242797"/>
              <a:gd name="connsiteX3" fmla="*/ 1362075 w 4648199"/>
              <a:gd name="connsiteY3" fmla="*/ 122694 h 242797"/>
              <a:gd name="connsiteX4" fmla="*/ 1616075 w 4648199"/>
              <a:gd name="connsiteY4" fmla="*/ 122694 h 242797"/>
              <a:gd name="connsiteX5" fmla="*/ 1787525 w 4648199"/>
              <a:gd name="connsiteY5" fmla="*/ 141744 h 242797"/>
              <a:gd name="connsiteX6" fmla="*/ 2057400 w 4648199"/>
              <a:gd name="connsiteY6" fmla="*/ 183019 h 242797"/>
              <a:gd name="connsiteX7" fmla="*/ 2251075 w 4648199"/>
              <a:gd name="connsiteY7" fmla="*/ 211594 h 242797"/>
              <a:gd name="connsiteX8" fmla="*/ 2451100 w 4648199"/>
              <a:gd name="connsiteY8" fmla="*/ 230644 h 242797"/>
              <a:gd name="connsiteX9" fmla="*/ 2613025 w 4648199"/>
              <a:gd name="connsiteY9" fmla="*/ 236994 h 242797"/>
              <a:gd name="connsiteX10" fmla="*/ 2974975 w 4648199"/>
              <a:gd name="connsiteY10" fmla="*/ 230644 h 242797"/>
              <a:gd name="connsiteX11" fmla="*/ 4076700 w 4648199"/>
              <a:gd name="connsiteY11" fmla="*/ 21094 h 242797"/>
              <a:gd name="connsiteX12" fmla="*/ 4314824 w 4648199"/>
              <a:gd name="connsiteY12" fmla="*/ 5220 h 242797"/>
              <a:gd name="connsiteX13" fmla="*/ 4648199 w 4648199"/>
              <a:gd name="connsiteY13" fmla="*/ 68720 h 242797"/>
              <a:gd name="connsiteX0" fmla="*/ 0 w 4673824"/>
              <a:gd name="connsiteY0" fmla="*/ 113169 h 242797"/>
              <a:gd name="connsiteX1" fmla="*/ 269875 w 4673824"/>
              <a:gd name="connsiteY1" fmla="*/ 119519 h 242797"/>
              <a:gd name="connsiteX2" fmla="*/ 790575 w 4673824"/>
              <a:gd name="connsiteY2" fmla="*/ 119519 h 242797"/>
              <a:gd name="connsiteX3" fmla="*/ 1362075 w 4673824"/>
              <a:gd name="connsiteY3" fmla="*/ 122694 h 242797"/>
              <a:gd name="connsiteX4" fmla="*/ 1616075 w 4673824"/>
              <a:gd name="connsiteY4" fmla="*/ 122694 h 242797"/>
              <a:gd name="connsiteX5" fmla="*/ 1787525 w 4673824"/>
              <a:gd name="connsiteY5" fmla="*/ 141744 h 242797"/>
              <a:gd name="connsiteX6" fmla="*/ 2057400 w 4673824"/>
              <a:gd name="connsiteY6" fmla="*/ 183019 h 242797"/>
              <a:gd name="connsiteX7" fmla="*/ 2251075 w 4673824"/>
              <a:gd name="connsiteY7" fmla="*/ 211594 h 242797"/>
              <a:gd name="connsiteX8" fmla="*/ 2451100 w 4673824"/>
              <a:gd name="connsiteY8" fmla="*/ 230644 h 242797"/>
              <a:gd name="connsiteX9" fmla="*/ 2613025 w 4673824"/>
              <a:gd name="connsiteY9" fmla="*/ 236994 h 242797"/>
              <a:gd name="connsiteX10" fmla="*/ 2974975 w 4673824"/>
              <a:gd name="connsiteY10" fmla="*/ 230644 h 242797"/>
              <a:gd name="connsiteX11" fmla="*/ 4076700 w 4673824"/>
              <a:gd name="connsiteY11" fmla="*/ 21094 h 242797"/>
              <a:gd name="connsiteX12" fmla="*/ 4314824 w 4673824"/>
              <a:gd name="connsiteY12" fmla="*/ 5220 h 242797"/>
              <a:gd name="connsiteX13" fmla="*/ 4648199 w 4673824"/>
              <a:gd name="connsiteY13" fmla="*/ 68720 h 242797"/>
              <a:gd name="connsiteX14" fmla="*/ 4651374 w 4673824"/>
              <a:gd name="connsiteY14" fmla="*/ 65545 h 242797"/>
              <a:gd name="connsiteX0" fmla="*/ 0 w 4908549"/>
              <a:gd name="connsiteY0" fmla="*/ 113169 h 242797"/>
              <a:gd name="connsiteX1" fmla="*/ 269875 w 4908549"/>
              <a:gd name="connsiteY1" fmla="*/ 119519 h 242797"/>
              <a:gd name="connsiteX2" fmla="*/ 790575 w 4908549"/>
              <a:gd name="connsiteY2" fmla="*/ 119519 h 242797"/>
              <a:gd name="connsiteX3" fmla="*/ 1362075 w 4908549"/>
              <a:gd name="connsiteY3" fmla="*/ 122694 h 242797"/>
              <a:gd name="connsiteX4" fmla="*/ 1616075 w 4908549"/>
              <a:gd name="connsiteY4" fmla="*/ 122694 h 242797"/>
              <a:gd name="connsiteX5" fmla="*/ 1787525 w 4908549"/>
              <a:gd name="connsiteY5" fmla="*/ 141744 h 242797"/>
              <a:gd name="connsiteX6" fmla="*/ 2057400 w 4908549"/>
              <a:gd name="connsiteY6" fmla="*/ 183019 h 242797"/>
              <a:gd name="connsiteX7" fmla="*/ 2251075 w 4908549"/>
              <a:gd name="connsiteY7" fmla="*/ 211594 h 242797"/>
              <a:gd name="connsiteX8" fmla="*/ 2451100 w 4908549"/>
              <a:gd name="connsiteY8" fmla="*/ 230644 h 242797"/>
              <a:gd name="connsiteX9" fmla="*/ 2613025 w 4908549"/>
              <a:gd name="connsiteY9" fmla="*/ 236994 h 242797"/>
              <a:gd name="connsiteX10" fmla="*/ 2974975 w 4908549"/>
              <a:gd name="connsiteY10" fmla="*/ 230644 h 242797"/>
              <a:gd name="connsiteX11" fmla="*/ 4076700 w 4908549"/>
              <a:gd name="connsiteY11" fmla="*/ 21094 h 242797"/>
              <a:gd name="connsiteX12" fmla="*/ 4314824 w 4908549"/>
              <a:gd name="connsiteY12" fmla="*/ 5220 h 242797"/>
              <a:gd name="connsiteX13" fmla="*/ 4648199 w 4908549"/>
              <a:gd name="connsiteY13" fmla="*/ 68720 h 242797"/>
              <a:gd name="connsiteX14" fmla="*/ 4908549 w 4908549"/>
              <a:gd name="connsiteY14" fmla="*/ 87770 h 242797"/>
              <a:gd name="connsiteX0" fmla="*/ 0 w 4926104"/>
              <a:gd name="connsiteY0" fmla="*/ 113169 h 242797"/>
              <a:gd name="connsiteX1" fmla="*/ 269875 w 4926104"/>
              <a:gd name="connsiteY1" fmla="*/ 119519 h 242797"/>
              <a:gd name="connsiteX2" fmla="*/ 790575 w 4926104"/>
              <a:gd name="connsiteY2" fmla="*/ 119519 h 242797"/>
              <a:gd name="connsiteX3" fmla="*/ 1362075 w 4926104"/>
              <a:gd name="connsiteY3" fmla="*/ 122694 h 242797"/>
              <a:gd name="connsiteX4" fmla="*/ 1616075 w 4926104"/>
              <a:gd name="connsiteY4" fmla="*/ 122694 h 242797"/>
              <a:gd name="connsiteX5" fmla="*/ 1787525 w 4926104"/>
              <a:gd name="connsiteY5" fmla="*/ 141744 h 242797"/>
              <a:gd name="connsiteX6" fmla="*/ 2057400 w 4926104"/>
              <a:gd name="connsiteY6" fmla="*/ 183019 h 242797"/>
              <a:gd name="connsiteX7" fmla="*/ 2251075 w 4926104"/>
              <a:gd name="connsiteY7" fmla="*/ 211594 h 242797"/>
              <a:gd name="connsiteX8" fmla="*/ 2451100 w 4926104"/>
              <a:gd name="connsiteY8" fmla="*/ 230644 h 242797"/>
              <a:gd name="connsiteX9" fmla="*/ 2613025 w 4926104"/>
              <a:gd name="connsiteY9" fmla="*/ 236994 h 242797"/>
              <a:gd name="connsiteX10" fmla="*/ 2974975 w 4926104"/>
              <a:gd name="connsiteY10" fmla="*/ 230644 h 242797"/>
              <a:gd name="connsiteX11" fmla="*/ 4076700 w 4926104"/>
              <a:gd name="connsiteY11" fmla="*/ 21094 h 242797"/>
              <a:gd name="connsiteX12" fmla="*/ 4314824 w 4926104"/>
              <a:gd name="connsiteY12" fmla="*/ 5220 h 242797"/>
              <a:gd name="connsiteX13" fmla="*/ 4648199 w 4926104"/>
              <a:gd name="connsiteY13" fmla="*/ 68720 h 242797"/>
              <a:gd name="connsiteX14" fmla="*/ 4908549 w 4926104"/>
              <a:gd name="connsiteY14" fmla="*/ 87770 h 242797"/>
              <a:gd name="connsiteX15" fmla="*/ 4902198 w 4926104"/>
              <a:gd name="connsiteY15" fmla="*/ 90945 h 242797"/>
              <a:gd name="connsiteX0" fmla="*/ 0 w 6118224"/>
              <a:gd name="connsiteY0" fmla="*/ 113169 h 242797"/>
              <a:gd name="connsiteX1" fmla="*/ 269875 w 6118224"/>
              <a:gd name="connsiteY1" fmla="*/ 119519 h 242797"/>
              <a:gd name="connsiteX2" fmla="*/ 790575 w 6118224"/>
              <a:gd name="connsiteY2" fmla="*/ 119519 h 242797"/>
              <a:gd name="connsiteX3" fmla="*/ 1362075 w 6118224"/>
              <a:gd name="connsiteY3" fmla="*/ 122694 h 242797"/>
              <a:gd name="connsiteX4" fmla="*/ 1616075 w 6118224"/>
              <a:gd name="connsiteY4" fmla="*/ 122694 h 242797"/>
              <a:gd name="connsiteX5" fmla="*/ 1787525 w 6118224"/>
              <a:gd name="connsiteY5" fmla="*/ 141744 h 242797"/>
              <a:gd name="connsiteX6" fmla="*/ 2057400 w 6118224"/>
              <a:gd name="connsiteY6" fmla="*/ 183019 h 242797"/>
              <a:gd name="connsiteX7" fmla="*/ 2251075 w 6118224"/>
              <a:gd name="connsiteY7" fmla="*/ 211594 h 242797"/>
              <a:gd name="connsiteX8" fmla="*/ 2451100 w 6118224"/>
              <a:gd name="connsiteY8" fmla="*/ 230644 h 242797"/>
              <a:gd name="connsiteX9" fmla="*/ 2613025 w 6118224"/>
              <a:gd name="connsiteY9" fmla="*/ 236994 h 242797"/>
              <a:gd name="connsiteX10" fmla="*/ 2974975 w 6118224"/>
              <a:gd name="connsiteY10" fmla="*/ 230644 h 242797"/>
              <a:gd name="connsiteX11" fmla="*/ 4076700 w 6118224"/>
              <a:gd name="connsiteY11" fmla="*/ 21094 h 242797"/>
              <a:gd name="connsiteX12" fmla="*/ 4314824 w 6118224"/>
              <a:gd name="connsiteY12" fmla="*/ 5220 h 242797"/>
              <a:gd name="connsiteX13" fmla="*/ 4648199 w 6118224"/>
              <a:gd name="connsiteY13" fmla="*/ 68720 h 242797"/>
              <a:gd name="connsiteX14" fmla="*/ 4908549 w 6118224"/>
              <a:gd name="connsiteY14" fmla="*/ 87770 h 242797"/>
              <a:gd name="connsiteX15" fmla="*/ 6118223 w 6118224"/>
              <a:gd name="connsiteY15" fmla="*/ 87770 h 242797"/>
              <a:gd name="connsiteX0" fmla="*/ 0 w 12214223"/>
              <a:gd name="connsiteY0" fmla="*/ 113169 h 242797"/>
              <a:gd name="connsiteX1" fmla="*/ 269875 w 12214223"/>
              <a:gd name="connsiteY1" fmla="*/ 119519 h 242797"/>
              <a:gd name="connsiteX2" fmla="*/ 790575 w 12214223"/>
              <a:gd name="connsiteY2" fmla="*/ 119519 h 242797"/>
              <a:gd name="connsiteX3" fmla="*/ 1362075 w 12214223"/>
              <a:gd name="connsiteY3" fmla="*/ 122694 h 242797"/>
              <a:gd name="connsiteX4" fmla="*/ 1616075 w 12214223"/>
              <a:gd name="connsiteY4" fmla="*/ 122694 h 242797"/>
              <a:gd name="connsiteX5" fmla="*/ 1787525 w 12214223"/>
              <a:gd name="connsiteY5" fmla="*/ 141744 h 242797"/>
              <a:gd name="connsiteX6" fmla="*/ 2057400 w 12214223"/>
              <a:gd name="connsiteY6" fmla="*/ 183019 h 242797"/>
              <a:gd name="connsiteX7" fmla="*/ 2251075 w 12214223"/>
              <a:gd name="connsiteY7" fmla="*/ 211594 h 242797"/>
              <a:gd name="connsiteX8" fmla="*/ 2451100 w 12214223"/>
              <a:gd name="connsiteY8" fmla="*/ 230644 h 242797"/>
              <a:gd name="connsiteX9" fmla="*/ 2613025 w 12214223"/>
              <a:gd name="connsiteY9" fmla="*/ 236994 h 242797"/>
              <a:gd name="connsiteX10" fmla="*/ 2974975 w 12214223"/>
              <a:gd name="connsiteY10" fmla="*/ 230644 h 242797"/>
              <a:gd name="connsiteX11" fmla="*/ 4076700 w 12214223"/>
              <a:gd name="connsiteY11" fmla="*/ 21094 h 242797"/>
              <a:gd name="connsiteX12" fmla="*/ 4314824 w 12214223"/>
              <a:gd name="connsiteY12" fmla="*/ 5220 h 242797"/>
              <a:gd name="connsiteX13" fmla="*/ 4648199 w 12214223"/>
              <a:gd name="connsiteY13" fmla="*/ 68720 h 242797"/>
              <a:gd name="connsiteX14" fmla="*/ 4908549 w 12214223"/>
              <a:gd name="connsiteY14" fmla="*/ 87770 h 242797"/>
              <a:gd name="connsiteX15" fmla="*/ 12214223 w 12214223"/>
              <a:gd name="connsiteY15" fmla="*/ 125870 h 242797"/>
              <a:gd name="connsiteX0" fmla="*/ 0 w 12204698"/>
              <a:gd name="connsiteY0" fmla="*/ 113169 h 242797"/>
              <a:gd name="connsiteX1" fmla="*/ 269875 w 12204698"/>
              <a:gd name="connsiteY1" fmla="*/ 119519 h 242797"/>
              <a:gd name="connsiteX2" fmla="*/ 790575 w 12204698"/>
              <a:gd name="connsiteY2" fmla="*/ 119519 h 242797"/>
              <a:gd name="connsiteX3" fmla="*/ 1362075 w 12204698"/>
              <a:gd name="connsiteY3" fmla="*/ 122694 h 242797"/>
              <a:gd name="connsiteX4" fmla="*/ 1616075 w 12204698"/>
              <a:gd name="connsiteY4" fmla="*/ 122694 h 242797"/>
              <a:gd name="connsiteX5" fmla="*/ 1787525 w 12204698"/>
              <a:gd name="connsiteY5" fmla="*/ 141744 h 242797"/>
              <a:gd name="connsiteX6" fmla="*/ 2057400 w 12204698"/>
              <a:gd name="connsiteY6" fmla="*/ 183019 h 242797"/>
              <a:gd name="connsiteX7" fmla="*/ 2251075 w 12204698"/>
              <a:gd name="connsiteY7" fmla="*/ 211594 h 242797"/>
              <a:gd name="connsiteX8" fmla="*/ 2451100 w 12204698"/>
              <a:gd name="connsiteY8" fmla="*/ 230644 h 242797"/>
              <a:gd name="connsiteX9" fmla="*/ 2613025 w 12204698"/>
              <a:gd name="connsiteY9" fmla="*/ 236994 h 242797"/>
              <a:gd name="connsiteX10" fmla="*/ 2974975 w 12204698"/>
              <a:gd name="connsiteY10" fmla="*/ 230644 h 242797"/>
              <a:gd name="connsiteX11" fmla="*/ 4076700 w 12204698"/>
              <a:gd name="connsiteY11" fmla="*/ 21094 h 242797"/>
              <a:gd name="connsiteX12" fmla="*/ 4314824 w 12204698"/>
              <a:gd name="connsiteY12" fmla="*/ 5220 h 242797"/>
              <a:gd name="connsiteX13" fmla="*/ 4648199 w 12204698"/>
              <a:gd name="connsiteY13" fmla="*/ 68720 h 242797"/>
              <a:gd name="connsiteX14" fmla="*/ 4908549 w 12204698"/>
              <a:gd name="connsiteY14" fmla="*/ 87770 h 242797"/>
              <a:gd name="connsiteX15" fmla="*/ 12204698 w 12204698"/>
              <a:gd name="connsiteY15" fmla="*/ 106820 h 242797"/>
              <a:gd name="connsiteX0" fmla="*/ 0 w 12742427"/>
              <a:gd name="connsiteY0" fmla="*/ 113169 h 242797"/>
              <a:gd name="connsiteX1" fmla="*/ 269875 w 12742427"/>
              <a:gd name="connsiteY1" fmla="*/ 119519 h 242797"/>
              <a:gd name="connsiteX2" fmla="*/ 790575 w 12742427"/>
              <a:gd name="connsiteY2" fmla="*/ 119519 h 242797"/>
              <a:gd name="connsiteX3" fmla="*/ 1362075 w 12742427"/>
              <a:gd name="connsiteY3" fmla="*/ 122694 h 242797"/>
              <a:gd name="connsiteX4" fmla="*/ 1616075 w 12742427"/>
              <a:gd name="connsiteY4" fmla="*/ 122694 h 242797"/>
              <a:gd name="connsiteX5" fmla="*/ 1787525 w 12742427"/>
              <a:gd name="connsiteY5" fmla="*/ 141744 h 242797"/>
              <a:gd name="connsiteX6" fmla="*/ 2057400 w 12742427"/>
              <a:gd name="connsiteY6" fmla="*/ 183019 h 242797"/>
              <a:gd name="connsiteX7" fmla="*/ 2251075 w 12742427"/>
              <a:gd name="connsiteY7" fmla="*/ 211594 h 242797"/>
              <a:gd name="connsiteX8" fmla="*/ 2451100 w 12742427"/>
              <a:gd name="connsiteY8" fmla="*/ 230644 h 242797"/>
              <a:gd name="connsiteX9" fmla="*/ 2613025 w 12742427"/>
              <a:gd name="connsiteY9" fmla="*/ 236994 h 242797"/>
              <a:gd name="connsiteX10" fmla="*/ 2974975 w 12742427"/>
              <a:gd name="connsiteY10" fmla="*/ 230644 h 242797"/>
              <a:gd name="connsiteX11" fmla="*/ 4076700 w 12742427"/>
              <a:gd name="connsiteY11" fmla="*/ 21094 h 242797"/>
              <a:gd name="connsiteX12" fmla="*/ 4314824 w 12742427"/>
              <a:gd name="connsiteY12" fmla="*/ 5220 h 242797"/>
              <a:gd name="connsiteX13" fmla="*/ 4648199 w 12742427"/>
              <a:gd name="connsiteY13" fmla="*/ 68720 h 242797"/>
              <a:gd name="connsiteX14" fmla="*/ 4908549 w 12742427"/>
              <a:gd name="connsiteY14" fmla="*/ 87770 h 242797"/>
              <a:gd name="connsiteX15" fmla="*/ 12204698 w 12742427"/>
              <a:gd name="connsiteY15" fmla="*/ 106820 h 242797"/>
              <a:gd name="connsiteX16" fmla="*/ 12195172 w 12742427"/>
              <a:gd name="connsiteY16" fmla="*/ 97295 h 242797"/>
              <a:gd name="connsiteX0" fmla="*/ 0 w 12744888"/>
              <a:gd name="connsiteY0" fmla="*/ 113169 h 906923"/>
              <a:gd name="connsiteX1" fmla="*/ 269875 w 12744888"/>
              <a:gd name="connsiteY1" fmla="*/ 119519 h 906923"/>
              <a:gd name="connsiteX2" fmla="*/ 790575 w 12744888"/>
              <a:gd name="connsiteY2" fmla="*/ 119519 h 906923"/>
              <a:gd name="connsiteX3" fmla="*/ 1362075 w 12744888"/>
              <a:gd name="connsiteY3" fmla="*/ 122694 h 906923"/>
              <a:gd name="connsiteX4" fmla="*/ 1616075 w 12744888"/>
              <a:gd name="connsiteY4" fmla="*/ 122694 h 906923"/>
              <a:gd name="connsiteX5" fmla="*/ 1787525 w 12744888"/>
              <a:gd name="connsiteY5" fmla="*/ 141744 h 906923"/>
              <a:gd name="connsiteX6" fmla="*/ 2057400 w 12744888"/>
              <a:gd name="connsiteY6" fmla="*/ 183019 h 906923"/>
              <a:gd name="connsiteX7" fmla="*/ 2251075 w 12744888"/>
              <a:gd name="connsiteY7" fmla="*/ 211594 h 906923"/>
              <a:gd name="connsiteX8" fmla="*/ 2451100 w 12744888"/>
              <a:gd name="connsiteY8" fmla="*/ 230644 h 906923"/>
              <a:gd name="connsiteX9" fmla="*/ 2613025 w 12744888"/>
              <a:gd name="connsiteY9" fmla="*/ 236994 h 906923"/>
              <a:gd name="connsiteX10" fmla="*/ 2974975 w 12744888"/>
              <a:gd name="connsiteY10" fmla="*/ 230644 h 906923"/>
              <a:gd name="connsiteX11" fmla="*/ 4076700 w 12744888"/>
              <a:gd name="connsiteY11" fmla="*/ 21094 h 906923"/>
              <a:gd name="connsiteX12" fmla="*/ 4314824 w 12744888"/>
              <a:gd name="connsiteY12" fmla="*/ 5220 h 906923"/>
              <a:gd name="connsiteX13" fmla="*/ 4648199 w 12744888"/>
              <a:gd name="connsiteY13" fmla="*/ 68720 h 906923"/>
              <a:gd name="connsiteX14" fmla="*/ 4908549 w 12744888"/>
              <a:gd name="connsiteY14" fmla="*/ 87770 h 906923"/>
              <a:gd name="connsiteX15" fmla="*/ 12204698 w 12744888"/>
              <a:gd name="connsiteY15" fmla="*/ 106820 h 906923"/>
              <a:gd name="connsiteX16" fmla="*/ 12204697 w 12744888"/>
              <a:gd name="connsiteY16" fmla="*/ 906920 h 906923"/>
              <a:gd name="connsiteX0" fmla="*/ 0 w 12742427"/>
              <a:gd name="connsiteY0" fmla="*/ 113169 h 906923"/>
              <a:gd name="connsiteX1" fmla="*/ 269875 w 12742427"/>
              <a:gd name="connsiteY1" fmla="*/ 119519 h 906923"/>
              <a:gd name="connsiteX2" fmla="*/ 790575 w 12742427"/>
              <a:gd name="connsiteY2" fmla="*/ 119519 h 906923"/>
              <a:gd name="connsiteX3" fmla="*/ 1362075 w 12742427"/>
              <a:gd name="connsiteY3" fmla="*/ 122694 h 906923"/>
              <a:gd name="connsiteX4" fmla="*/ 1616075 w 12742427"/>
              <a:gd name="connsiteY4" fmla="*/ 122694 h 906923"/>
              <a:gd name="connsiteX5" fmla="*/ 1787525 w 12742427"/>
              <a:gd name="connsiteY5" fmla="*/ 141744 h 906923"/>
              <a:gd name="connsiteX6" fmla="*/ 2057400 w 12742427"/>
              <a:gd name="connsiteY6" fmla="*/ 183019 h 906923"/>
              <a:gd name="connsiteX7" fmla="*/ 2251075 w 12742427"/>
              <a:gd name="connsiteY7" fmla="*/ 211594 h 906923"/>
              <a:gd name="connsiteX8" fmla="*/ 2451100 w 12742427"/>
              <a:gd name="connsiteY8" fmla="*/ 230644 h 906923"/>
              <a:gd name="connsiteX9" fmla="*/ 2613025 w 12742427"/>
              <a:gd name="connsiteY9" fmla="*/ 236994 h 906923"/>
              <a:gd name="connsiteX10" fmla="*/ 2974975 w 12742427"/>
              <a:gd name="connsiteY10" fmla="*/ 230644 h 906923"/>
              <a:gd name="connsiteX11" fmla="*/ 4076700 w 12742427"/>
              <a:gd name="connsiteY11" fmla="*/ 21094 h 906923"/>
              <a:gd name="connsiteX12" fmla="*/ 4314824 w 12742427"/>
              <a:gd name="connsiteY12" fmla="*/ 5220 h 906923"/>
              <a:gd name="connsiteX13" fmla="*/ 4648199 w 12742427"/>
              <a:gd name="connsiteY13" fmla="*/ 68720 h 906923"/>
              <a:gd name="connsiteX14" fmla="*/ 4908549 w 12742427"/>
              <a:gd name="connsiteY14" fmla="*/ 87770 h 906923"/>
              <a:gd name="connsiteX15" fmla="*/ 12204698 w 12742427"/>
              <a:gd name="connsiteY15" fmla="*/ 106820 h 906923"/>
              <a:gd name="connsiteX16" fmla="*/ 12195172 w 12742427"/>
              <a:gd name="connsiteY16" fmla="*/ 906920 h 906923"/>
              <a:gd name="connsiteX0" fmla="*/ 0 w 12742427"/>
              <a:gd name="connsiteY0" fmla="*/ 113169 h 906923"/>
              <a:gd name="connsiteX1" fmla="*/ 269875 w 12742427"/>
              <a:gd name="connsiteY1" fmla="*/ 119519 h 906923"/>
              <a:gd name="connsiteX2" fmla="*/ 790575 w 12742427"/>
              <a:gd name="connsiteY2" fmla="*/ 119519 h 906923"/>
              <a:gd name="connsiteX3" fmla="*/ 1362075 w 12742427"/>
              <a:gd name="connsiteY3" fmla="*/ 122694 h 906923"/>
              <a:gd name="connsiteX4" fmla="*/ 1616075 w 12742427"/>
              <a:gd name="connsiteY4" fmla="*/ 122694 h 906923"/>
              <a:gd name="connsiteX5" fmla="*/ 1787525 w 12742427"/>
              <a:gd name="connsiteY5" fmla="*/ 141744 h 906923"/>
              <a:gd name="connsiteX6" fmla="*/ 2057400 w 12742427"/>
              <a:gd name="connsiteY6" fmla="*/ 183019 h 906923"/>
              <a:gd name="connsiteX7" fmla="*/ 2251075 w 12742427"/>
              <a:gd name="connsiteY7" fmla="*/ 211594 h 906923"/>
              <a:gd name="connsiteX8" fmla="*/ 2451100 w 12742427"/>
              <a:gd name="connsiteY8" fmla="*/ 230644 h 906923"/>
              <a:gd name="connsiteX9" fmla="*/ 2613025 w 12742427"/>
              <a:gd name="connsiteY9" fmla="*/ 236994 h 906923"/>
              <a:gd name="connsiteX10" fmla="*/ 2974975 w 12742427"/>
              <a:gd name="connsiteY10" fmla="*/ 230644 h 906923"/>
              <a:gd name="connsiteX11" fmla="*/ 4076700 w 12742427"/>
              <a:gd name="connsiteY11" fmla="*/ 21094 h 906923"/>
              <a:gd name="connsiteX12" fmla="*/ 4314824 w 12742427"/>
              <a:gd name="connsiteY12" fmla="*/ 5220 h 906923"/>
              <a:gd name="connsiteX13" fmla="*/ 4648199 w 12742427"/>
              <a:gd name="connsiteY13" fmla="*/ 68720 h 906923"/>
              <a:gd name="connsiteX14" fmla="*/ 4908549 w 12742427"/>
              <a:gd name="connsiteY14" fmla="*/ 87770 h 906923"/>
              <a:gd name="connsiteX15" fmla="*/ 12204698 w 12742427"/>
              <a:gd name="connsiteY15" fmla="*/ 106820 h 906923"/>
              <a:gd name="connsiteX16" fmla="*/ 12195172 w 12742427"/>
              <a:gd name="connsiteY16" fmla="*/ 906920 h 906923"/>
              <a:gd name="connsiteX0" fmla="*/ 0 w 12742427"/>
              <a:gd name="connsiteY0" fmla="*/ 113169 h 906923"/>
              <a:gd name="connsiteX1" fmla="*/ 269875 w 12742427"/>
              <a:gd name="connsiteY1" fmla="*/ 119519 h 906923"/>
              <a:gd name="connsiteX2" fmla="*/ 790575 w 12742427"/>
              <a:gd name="connsiteY2" fmla="*/ 119519 h 906923"/>
              <a:gd name="connsiteX3" fmla="*/ 1362075 w 12742427"/>
              <a:gd name="connsiteY3" fmla="*/ 122694 h 906923"/>
              <a:gd name="connsiteX4" fmla="*/ 1616075 w 12742427"/>
              <a:gd name="connsiteY4" fmla="*/ 122694 h 906923"/>
              <a:gd name="connsiteX5" fmla="*/ 1787525 w 12742427"/>
              <a:gd name="connsiteY5" fmla="*/ 141744 h 906923"/>
              <a:gd name="connsiteX6" fmla="*/ 2057400 w 12742427"/>
              <a:gd name="connsiteY6" fmla="*/ 183019 h 906923"/>
              <a:gd name="connsiteX7" fmla="*/ 2251075 w 12742427"/>
              <a:gd name="connsiteY7" fmla="*/ 211594 h 906923"/>
              <a:gd name="connsiteX8" fmla="*/ 2451100 w 12742427"/>
              <a:gd name="connsiteY8" fmla="*/ 230644 h 906923"/>
              <a:gd name="connsiteX9" fmla="*/ 2613025 w 12742427"/>
              <a:gd name="connsiteY9" fmla="*/ 236994 h 906923"/>
              <a:gd name="connsiteX10" fmla="*/ 2974975 w 12742427"/>
              <a:gd name="connsiteY10" fmla="*/ 230644 h 906923"/>
              <a:gd name="connsiteX11" fmla="*/ 4076700 w 12742427"/>
              <a:gd name="connsiteY11" fmla="*/ 21094 h 906923"/>
              <a:gd name="connsiteX12" fmla="*/ 4314824 w 12742427"/>
              <a:gd name="connsiteY12" fmla="*/ 5220 h 906923"/>
              <a:gd name="connsiteX13" fmla="*/ 4648199 w 12742427"/>
              <a:gd name="connsiteY13" fmla="*/ 68720 h 906923"/>
              <a:gd name="connsiteX14" fmla="*/ 4908549 w 12742427"/>
              <a:gd name="connsiteY14" fmla="*/ 87770 h 906923"/>
              <a:gd name="connsiteX15" fmla="*/ 12204698 w 12742427"/>
              <a:gd name="connsiteY15" fmla="*/ 106820 h 906923"/>
              <a:gd name="connsiteX16" fmla="*/ 12195172 w 12742427"/>
              <a:gd name="connsiteY16" fmla="*/ 906920 h 906923"/>
              <a:gd name="connsiteX0" fmla="*/ 0 w 12209518"/>
              <a:gd name="connsiteY0" fmla="*/ 113169 h 906933"/>
              <a:gd name="connsiteX1" fmla="*/ 269875 w 12209518"/>
              <a:gd name="connsiteY1" fmla="*/ 119519 h 906933"/>
              <a:gd name="connsiteX2" fmla="*/ 790575 w 12209518"/>
              <a:gd name="connsiteY2" fmla="*/ 119519 h 906933"/>
              <a:gd name="connsiteX3" fmla="*/ 1362075 w 12209518"/>
              <a:gd name="connsiteY3" fmla="*/ 122694 h 906933"/>
              <a:gd name="connsiteX4" fmla="*/ 1616075 w 12209518"/>
              <a:gd name="connsiteY4" fmla="*/ 122694 h 906933"/>
              <a:gd name="connsiteX5" fmla="*/ 1787525 w 12209518"/>
              <a:gd name="connsiteY5" fmla="*/ 141744 h 906933"/>
              <a:gd name="connsiteX6" fmla="*/ 2057400 w 12209518"/>
              <a:gd name="connsiteY6" fmla="*/ 183019 h 906933"/>
              <a:gd name="connsiteX7" fmla="*/ 2251075 w 12209518"/>
              <a:gd name="connsiteY7" fmla="*/ 211594 h 906933"/>
              <a:gd name="connsiteX8" fmla="*/ 2451100 w 12209518"/>
              <a:gd name="connsiteY8" fmla="*/ 230644 h 906933"/>
              <a:gd name="connsiteX9" fmla="*/ 2613025 w 12209518"/>
              <a:gd name="connsiteY9" fmla="*/ 236994 h 906933"/>
              <a:gd name="connsiteX10" fmla="*/ 2974975 w 12209518"/>
              <a:gd name="connsiteY10" fmla="*/ 230644 h 906933"/>
              <a:gd name="connsiteX11" fmla="*/ 4076700 w 12209518"/>
              <a:gd name="connsiteY11" fmla="*/ 21094 h 906933"/>
              <a:gd name="connsiteX12" fmla="*/ 4314824 w 12209518"/>
              <a:gd name="connsiteY12" fmla="*/ 5220 h 906933"/>
              <a:gd name="connsiteX13" fmla="*/ 4648199 w 12209518"/>
              <a:gd name="connsiteY13" fmla="*/ 68720 h 906933"/>
              <a:gd name="connsiteX14" fmla="*/ 4908549 w 12209518"/>
              <a:gd name="connsiteY14" fmla="*/ 87770 h 906933"/>
              <a:gd name="connsiteX15" fmla="*/ 12204698 w 12209518"/>
              <a:gd name="connsiteY15" fmla="*/ 106820 h 906933"/>
              <a:gd name="connsiteX16" fmla="*/ 12195172 w 12209518"/>
              <a:gd name="connsiteY16" fmla="*/ 906920 h 906933"/>
              <a:gd name="connsiteX0" fmla="*/ 0 w 12204698"/>
              <a:gd name="connsiteY0" fmla="*/ 113169 h 906920"/>
              <a:gd name="connsiteX1" fmla="*/ 269875 w 12204698"/>
              <a:gd name="connsiteY1" fmla="*/ 119519 h 906920"/>
              <a:gd name="connsiteX2" fmla="*/ 790575 w 12204698"/>
              <a:gd name="connsiteY2" fmla="*/ 119519 h 906920"/>
              <a:gd name="connsiteX3" fmla="*/ 1362075 w 12204698"/>
              <a:gd name="connsiteY3" fmla="*/ 122694 h 906920"/>
              <a:gd name="connsiteX4" fmla="*/ 1616075 w 12204698"/>
              <a:gd name="connsiteY4" fmla="*/ 122694 h 906920"/>
              <a:gd name="connsiteX5" fmla="*/ 1787525 w 12204698"/>
              <a:gd name="connsiteY5" fmla="*/ 141744 h 906920"/>
              <a:gd name="connsiteX6" fmla="*/ 2057400 w 12204698"/>
              <a:gd name="connsiteY6" fmla="*/ 183019 h 906920"/>
              <a:gd name="connsiteX7" fmla="*/ 2251075 w 12204698"/>
              <a:gd name="connsiteY7" fmla="*/ 211594 h 906920"/>
              <a:gd name="connsiteX8" fmla="*/ 2451100 w 12204698"/>
              <a:gd name="connsiteY8" fmla="*/ 230644 h 906920"/>
              <a:gd name="connsiteX9" fmla="*/ 2613025 w 12204698"/>
              <a:gd name="connsiteY9" fmla="*/ 236994 h 906920"/>
              <a:gd name="connsiteX10" fmla="*/ 2974975 w 12204698"/>
              <a:gd name="connsiteY10" fmla="*/ 230644 h 906920"/>
              <a:gd name="connsiteX11" fmla="*/ 4076700 w 12204698"/>
              <a:gd name="connsiteY11" fmla="*/ 21094 h 906920"/>
              <a:gd name="connsiteX12" fmla="*/ 4314824 w 12204698"/>
              <a:gd name="connsiteY12" fmla="*/ 5220 h 906920"/>
              <a:gd name="connsiteX13" fmla="*/ 4648199 w 12204698"/>
              <a:gd name="connsiteY13" fmla="*/ 68720 h 906920"/>
              <a:gd name="connsiteX14" fmla="*/ 4908549 w 12204698"/>
              <a:gd name="connsiteY14" fmla="*/ 87770 h 906920"/>
              <a:gd name="connsiteX15" fmla="*/ 12204698 w 12204698"/>
              <a:gd name="connsiteY15" fmla="*/ 106820 h 906920"/>
              <a:gd name="connsiteX16" fmla="*/ 12195172 w 12204698"/>
              <a:gd name="connsiteY16" fmla="*/ 906920 h 906920"/>
              <a:gd name="connsiteX0" fmla="*/ 0 w 12204698"/>
              <a:gd name="connsiteY0" fmla="*/ 113169 h 942639"/>
              <a:gd name="connsiteX1" fmla="*/ 269875 w 12204698"/>
              <a:gd name="connsiteY1" fmla="*/ 119519 h 942639"/>
              <a:gd name="connsiteX2" fmla="*/ 790575 w 12204698"/>
              <a:gd name="connsiteY2" fmla="*/ 119519 h 942639"/>
              <a:gd name="connsiteX3" fmla="*/ 1362075 w 12204698"/>
              <a:gd name="connsiteY3" fmla="*/ 122694 h 942639"/>
              <a:gd name="connsiteX4" fmla="*/ 1616075 w 12204698"/>
              <a:gd name="connsiteY4" fmla="*/ 122694 h 942639"/>
              <a:gd name="connsiteX5" fmla="*/ 1787525 w 12204698"/>
              <a:gd name="connsiteY5" fmla="*/ 141744 h 942639"/>
              <a:gd name="connsiteX6" fmla="*/ 2057400 w 12204698"/>
              <a:gd name="connsiteY6" fmla="*/ 183019 h 942639"/>
              <a:gd name="connsiteX7" fmla="*/ 2251075 w 12204698"/>
              <a:gd name="connsiteY7" fmla="*/ 211594 h 942639"/>
              <a:gd name="connsiteX8" fmla="*/ 2451100 w 12204698"/>
              <a:gd name="connsiteY8" fmla="*/ 230644 h 942639"/>
              <a:gd name="connsiteX9" fmla="*/ 2613025 w 12204698"/>
              <a:gd name="connsiteY9" fmla="*/ 236994 h 942639"/>
              <a:gd name="connsiteX10" fmla="*/ 2974975 w 12204698"/>
              <a:gd name="connsiteY10" fmla="*/ 230644 h 942639"/>
              <a:gd name="connsiteX11" fmla="*/ 4076700 w 12204698"/>
              <a:gd name="connsiteY11" fmla="*/ 21094 h 942639"/>
              <a:gd name="connsiteX12" fmla="*/ 4314824 w 12204698"/>
              <a:gd name="connsiteY12" fmla="*/ 5220 h 942639"/>
              <a:gd name="connsiteX13" fmla="*/ 4648199 w 12204698"/>
              <a:gd name="connsiteY13" fmla="*/ 68720 h 942639"/>
              <a:gd name="connsiteX14" fmla="*/ 4908549 w 12204698"/>
              <a:gd name="connsiteY14" fmla="*/ 87770 h 942639"/>
              <a:gd name="connsiteX15" fmla="*/ 12204698 w 12204698"/>
              <a:gd name="connsiteY15" fmla="*/ 106820 h 942639"/>
              <a:gd name="connsiteX16" fmla="*/ 12195172 w 12204698"/>
              <a:gd name="connsiteY16" fmla="*/ 942639 h 942639"/>
              <a:gd name="connsiteX0" fmla="*/ 0 w 12204698"/>
              <a:gd name="connsiteY0" fmla="*/ 113169 h 1005239"/>
              <a:gd name="connsiteX1" fmla="*/ 269875 w 12204698"/>
              <a:gd name="connsiteY1" fmla="*/ 119519 h 1005239"/>
              <a:gd name="connsiteX2" fmla="*/ 790575 w 12204698"/>
              <a:gd name="connsiteY2" fmla="*/ 119519 h 1005239"/>
              <a:gd name="connsiteX3" fmla="*/ 1362075 w 12204698"/>
              <a:gd name="connsiteY3" fmla="*/ 122694 h 1005239"/>
              <a:gd name="connsiteX4" fmla="*/ 1616075 w 12204698"/>
              <a:gd name="connsiteY4" fmla="*/ 122694 h 1005239"/>
              <a:gd name="connsiteX5" fmla="*/ 1787525 w 12204698"/>
              <a:gd name="connsiteY5" fmla="*/ 141744 h 1005239"/>
              <a:gd name="connsiteX6" fmla="*/ 2057400 w 12204698"/>
              <a:gd name="connsiteY6" fmla="*/ 183019 h 1005239"/>
              <a:gd name="connsiteX7" fmla="*/ 2251075 w 12204698"/>
              <a:gd name="connsiteY7" fmla="*/ 211594 h 1005239"/>
              <a:gd name="connsiteX8" fmla="*/ 2451100 w 12204698"/>
              <a:gd name="connsiteY8" fmla="*/ 230644 h 1005239"/>
              <a:gd name="connsiteX9" fmla="*/ 2613025 w 12204698"/>
              <a:gd name="connsiteY9" fmla="*/ 236994 h 1005239"/>
              <a:gd name="connsiteX10" fmla="*/ 2974975 w 12204698"/>
              <a:gd name="connsiteY10" fmla="*/ 230644 h 1005239"/>
              <a:gd name="connsiteX11" fmla="*/ 4076700 w 12204698"/>
              <a:gd name="connsiteY11" fmla="*/ 21094 h 1005239"/>
              <a:gd name="connsiteX12" fmla="*/ 4314824 w 12204698"/>
              <a:gd name="connsiteY12" fmla="*/ 5220 h 1005239"/>
              <a:gd name="connsiteX13" fmla="*/ 4648199 w 12204698"/>
              <a:gd name="connsiteY13" fmla="*/ 68720 h 1005239"/>
              <a:gd name="connsiteX14" fmla="*/ 4908549 w 12204698"/>
              <a:gd name="connsiteY14" fmla="*/ 87770 h 1005239"/>
              <a:gd name="connsiteX15" fmla="*/ 12204698 w 12204698"/>
              <a:gd name="connsiteY15" fmla="*/ 106820 h 1005239"/>
              <a:gd name="connsiteX16" fmla="*/ 12195172 w 12204698"/>
              <a:gd name="connsiteY16" fmla="*/ 942639 h 1005239"/>
              <a:gd name="connsiteX17" fmla="*/ 12195172 w 12204698"/>
              <a:gd name="connsiteY17" fmla="*/ 945020 h 1005239"/>
              <a:gd name="connsiteX0" fmla="*/ 0 w 12204698"/>
              <a:gd name="connsiteY0" fmla="*/ 113169 h 1003608"/>
              <a:gd name="connsiteX1" fmla="*/ 269875 w 12204698"/>
              <a:gd name="connsiteY1" fmla="*/ 119519 h 1003608"/>
              <a:gd name="connsiteX2" fmla="*/ 790575 w 12204698"/>
              <a:gd name="connsiteY2" fmla="*/ 119519 h 1003608"/>
              <a:gd name="connsiteX3" fmla="*/ 1362075 w 12204698"/>
              <a:gd name="connsiteY3" fmla="*/ 122694 h 1003608"/>
              <a:gd name="connsiteX4" fmla="*/ 1616075 w 12204698"/>
              <a:gd name="connsiteY4" fmla="*/ 122694 h 1003608"/>
              <a:gd name="connsiteX5" fmla="*/ 1787525 w 12204698"/>
              <a:gd name="connsiteY5" fmla="*/ 141744 h 1003608"/>
              <a:gd name="connsiteX6" fmla="*/ 2057400 w 12204698"/>
              <a:gd name="connsiteY6" fmla="*/ 183019 h 1003608"/>
              <a:gd name="connsiteX7" fmla="*/ 2251075 w 12204698"/>
              <a:gd name="connsiteY7" fmla="*/ 211594 h 1003608"/>
              <a:gd name="connsiteX8" fmla="*/ 2451100 w 12204698"/>
              <a:gd name="connsiteY8" fmla="*/ 230644 h 1003608"/>
              <a:gd name="connsiteX9" fmla="*/ 2613025 w 12204698"/>
              <a:gd name="connsiteY9" fmla="*/ 236994 h 1003608"/>
              <a:gd name="connsiteX10" fmla="*/ 2974975 w 12204698"/>
              <a:gd name="connsiteY10" fmla="*/ 230644 h 1003608"/>
              <a:gd name="connsiteX11" fmla="*/ 4076700 w 12204698"/>
              <a:gd name="connsiteY11" fmla="*/ 21094 h 1003608"/>
              <a:gd name="connsiteX12" fmla="*/ 4314824 w 12204698"/>
              <a:gd name="connsiteY12" fmla="*/ 5220 h 1003608"/>
              <a:gd name="connsiteX13" fmla="*/ 4648199 w 12204698"/>
              <a:gd name="connsiteY13" fmla="*/ 68720 h 1003608"/>
              <a:gd name="connsiteX14" fmla="*/ 4908549 w 12204698"/>
              <a:gd name="connsiteY14" fmla="*/ 87770 h 1003608"/>
              <a:gd name="connsiteX15" fmla="*/ 12204698 w 12204698"/>
              <a:gd name="connsiteY15" fmla="*/ 106820 h 1003608"/>
              <a:gd name="connsiteX16" fmla="*/ 12195172 w 12204698"/>
              <a:gd name="connsiteY16" fmla="*/ 942639 h 1003608"/>
              <a:gd name="connsiteX17" fmla="*/ 9194797 w 12204698"/>
              <a:gd name="connsiteY17" fmla="*/ 938670 h 1003608"/>
              <a:gd name="connsiteX0" fmla="*/ 0 w 12204698"/>
              <a:gd name="connsiteY0" fmla="*/ 113169 h 942639"/>
              <a:gd name="connsiteX1" fmla="*/ 269875 w 12204698"/>
              <a:gd name="connsiteY1" fmla="*/ 119519 h 942639"/>
              <a:gd name="connsiteX2" fmla="*/ 790575 w 12204698"/>
              <a:gd name="connsiteY2" fmla="*/ 119519 h 942639"/>
              <a:gd name="connsiteX3" fmla="*/ 1362075 w 12204698"/>
              <a:gd name="connsiteY3" fmla="*/ 122694 h 942639"/>
              <a:gd name="connsiteX4" fmla="*/ 1616075 w 12204698"/>
              <a:gd name="connsiteY4" fmla="*/ 122694 h 942639"/>
              <a:gd name="connsiteX5" fmla="*/ 1787525 w 12204698"/>
              <a:gd name="connsiteY5" fmla="*/ 141744 h 942639"/>
              <a:gd name="connsiteX6" fmla="*/ 2057400 w 12204698"/>
              <a:gd name="connsiteY6" fmla="*/ 183019 h 942639"/>
              <a:gd name="connsiteX7" fmla="*/ 2251075 w 12204698"/>
              <a:gd name="connsiteY7" fmla="*/ 211594 h 942639"/>
              <a:gd name="connsiteX8" fmla="*/ 2451100 w 12204698"/>
              <a:gd name="connsiteY8" fmla="*/ 230644 h 942639"/>
              <a:gd name="connsiteX9" fmla="*/ 2613025 w 12204698"/>
              <a:gd name="connsiteY9" fmla="*/ 236994 h 942639"/>
              <a:gd name="connsiteX10" fmla="*/ 2974975 w 12204698"/>
              <a:gd name="connsiteY10" fmla="*/ 230644 h 942639"/>
              <a:gd name="connsiteX11" fmla="*/ 4076700 w 12204698"/>
              <a:gd name="connsiteY11" fmla="*/ 21094 h 942639"/>
              <a:gd name="connsiteX12" fmla="*/ 4314824 w 12204698"/>
              <a:gd name="connsiteY12" fmla="*/ 5220 h 942639"/>
              <a:gd name="connsiteX13" fmla="*/ 4648199 w 12204698"/>
              <a:gd name="connsiteY13" fmla="*/ 68720 h 942639"/>
              <a:gd name="connsiteX14" fmla="*/ 4908549 w 12204698"/>
              <a:gd name="connsiteY14" fmla="*/ 87770 h 942639"/>
              <a:gd name="connsiteX15" fmla="*/ 12204698 w 12204698"/>
              <a:gd name="connsiteY15" fmla="*/ 106820 h 942639"/>
              <a:gd name="connsiteX16" fmla="*/ 12195172 w 12204698"/>
              <a:gd name="connsiteY16" fmla="*/ 942639 h 942639"/>
              <a:gd name="connsiteX17" fmla="*/ 9194797 w 12204698"/>
              <a:gd name="connsiteY17" fmla="*/ 938670 h 942639"/>
              <a:gd name="connsiteX0" fmla="*/ 0 w 12204698"/>
              <a:gd name="connsiteY0" fmla="*/ 113169 h 942639"/>
              <a:gd name="connsiteX1" fmla="*/ 269875 w 12204698"/>
              <a:gd name="connsiteY1" fmla="*/ 119519 h 942639"/>
              <a:gd name="connsiteX2" fmla="*/ 790575 w 12204698"/>
              <a:gd name="connsiteY2" fmla="*/ 119519 h 942639"/>
              <a:gd name="connsiteX3" fmla="*/ 1362075 w 12204698"/>
              <a:gd name="connsiteY3" fmla="*/ 122694 h 942639"/>
              <a:gd name="connsiteX4" fmla="*/ 1616075 w 12204698"/>
              <a:gd name="connsiteY4" fmla="*/ 122694 h 942639"/>
              <a:gd name="connsiteX5" fmla="*/ 1787525 w 12204698"/>
              <a:gd name="connsiteY5" fmla="*/ 141744 h 942639"/>
              <a:gd name="connsiteX6" fmla="*/ 2057400 w 12204698"/>
              <a:gd name="connsiteY6" fmla="*/ 183019 h 942639"/>
              <a:gd name="connsiteX7" fmla="*/ 2251075 w 12204698"/>
              <a:gd name="connsiteY7" fmla="*/ 211594 h 942639"/>
              <a:gd name="connsiteX8" fmla="*/ 2451100 w 12204698"/>
              <a:gd name="connsiteY8" fmla="*/ 230644 h 942639"/>
              <a:gd name="connsiteX9" fmla="*/ 2613025 w 12204698"/>
              <a:gd name="connsiteY9" fmla="*/ 236994 h 942639"/>
              <a:gd name="connsiteX10" fmla="*/ 2974975 w 12204698"/>
              <a:gd name="connsiteY10" fmla="*/ 230644 h 942639"/>
              <a:gd name="connsiteX11" fmla="*/ 4076700 w 12204698"/>
              <a:gd name="connsiteY11" fmla="*/ 21094 h 942639"/>
              <a:gd name="connsiteX12" fmla="*/ 4314824 w 12204698"/>
              <a:gd name="connsiteY12" fmla="*/ 5220 h 942639"/>
              <a:gd name="connsiteX13" fmla="*/ 4648199 w 12204698"/>
              <a:gd name="connsiteY13" fmla="*/ 68720 h 942639"/>
              <a:gd name="connsiteX14" fmla="*/ 4908549 w 12204698"/>
              <a:gd name="connsiteY14" fmla="*/ 87770 h 942639"/>
              <a:gd name="connsiteX15" fmla="*/ 12204698 w 12204698"/>
              <a:gd name="connsiteY15" fmla="*/ 106820 h 942639"/>
              <a:gd name="connsiteX16" fmla="*/ 12195172 w 12204698"/>
              <a:gd name="connsiteY16" fmla="*/ 942639 h 942639"/>
              <a:gd name="connsiteX17" fmla="*/ 9194797 w 12204698"/>
              <a:gd name="connsiteY17" fmla="*/ 938670 h 942639"/>
              <a:gd name="connsiteX18" fmla="*/ 9182097 w 12204698"/>
              <a:gd name="connsiteY18" fmla="*/ 900571 h 942639"/>
              <a:gd name="connsiteX0" fmla="*/ 0 w 12204698"/>
              <a:gd name="connsiteY0" fmla="*/ 113169 h 942639"/>
              <a:gd name="connsiteX1" fmla="*/ 269875 w 12204698"/>
              <a:gd name="connsiteY1" fmla="*/ 119519 h 942639"/>
              <a:gd name="connsiteX2" fmla="*/ 790575 w 12204698"/>
              <a:gd name="connsiteY2" fmla="*/ 119519 h 942639"/>
              <a:gd name="connsiteX3" fmla="*/ 1362075 w 12204698"/>
              <a:gd name="connsiteY3" fmla="*/ 122694 h 942639"/>
              <a:gd name="connsiteX4" fmla="*/ 1616075 w 12204698"/>
              <a:gd name="connsiteY4" fmla="*/ 122694 h 942639"/>
              <a:gd name="connsiteX5" fmla="*/ 1787525 w 12204698"/>
              <a:gd name="connsiteY5" fmla="*/ 141744 h 942639"/>
              <a:gd name="connsiteX6" fmla="*/ 2057400 w 12204698"/>
              <a:gd name="connsiteY6" fmla="*/ 183019 h 942639"/>
              <a:gd name="connsiteX7" fmla="*/ 2251075 w 12204698"/>
              <a:gd name="connsiteY7" fmla="*/ 211594 h 942639"/>
              <a:gd name="connsiteX8" fmla="*/ 2451100 w 12204698"/>
              <a:gd name="connsiteY8" fmla="*/ 230644 h 942639"/>
              <a:gd name="connsiteX9" fmla="*/ 2613025 w 12204698"/>
              <a:gd name="connsiteY9" fmla="*/ 236994 h 942639"/>
              <a:gd name="connsiteX10" fmla="*/ 2974975 w 12204698"/>
              <a:gd name="connsiteY10" fmla="*/ 230644 h 942639"/>
              <a:gd name="connsiteX11" fmla="*/ 4076700 w 12204698"/>
              <a:gd name="connsiteY11" fmla="*/ 21094 h 942639"/>
              <a:gd name="connsiteX12" fmla="*/ 4314824 w 12204698"/>
              <a:gd name="connsiteY12" fmla="*/ 5220 h 942639"/>
              <a:gd name="connsiteX13" fmla="*/ 4648199 w 12204698"/>
              <a:gd name="connsiteY13" fmla="*/ 68720 h 942639"/>
              <a:gd name="connsiteX14" fmla="*/ 4908549 w 12204698"/>
              <a:gd name="connsiteY14" fmla="*/ 87770 h 942639"/>
              <a:gd name="connsiteX15" fmla="*/ 12204698 w 12204698"/>
              <a:gd name="connsiteY15" fmla="*/ 106820 h 942639"/>
              <a:gd name="connsiteX16" fmla="*/ 12195172 w 12204698"/>
              <a:gd name="connsiteY16" fmla="*/ 942639 h 942639"/>
              <a:gd name="connsiteX17" fmla="*/ 9194797 w 12204698"/>
              <a:gd name="connsiteY17" fmla="*/ 938670 h 942639"/>
              <a:gd name="connsiteX18" fmla="*/ 12697 w 12204698"/>
              <a:gd name="connsiteY18" fmla="*/ 938671 h 942639"/>
              <a:gd name="connsiteX0" fmla="*/ 0 w 12204698"/>
              <a:gd name="connsiteY0" fmla="*/ 113169 h 942639"/>
              <a:gd name="connsiteX1" fmla="*/ 269875 w 12204698"/>
              <a:gd name="connsiteY1" fmla="*/ 119519 h 942639"/>
              <a:gd name="connsiteX2" fmla="*/ 790575 w 12204698"/>
              <a:gd name="connsiteY2" fmla="*/ 119519 h 942639"/>
              <a:gd name="connsiteX3" fmla="*/ 1362075 w 12204698"/>
              <a:gd name="connsiteY3" fmla="*/ 122694 h 942639"/>
              <a:gd name="connsiteX4" fmla="*/ 1616075 w 12204698"/>
              <a:gd name="connsiteY4" fmla="*/ 122694 h 942639"/>
              <a:gd name="connsiteX5" fmla="*/ 1787525 w 12204698"/>
              <a:gd name="connsiteY5" fmla="*/ 141744 h 942639"/>
              <a:gd name="connsiteX6" fmla="*/ 2057400 w 12204698"/>
              <a:gd name="connsiteY6" fmla="*/ 183019 h 942639"/>
              <a:gd name="connsiteX7" fmla="*/ 2251075 w 12204698"/>
              <a:gd name="connsiteY7" fmla="*/ 211594 h 942639"/>
              <a:gd name="connsiteX8" fmla="*/ 2451100 w 12204698"/>
              <a:gd name="connsiteY8" fmla="*/ 230644 h 942639"/>
              <a:gd name="connsiteX9" fmla="*/ 2613025 w 12204698"/>
              <a:gd name="connsiteY9" fmla="*/ 236994 h 942639"/>
              <a:gd name="connsiteX10" fmla="*/ 2974975 w 12204698"/>
              <a:gd name="connsiteY10" fmla="*/ 230644 h 942639"/>
              <a:gd name="connsiteX11" fmla="*/ 4076700 w 12204698"/>
              <a:gd name="connsiteY11" fmla="*/ 21094 h 942639"/>
              <a:gd name="connsiteX12" fmla="*/ 4314824 w 12204698"/>
              <a:gd name="connsiteY12" fmla="*/ 5220 h 942639"/>
              <a:gd name="connsiteX13" fmla="*/ 4648199 w 12204698"/>
              <a:gd name="connsiteY13" fmla="*/ 68720 h 942639"/>
              <a:gd name="connsiteX14" fmla="*/ 4908549 w 12204698"/>
              <a:gd name="connsiteY14" fmla="*/ 87770 h 942639"/>
              <a:gd name="connsiteX15" fmla="*/ 12204698 w 12204698"/>
              <a:gd name="connsiteY15" fmla="*/ 106820 h 942639"/>
              <a:gd name="connsiteX16" fmla="*/ 12195172 w 12204698"/>
              <a:gd name="connsiteY16" fmla="*/ 942639 h 942639"/>
              <a:gd name="connsiteX17" fmla="*/ 12697 w 12204698"/>
              <a:gd name="connsiteY17" fmla="*/ 938671 h 942639"/>
              <a:gd name="connsiteX0" fmla="*/ 889708 w 13094406"/>
              <a:gd name="connsiteY0" fmla="*/ 113169 h 942639"/>
              <a:gd name="connsiteX1" fmla="*/ 1159583 w 13094406"/>
              <a:gd name="connsiteY1" fmla="*/ 119519 h 942639"/>
              <a:gd name="connsiteX2" fmla="*/ 1680283 w 13094406"/>
              <a:gd name="connsiteY2" fmla="*/ 119519 h 942639"/>
              <a:gd name="connsiteX3" fmla="*/ 2251783 w 13094406"/>
              <a:gd name="connsiteY3" fmla="*/ 122694 h 942639"/>
              <a:gd name="connsiteX4" fmla="*/ 2505783 w 13094406"/>
              <a:gd name="connsiteY4" fmla="*/ 122694 h 942639"/>
              <a:gd name="connsiteX5" fmla="*/ 2677233 w 13094406"/>
              <a:gd name="connsiteY5" fmla="*/ 141744 h 942639"/>
              <a:gd name="connsiteX6" fmla="*/ 2947108 w 13094406"/>
              <a:gd name="connsiteY6" fmla="*/ 183019 h 942639"/>
              <a:gd name="connsiteX7" fmla="*/ 3140783 w 13094406"/>
              <a:gd name="connsiteY7" fmla="*/ 211594 h 942639"/>
              <a:gd name="connsiteX8" fmla="*/ 3340808 w 13094406"/>
              <a:gd name="connsiteY8" fmla="*/ 230644 h 942639"/>
              <a:gd name="connsiteX9" fmla="*/ 3502733 w 13094406"/>
              <a:gd name="connsiteY9" fmla="*/ 236994 h 942639"/>
              <a:gd name="connsiteX10" fmla="*/ 3864683 w 13094406"/>
              <a:gd name="connsiteY10" fmla="*/ 230644 h 942639"/>
              <a:gd name="connsiteX11" fmla="*/ 4966408 w 13094406"/>
              <a:gd name="connsiteY11" fmla="*/ 21094 h 942639"/>
              <a:gd name="connsiteX12" fmla="*/ 5204532 w 13094406"/>
              <a:gd name="connsiteY12" fmla="*/ 5220 h 942639"/>
              <a:gd name="connsiteX13" fmla="*/ 5537907 w 13094406"/>
              <a:gd name="connsiteY13" fmla="*/ 68720 h 942639"/>
              <a:gd name="connsiteX14" fmla="*/ 5798257 w 13094406"/>
              <a:gd name="connsiteY14" fmla="*/ 87770 h 942639"/>
              <a:gd name="connsiteX15" fmla="*/ 13094406 w 13094406"/>
              <a:gd name="connsiteY15" fmla="*/ 106820 h 942639"/>
              <a:gd name="connsiteX16" fmla="*/ 13084880 w 13094406"/>
              <a:gd name="connsiteY16" fmla="*/ 942639 h 942639"/>
              <a:gd name="connsiteX17" fmla="*/ 902405 w 13094406"/>
              <a:gd name="connsiteY17" fmla="*/ 938671 h 942639"/>
              <a:gd name="connsiteX18" fmla="*/ 902405 w 13094406"/>
              <a:gd name="connsiteY18" fmla="*/ 940259 h 942639"/>
              <a:gd name="connsiteX0" fmla="*/ 892184 w 13096882"/>
              <a:gd name="connsiteY0" fmla="*/ 113169 h 942639"/>
              <a:gd name="connsiteX1" fmla="*/ 1162059 w 13096882"/>
              <a:gd name="connsiteY1" fmla="*/ 119519 h 942639"/>
              <a:gd name="connsiteX2" fmla="*/ 1682759 w 13096882"/>
              <a:gd name="connsiteY2" fmla="*/ 119519 h 942639"/>
              <a:gd name="connsiteX3" fmla="*/ 2254259 w 13096882"/>
              <a:gd name="connsiteY3" fmla="*/ 122694 h 942639"/>
              <a:gd name="connsiteX4" fmla="*/ 2508259 w 13096882"/>
              <a:gd name="connsiteY4" fmla="*/ 122694 h 942639"/>
              <a:gd name="connsiteX5" fmla="*/ 2679709 w 13096882"/>
              <a:gd name="connsiteY5" fmla="*/ 141744 h 942639"/>
              <a:gd name="connsiteX6" fmla="*/ 2949584 w 13096882"/>
              <a:gd name="connsiteY6" fmla="*/ 183019 h 942639"/>
              <a:gd name="connsiteX7" fmla="*/ 3143259 w 13096882"/>
              <a:gd name="connsiteY7" fmla="*/ 211594 h 942639"/>
              <a:gd name="connsiteX8" fmla="*/ 3343284 w 13096882"/>
              <a:gd name="connsiteY8" fmla="*/ 230644 h 942639"/>
              <a:gd name="connsiteX9" fmla="*/ 3505209 w 13096882"/>
              <a:gd name="connsiteY9" fmla="*/ 236994 h 942639"/>
              <a:gd name="connsiteX10" fmla="*/ 3867159 w 13096882"/>
              <a:gd name="connsiteY10" fmla="*/ 230644 h 942639"/>
              <a:gd name="connsiteX11" fmla="*/ 4968884 w 13096882"/>
              <a:gd name="connsiteY11" fmla="*/ 21094 h 942639"/>
              <a:gd name="connsiteX12" fmla="*/ 5207008 w 13096882"/>
              <a:gd name="connsiteY12" fmla="*/ 5220 h 942639"/>
              <a:gd name="connsiteX13" fmla="*/ 5540383 w 13096882"/>
              <a:gd name="connsiteY13" fmla="*/ 68720 h 942639"/>
              <a:gd name="connsiteX14" fmla="*/ 5800733 w 13096882"/>
              <a:gd name="connsiteY14" fmla="*/ 87770 h 942639"/>
              <a:gd name="connsiteX15" fmla="*/ 13096882 w 13096882"/>
              <a:gd name="connsiteY15" fmla="*/ 106820 h 942639"/>
              <a:gd name="connsiteX16" fmla="*/ 13087356 w 13096882"/>
              <a:gd name="connsiteY16" fmla="*/ 942639 h 942639"/>
              <a:gd name="connsiteX17" fmla="*/ 904881 w 13096882"/>
              <a:gd name="connsiteY17" fmla="*/ 938671 h 942639"/>
              <a:gd name="connsiteX18" fmla="*/ 895356 w 13096882"/>
              <a:gd name="connsiteY18" fmla="*/ 121109 h 942639"/>
              <a:gd name="connsiteX0" fmla="*/ 0 w 12204698"/>
              <a:gd name="connsiteY0" fmla="*/ 113169 h 942639"/>
              <a:gd name="connsiteX1" fmla="*/ 269875 w 12204698"/>
              <a:gd name="connsiteY1" fmla="*/ 119519 h 942639"/>
              <a:gd name="connsiteX2" fmla="*/ 790575 w 12204698"/>
              <a:gd name="connsiteY2" fmla="*/ 119519 h 942639"/>
              <a:gd name="connsiteX3" fmla="*/ 1362075 w 12204698"/>
              <a:gd name="connsiteY3" fmla="*/ 122694 h 942639"/>
              <a:gd name="connsiteX4" fmla="*/ 1616075 w 12204698"/>
              <a:gd name="connsiteY4" fmla="*/ 122694 h 942639"/>
              <a:gd name="connsiteX5" fmla="*/ 1787525 w 12204698"/>
              <a:gd name="connsiteY5" fmla="*/ 141744 h 942639"/>
              <a:gd name="connsiteX6" fmla="*/ 2057400 w 12204698"/>
              <a:gd name="connsiteY6" fmla="*/ 183019 h 942639"/>
              <a:gd name="connsiteX7" fmla="*/ 2251075 w 12204698"/>
              <a:gd name="connsiteY7" fmla="*/ 211594 h 942639"/>
              <a:gd name="connsiteX8" fmla="*/ 2451100 w 12204698"/>
              <a:gd name="connsiteY8" fmla="*/ 230644 h 942639"/>
              <a:gd name="connsiteX9" fmla="*/ 2613025 w 12204698"/>
              <a:gd name="connsiteY9" fmla="*/ 236994 h 942639"/>
              <a:gd name="connsiteX10" fmla="*/ 2974975 w 12204698"/>
              <a:gd name="connsiteY10" fmla="*/ 230644 h 942639"/>
              <a:gd name="connsiteX11" fmla="*/ 4076700 w 12204698"/>
              <a:gd name="connsiteY11" fmla="*/ 21094 h 942639"/>
              <a:gd name="connsiteX12" fmla="*/ 4314824 w 12204698"/>
              <a:gd name="connsiteY12" fmla="*/ 5220 h 942639"/>
              <a:gd name="connsiteX13" fmla="*/ 4648199 w 12204698"/>
              <a:gd name="connsiteY13" fmla="*/ 68720 h 942639"/>
              <a:gd name="connsiteX14" fmla="*/ 4908549 w 12204698"/>
              <a:gd name="connsiteY14" fmla="*/ 87770 h 942639"/>
              <a:gd name="connsiteX15" fmla="*/ 12204698 w 12204698"/>
              <a:gd name="connsiteY15" fmla="*/ 106820 h 942639"/>
              <a:gd name="connsiteX16" fmla="*/ 12195172 w 12204698"/>
              <a:gd name="connsiteY16" fmla="*/ 942639 h 942639"/>
              <a:gd name="connsiteX17" fmla="*/ 12697 w 12204698"/>
              <a:gd name="connsiteY17" fmla="*/ 938671 h 942639"/>
              <a:gd name="connsiteX18" fmla="*/ 3172 w 12204698"/>
              <a:gd name="connsiteY18" fmla="*/ 121109 h 942639"/>
              <a:gd name="connsiteX0" fmla="*/ 0 w 12207078"/>
              <a:gd name="connsiteY0" fmla="*/ 113169 h 942639"/>
              <a:gd name="connsiteX1" fmla="*/ 269875 w 12207078"/>
              <a:gd name="connsiteY1" fmla="*/ 119519 h 942639"/>
              <a:gd name="connsiteX2" fmla="*/ 790575 w 12207078"/>
              <a:gd name="connsiteY2" fmla="*/ 119519 h 942639"/>
              <a:gd name="connsiteX3" fmla="*/ 1362075 w 12207078"/>
              <a:gd name="connsiteY3" fmla="*/ 122694 h 942639"/>
              <a:gd name="connsiteX4" fmla="*/ 1616075 w 12207078"/>
              <a:gd name="connsiteY4" fmla="*/ 122694 h 942639"/>
              <a:gd name="connsiteX5" fmla="*/ 1787525 w 12207078"/>
              <a:gd name="connsiteY5" fmla="*/ 141744 h 942639"/>
              <a:gd name="connsiteX6" fmla="*/ 2057400 w 12207078"/>
              <a:gd name="connsiteY6" fmla="*/ 183019 h 942639"/>
              <a:gd name="connsiteX7" fmla="*/ 2251075 w 12207078"/>
              <a:gd name="connsiteY7" fmla="*/ 211594 h 942639"/>
              <a:gd name="connsiteX8" fmla="*/ 2451100 w 12207078"/>
              <a:gd name="connsiteY8" fmla="*/ 230644 h 942639"/>
              <a:gd name="connsiteX9" fmla="*/ 2613025 w 12207078"/>
              <a:gd name="connsiteY9" fmla="*/ 236994 h 942639"/>
              <a:gd name="connsiteX10" fmla="*/ 2974975 w 12207078"/>
              <a:gd name="connsiteY10" fmla="*/ 230644 h 942639"/>
              <a:gd name="connsiteX11" fmla="*/ 4076700 w 12207078"/>
              <a:gd name="connsiteY11" fmla="*/ 21094 h 942639"/>
              <a:gd name="connsiteX12" fmla="*/ 4314824 w 12207078"/>
              <a:gd name="connsiteY12" fmla="*/ 5220 h 942639"/>
              <a:gd name="connsiteX13" fmla="*/ 4648199 w 12207078"/>
              <a:gd name="connsiteY13" fmla="*/ 68720 h 942639"/>
              <a:gd name="connsiteX14" fmla="*/ 4908549 w 12207078"/>
              <a:gd name="connsiteY14" fmla="*/ 87770 h 942639"/>
              <a:gd name="connsiteX15" fmla="*/ 12204698 w 12207078"/>
              <a:gd name="connsiteY15" fmla="*/ 106820 h 942639"/>
              <a:gd name="connsiteX16" fmla="*/ 12207078 w 12207078"/>
              <a:gd name="connsiteY16" fmla="*/ 942639 h 942639"/>
              <a:gd name="connsiteX17" fmla="*/ 12697 w 12207078"/>
              <a:gd name="connsiteY17" fmla="*/ 938671 h 942639"/>
              <a:gd name="connsiteX18" fmla="*/ 3172 w 12207078"/>
              <a:gd name="connsiteY18" fmla="*/ 121109 h 942639"/>
              <a:gd name="connsiteX0" fmla="*/ 0 w 12207078"/>
              <a:gd name="connsiteY0" fmla="*/ 113169 h 942639"/>
              <a:gd name="connsiteX1" fmla="*/ 269875 w 12207078"/>
              <a:gd name="connsiteY1" fmla="*/ 119519 h 942639"/>
              <a:gd name="connsiteX2" fmla="*/ 790575 w 12207078"/>
              <a:gd name="connsiteY2" fmla="*/ 119519 h 942639"/>
              <a:gd name="connsiteX3" fmla="*/ 1362075 w 12207078"/>
              <a:gd name="connsiteY3" fmla="*/ 122694 h 942639"/>
              <a:gd name="connsiteX4" fmla="*/ 1616075 w 12207078"/>
              <a:gd name="connsiteY4" fmla="*/ 122694 h 942639"/>
              <a:gd name="connsiteX5" fmla="*/ 1787525 w 12207078"/>
              <a:gd name="connsiteY5" fmla="*/ 141744 h 942639"/>
              <a:gd name="connsiteX6" fmla="*/ 2057400 w 12207078"/>
              <a:gd name="connsiteY6" fmla="*/ 183019 h 942639"/>
              <a:gd name="connsiteX7" fmla="*/ 2251075 w 12207078"/>
              <a:gd name="connsiteY7" fmla="*/ 211594 h 942639"/>
              <a:gd name="connsiteX8" fmla="*/ 2451100 w 12207078"/>
              <a:gd name="connsiteY8" fmla="*/ 230644 h 942639"/>
              <a:gd name="connsiteX9" fmla="*/ 2974975 w 12207078"/>
              <a:gd name="connsiteY9" fmla="*/ 230644 h 942639"/>
              <a:gd name="connsiteX10" fmla="*/ 4076700 w 12207078"/>
              <a:gd name="connsiteY10" fmla="*/ 21094 h 942639"/>
              <a:gd name="connsiteX11" fmla="*/ 4314824 w 12207078"/>
              <a:gd name="connsiteY11" fmla="*/ 5220 h 942639"/>
              <a:gd name="connsiteX12" fmla="*/ 4648199 w 12207078"/>
              <a:gd name="connsiteY12" fmla="*/ 68720 h 942639"/>
              <a:gd name="connsiteX13" fmla="*/ 4908549 w 12207078"/>
              <a:gd name="connsiteY13" fmla="*/ 87770 h 942639"/>
              <a:gd name="connsiteX14" fmla="*/ 12204698 w 12207078"/>
              <a:gd name="connsiteY14" fmla="*/ 106820 h 942639"/>
              <a:gd name="connsiteX15" fmla="*/ 12207078 w 12207078"/>
              <a:gd name="connsiteY15" fmla="*/ 942639 h 942639"/>
              <a:gd name="connsiteX16" fmla="*/ 12697 w 12207078"/>
              <a:gd name="connsiteY16" fmla="*/ 938671 h 942639"/>
              <a:gd name="connsiteX17" fmla="*/ 3172 w 12207078"/>
              <a:gd name="connsiteY17" fmla="*/ 121109 h 942639"/>
              <a:gd name="connsiteX0" fmla="*/ 0 w 12207078"/>
              <a:gd name="connsiteY0" fmla="*/ 113169 h 942639"/>
              <a:gd name="connsiteX1" fmla="*/ 269875 w 12207078"/>
              <a:gd name="connsiteY1" fmla="*/ 119519 h 942639"/>
              <a:gd name="connsiteX2" fmla="*/ 790575 w 12207078"/>
              <a:gd name="connsiteY2" fmla="*/ 119519 h 942639"/>
              <a:gd name="connsiteX3" fmla="*/ 1362075 w 12207078"/>
              <a:gd name="connsiteY3" fmla="*/ 122694 h 942639"/>
              <a:gd name="connsiteX4" fmla="*/ 1616075 w 12207078"/>
              <a:gd name="connsiteY4" fmla="*/ 122694 h 942639"/>
              <a:gd name="connsiteX5" fmla="*/ 1787525 w 12207078"/>
              <a:gd name="connsiteY5" fmla="*/ 141744 h 942639"/>
              <a:gd name="connsiteX6" fmla="*/ 2057400 w 12207078"/>
              <a:gd name="connsiteY6" fmla="*/ 183019 h 942639"/>
              <a:gd name="connsiteX7" fmla="*/ 2451100 w 12207078"/>
              <a:gd name="connsiteY7" fmla="*/ 230644 h 942639"/>
              <a:gd name="connsiteX8" fmla="*/ 2974975 w 12207078"/>
              <a:gd name="connsiteY8" fmla="*/ 230644 h 942639"/>
              <a:gd name="connsiteX9" fmla="*/ 4076700 w 12207078"/>
              <a:gd name="connsiteY9" fmla="*/ 21094 h 942639"/>
              <a:gd name="connsiteX10" fmla="*/ 4314824 w 12207078"/>
              <a:gd name="connsiteY10" fmla="*/ 5220 h 942639"/>
              <a:gd name="connsiteX11" fmla="*/ 4648199 w 12207078"/>
              <a:gd name="connsiteY11" fmla="*/ 68720 h 942639"/>
              <a:gd name="connsiteX12" fmla="*/ 4908549 w 12207078"/>
              <a:gd name="connsiteY12" fmla="*/ 87770 h 942639"/>
              <a:gd name="connsiteX13" fmla="*/ 12204698 w 12207078"/>
              <a:gd name="connsiteY13" fmla="*/ 106820 h 942639"/>
              <a:gd name="connsiteX14" fmla="*/ 12207078 w 12207078"/>
              <a:gd name="connsiteY14" fmla="*/ 942639 h 942639"/>
              <a:gd name="connsiteX15" fmla="*/ 12697 w 12207078"/>
              <a:gd name="connsiteY15" fmla="*/ 938671 h 942639"/>
              <a:gd name="connsiteX16" fmla="*/ 3172 w 12207078"/>
              <a:gd name="connsiteY16" fmla="*/ 121109 h 942639"/>
              <a:gd name="connsiteX0" fmla="*/ 0 w 12207078"/>
              <a:gd name="connsiteY0" fmla="*/ 113169 h 942639"/>
              <a:gd name="connsiteX1" fmla="*/ 269875 w 12207078"/>
              <a:gd name="connsiteY1" fmla="*/ 119519 h 942639"/>
              <a:gd name="connsiteX2" fmla="*/ 790575 w 12207078"/>
              <a:gd name="connsiteY2" fmla="*/ 119519 h 942639"/>
              <a:gd name="connsiteX3" fmla="*/ 1362075 w 12207078"/>
              <a:gd name="connsiteY3" fmla="*/ 122694 h 942639"/>
              <a:gd name="connsiteX4" fmla="*/ 1616075 w 12207078"/>
              <a:gd name="connsiteY4" fmla="*/ 122694 h 942639"/>
              <a:gd name="connsiteX5" fmla="*/ 1787525 w 12207078"/>
              <a:gd name="connsiteY5" fmla="*/ 141744 h 942639"/>
              <a:gd name="connsiteX6" fmla="*/ 2451100 w 12207078"/>
              <a:gd name="connsiteY6" fmla="*/ 230644 h 942639"/>
              <a:gd name="connsiteX7" fmla="*/ 2974975 w 12207078"/>
              <a:gd name="connsiteY7" fmla="*/ 230644 h 942639"/>
              <a:gd name="connsiteX8" fmla="*/ 4076700 w 12207078"/>
              <a:gd name="connsiteY8" fmla="*/ 21094 h 942639"/>
              <a:gd name="connsiteX9" fmla="*/ 4314824 w 12207078"/>
              <a:gd name="connsiteY9" fmla="*/ 5220 h 942639"/>
              <a:gd name="connsiteX10" fmla="*/ 4648199 w 12207078"/>
              <a:gd name="connsiteY10" fmla="*/ 68720 h 942639"/>
              <a:gd name="connsiteX11" fmla="*/ 4908549 w 12207078"/>
              <a:gd name="connsiteY11" fmla="*/ 87770 h 942639"/>
              <a:gd name="connsiteX12" fmla="*/ 12204698 w 12207078"/>
              <a:gd name="connsiteY12" fmla="*/ 106820 h 942639"/>
              <a:gd name="connsiteX13" fmla="*/ 12207078 w 12207078"/>
              <a:gd name="connsiteY13" fmla="*/ 942639 h 942639"/>
              <a:gd name="connsiteX14" fmla="*/ 12697 w 12207078"/>
              <a:gd name="connsiteY14" fmla="*/ 938671 h 942639"/>
              <a:gd name="connsiteX15" fmla="*/ 3172 w 12207078"/>
              <a:gd name="connsiteY15" fmla="*/ 121109 h 942639"/>
              <a:gd name="connsiteX0" fmla="*/ 0 w 12207078"/>
              <a:gd name="connsiteY0" fmla="*/ 113169 h 942639"/>
              <a:gd name="connsiteX1" fmla="*/ 269875 w 12207078"/>
              <a:gd name="connsiteY1" fmla="*/ 119519 h 942639"/>
              <a:gd name="connsiteX2" fmla="*/ 790575 w 12207078"/>
              <a:gd name="connsiteY2" fmla="*/ 119519 h 942639"/>
              <a:gd name="connsiteX3" fmla="*/ 1362075 w 12207078"/>
              <a:gd name="connsiteY3" fmla="*/ 122694 h 942639"/>
              <a:gd name="connsiteX4" fmla="*/ 1616075 w 12207078"/>
              <a:gd name="connsiteY4" fmla="*/ 122694 h 942639"/>
              <a:gd name="connsiteX5" fmla="*/ 1787525 w 12207078"/>
              <a:gd name="connsiteY5" fmla="*/ 141744 h 942639"/>
              <a:gd name="connsiteX6" fmla="*/ 2974975 w 12207078"/>
              <a:gd name="connsiteY6" fmla="*/ 230644 h 942639"/>
              <a:gd name="connsiteX7" fmla="*/ 4076700 w 12207078"/>
              <a:gd name="connsiteY7" fmla="*/ 21094 h 942639"/>
              <a:gd name="connsiteX8" fmla="*/ 4314824 w 12207078"/>
              <a:gd name="connsiteY8" fmla="*/ 5220 h 942639"/>
              <a:gd name="connsiteX9" fmla="*/ 4648199 w 12207078"/>
              <a:gd name="connsiteY9" fmla="*/ 68720 h 942639"/>
              <a:gd name="connsiteX10" fmla="*/ 4908549 w 12207078"/>
              <a:gd name="connsiteY10" fmla="*/ 87770 h 942639"/>
              <a:gd name="connsiteX11" fmla="*/ 12204698 w 12207078"/>
              <a:gd name="connsiteY11" fmla="*/ 106820 h 942639"/>
              <a:gd name="connsiteX12" fmla="*/ 12207078 w 12207078"/>
              <a:gd name="connsiteY12" fmla="*/ 942639 h 942639"/>
              <a:gd name="connsiteX13" fmla="*/ 12697 w 12207078"/>
              <a:gd name="connsiteY13" fmla="*/ 938671 h 942639"/>
              <a:gd name="connsiteX14" fmla="*/ 3172 w 12207078"/>
              <a:gd name="connsiteY14" fmla="*/ 121109 h 942639"/>
              <a:gd name="connsiteX0" fmla="*/ 0 w 12207078"/>
              <a:gd name="connsiteY0" fmla="*/ 113169 h 942639"/>
              <a:gd name="connsiteX1" fmla="*/ 269875 w 12207078"/>
              <a:gd name="connsiteY1" fmla="*/ 119519 h 942639"/>
              <a:gd name="connsiteX2" fmla="*/ 790575 w 12207078"/>
              <a:gd name="connsiteY2" fmla="*/ 119519 h 942639"/>
              <a:gd name="connsiteX3" fmla="*/ 1362075 w 12207078"/>
              <a:gd name="connsiteY3" fmla="*/ 122694 h 942639"/>
              <a:gd name="connsiteX4" fmla="*/ 1616075 w 12207078"/>
              <a:gd name="connsiteY4" fmla="*/ 122694 h 942639"/>
              <a:gd name="connsiteX5" fmla="*/ 1787525 w 12207078"/>
              <a:gd name="connsiteY5" fmla="*/ 141744 h 942639"/>
              <a:gd name="connsiteX6" fmla="*/ 2974975 w 12207078"/>
              <a:gd name="connsiteY6" fmla="*/ 230644 h 942639"/>
              <a:gd name="connsiteX7" fmla="*/ 4076700 w 12207078"/>
              <a:gd name="connsiteY7" fmla="*/ 21094 h 942639"/>
              <a:gd name="connsiteX8" fmla="*/ 4314824 w 12207078"/>
              <a:gd name="connsiteY8" fmla="*/ 5220 h 942639"/>
              <a:gd name="connsiteX9" fmla="*/ 4648199 w 12207078"/>
              <a:gd name="connsiteY9" fmla="*/ 68720 h 942639"/>
              <a:gd name="connsiteX10" fmla="*/ 4908549 w 12207078"/>
              <a:gd name="connsiteY10" fmla="*/ 87770 h 942639"/>
              <a:gd name="connsiteX11" fmla="*/ 12204698 w 12207078"/>
              <a:gd name="connsiteY11" fmla="*/ 106820 h 942639"/>
              <a:gd name="connsiteX12" fmla="*/ 12207078 w 12207078"/>
              <a:gd name="connsiteY12" fmla="*/ 942639 h 942639"/>
              <a:gd name="connsiteX13" fmla="*/ 12697 w 12207078"/>
              <a:gd name="connsiteY13" fmla="*/ 938671 h 942639"/>
              <a:gd name="connsiteX14" fmla="*/ 3172 w 12207078"/>
              <a:gd name="connsiteY14" fmla="*/ 121109 h 942639"/>
              <a:gd name="connsiteX0" fmla="*/ 0 w 12207078"/>
              <a:gd name="connsiteY0" fmla="*/ 113169 h 942639"/>
              <a:gd name="connsiteX1" fmla="*/ 269875 w 12207078"/>
              <a:gd name="connsiteY1" fmla="*/ 119519 h 942639"/>
              <a:gd name="connsiteX2" fmla="*/ 790575 w 12207078"/>
              <a:gd name="connsiteY2" fmla="*/ 119519 h 942639"/>
              <a:gd name="connsiteX3" fmla="*/ 1362075 w 12207078"/>
              <a:gd name="connsiteY3" fmla="*/ 122694 h 942639"/>
              <a:gd name="connsiteX4" fmla="*/ 1616075 w 12207078"/>
              <a:gd name="connsiteY4" fmla="*/ 122694 h 942639"/>
              <a:gd name="connsiteX5" fmla="*/ 2974975 w 12207078"/>
              <a:gd name="connsiteY5" fmla="*/ 230644 h 942639"/>
              <a:gd name="connsiteX6" fmla="*/ 4076700 w 12207078"/>
              <a:gd name="connsiteY6" fmla="*/ 21094 h 942639"/>
              <a:gd name="connsiteX7" fmla="*/ 4314824 w 12207078"/>
              <a:gd name="connsiteY7" fmla="*/ 5220 h 942639"/>
              <a:gd name="connsiteX8" fmla="*/ 4648199 w 12207078"/>
              <a:gd name="connsiteY8" fmla="*/ 68720 h 942639"/>
              <a:gd name="connsiteX9" fmla="*/ 4908549 w 12207078"/>
              <a:gd name="connsiteY9" fmla="*/ 87770 h 942639"/>
              <a:gd name="connsiteX10" fmla="*/ 12204698 w 12207078"/>
              <a:gd name="connsiteY10" fmla="*/ 106820 h 942639"/>
              <a:gd name="connsiteX11" fmla="*/ 12207078 w 12207078"/>
              <a:gd name="connsiteY11" fmla="*/ 942639 h 942639"/>
              <a:gd name="connsiteX12" fmla="*/ 12697 w 12207078"/>
              <a:gd name="connsiteY12" fmla="*/ 938671 h 942639"/>
              <a:gd name="connsiteX13" fmla="*/ 3172 w 12207078"/>
              <a:gd name="connsiteY13" fmla="*/ 121109 h 942639"/>
              <a:gd name="connsiteX0" fmla="*/ 0 w 12207078"/>
              <a:gd name="connsiteY0" fmla="*/ 113169 h 942639"/>
              <a:gd name="connsiteX1" fmla="*/ 269875 w 12207078"/>
              <a:gd name="connsiteY1" fmla="*/ 119519 h 942639"/>
              <a:gd name="connsiteX2" fmla="*/ 790575 w 12207078"/>
              <a:gd name="connsiteY2" fmla="*/ 119519 h 942639"/>
              <a:gd name="connsiteX3" fmla="*/ 1362075 w 12207078"/>
              <a:gd name="connsiteY3" fmla="*/ 122694 h 942639"/>
              <a:gd name="connsiteX4" fmla="*/ 1616075 w 12207078"/>
              <a:gd name="connsiteY4" fmla="*/ 122694 h 942639"/>
              <a:gd name="connsiteX5" fmla="*/ 2974975 w 12207078"/>
              <a:gd name="connsiteY5" fmla="*/ 230644 h 942639"/>
              <a:gd name="connsiteX6" fmla="*/ 4076700 w 12207078"/>
              <a:gd name="connsiteY6" fmla="*/ 21094 h 942639"/>
              <a:gd name="connsiteX7" fmla="*/ 4314824 w 12207078"/>
              <a:gd name="connsiteY7" fmla="*/ 5220 h 942639"/>
              <a:gd name="connsiteX8" fmla="*/ 4648199 w 12207078"/>
              <a:gd name="connsiteY8" fmla="*/ 68720 h 942639"/>
              <a:gd name="connsiteX9" fmla="*/ 4908549 w 12207078"/>
              <a:gd name="connsiteY9" fmla="*/ 87770 h 942639"/>
              <a:gd name="connsiteX10" fmla="*/ 12204698 w 12207078"/>
              <a:gd name="connsiteY10" fmla="*/ 106820 h 942639"/>
              <a:gd name="connsiteX11" fmla="*/ 12207078 w 12207078"/>
              <a:gd name="connsiteY11" fmla="*/ 942639 h 942639"/>
              <a:gd name="connsiteX12" fmla="*/ 12697 w 12207078"/>
              <a:gd name="connsiteY12" fmla="*/ 938671 h 942639"/>
              <a:gd name="connsiteX13" fmla="*/ 3172 w 12207078"/>
              <a:gd name="connsiteY13" fmla="*/ 121109 h 942639"/>
              <a:gd name="connsiteX0" fmla="*/ 0 w 12207078"/>
              <a:gd name="connsiteY0" fmla="*/ 113169 h 942639"/>
              <a:gd name="connsiteX1" fmla="*/ 269875 w 12207078"/>
              <a:gd name="connsiteY1" fmla="*/ 119519 h 942639"/>
              <a:gd name="connsiteX2" fmla="*/ 790575 w 12207078"/>
              <a:gd name="connsiteY2" fmla="*/ 119519 h 942639"/>
              <a:gd name="connsiteX3" fmla="*/ 1362075 w 12207078"/>
              <a:gd name="connsiteY3" fmla="*/ 122694 h 942639"/>
              <a:gd name="connsiteX4" fmla="*/ 1616075 w 12207078"/>
              <a:gd name="connsiteY4" fmla="*/ 122694 h 942639"/>
              <a:gd name="connsiteX5" fmla="*/ 2974975 w 12207078"/>
              <a:gd name="connsiteY5" fmla="*/ 230644 h 942639"/>
              <a:gd name="connsiteX6" fmla="*/ 4076700 w 12207078"/>
              <a:gd name="connsiteY6" fmla="*/ 21094 h 942639"/>
              <a:gd name="connsiteX7" fmla="*/ 4314824 w 12207078"/>
              <a:gd name="connsiteY7" fmla="*/ 5220 h 942639"/>
              <a:gd name="connsiteX8" fmla="*/ 4648199 w 12207078"/>
              <a:gd name="connsiteY8" fmla="*/ 68720 h 942639"/>
              <a:gd name="connsiteX9" fmla="*/ 4908549 w 12207078"/>
              <a:gd name="connsiteY9" fmla="*/ 87770 h 942639"/>
              <a:gd name="connsiteX10" fmla="*/ 12204698 w 12207078"/>
              <a:gd name="connsiteY10" fmla="*/ 106820 h 942639"/>
              <a:gd name="connsiteX11" fmla="*/ 12207078 w 12207078"/>
              <a:gd name="connsiteY11" fmla="*/ 942639 h 942639"/>
              <a:gd name="connsiteX12" fmla="*/ 12697 w 12207078"/>
              <a:gd name="connsiteY12" fmla="*/ 938671 h 942639"/>
              <a:gd name="connsiteX13" fmla="*/ 3172 w 12207078"/>
              <a:gd name="connsiteY13" fmla="*/ 121109 h 94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07078" h="942639">
                <a:moveTo>
                  <a:pt x="0" y="113169"/>
                </a:moveTo>
                <a:lnTo>
                  <a:pt x="269875" y="119519"/>
                </a:lnTo>
                <a:lnTo>
                  <a:pt x="790575" y="119519"/>
                </a:lnTo>
                <a:lnTo>
                  <a:pt x="1362075" y="122694"/>
                </a:lnTo>
                <a:lnTo>
                  <a:pt x="1616075" y="122694"/>
                </a:lnTo>
                <a:cubicBezTo>
                  <a:pt x="2069042" y="158677"/>
                  <a:pt x="2179108" y="289911"/>
                  <a:pt x="2974975" y="230644"/>
                </a:cubicBezTo>
                <a:cubicBezTo>
                  <a:pt x="3033712" y="228527"/>
                  <a:pt x="4078684" y="22417"/>
                  <a:pt x="4076700" y="21094"/>
                </a:cubicBezTo>
                <a:cubicBezTo>
                  <a:pt x="4259791" y="-13302"/>
                  <a:pt x="4315486" y="4558"/>
                  <a:pt x="4314824" y="5220"/>
                </a:cubicBezTo>
                <a:cubicBezTo>
                  <a:pt x="4355570" y="3104"/>
                  <a:pt x="4646876" y="68059"/>
                  <a:pt x="4648199" y="68720"/>
                </a:cubicBezTo>
                <a:cubicBezTo>
                  <a:pt x="4704291" y="78774"/>
                  <a:pt x="4907888" y="88431"/>
                  <a:pt x="4908549" y="87770"/>
                </a:cubicBezTo>
                <a:cubicBezTo>
                  <a:pt x="4950882" y="91474"/>
                  <a:pt x="12206021" y="106159"/>
                  <a:pt x="12204698" y="106820"/>
                </a:cubicBezTo>
                <a:cubicBezTo>
                  <a:pt x="12205491" y="385426"/>
                  <a:pt x="12206285" y="664033"/>
                  <a:pt x="12207078" y="942639"/>
                </a:cubicBezTo>
                <a:lnTo>
                  <a:pt x="12697" y="938671"/>
                </a:lnTo>
                <a:lnTo>
                  <a:pt x="3172" y="121109"/>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a:p>
        </p:txBody>
      </p:sp>
      <p:grpSp>
        <p:nvGrpSpPr>
          <p:cNvPr id="6" name="Graphic 41">
            <a:extLst>
              <a:ext uri="{FF2B5EF4-FFF2-40B4-BE49-F238E27FC236}">
                <a16:creationId xmlns:a16="http://schemas.microsoft.com/office/drawing/2014/main" id="{A6C7A172-3DF5-40D7-9502-5991EA0C8C15}"/>
              </a:ext>
            </a:extLst>
          </p:cNvPr>
          <p:cNvGrpSpPr/>
          <p:nvPr userDrawn="1"/>
        </p:nvGrpSpPr>
        <p:grpSpPr>
          <a:xfrm>
            <a:off x="7631620" y="4629635"/>
            <a:ext cx="1005230" cy="343655"/>
            <a:chOff x="6610866" y="4731155"/>
            <a:chExt cx="2143791" cy="729043"/>
          </a:xfrm>
          <a:solidFill>
            <a:schemeClr val="bg1"/>
          </a:solidFill>
        </p:grpSpPr>
        <p:grpSp>
          <p:nvGrpSpPr>
            <p:cNvPr id="7" name="Graphic 41">
              <a:extLst>
                <a:ext uri="{FF2B5EF4-FFF2-40B4-BE49-F238E27FC236}">
                  <a16:creationId xmlns:a16="http://schemas.microsoft.com/office/drawing/2014/main" id="{18B8F321-3E2E-49CC-B3D6-E980CBE1CF59}"/>
                </a:ext>
              </a:extLst>
            </p:cNvPr>
            <p:cNvGrpSpPr/>
            <p:nvPr/>
          </p:nvGrpSpPr>
          <p:grpSpPr>
            <a:xfrm>
              <a:off x="6748216" y="5056434"/>
              <a:ext cx="1868805" cy="403764"/>
              <a:chOff x="6748216" y="5056434"/>
              <a:chExt cx="1868805" cy="403764"/>
            </a:xfrm>
            <a:grpFill/>
          </p:grpSpPr>
          <p:sp>
            <p:nvSpPr>
              <p:cNvPr id="9" name="Vrije vorm: vorm 8">
                <a:extLst>
                  <a:ext uri="{FF2B5EF4-FFF2-40B4-BE49-F238E27FC236}">
                    <a16:creationId xmlns:a16="http://schemas.microsoft.com/office/drawing/2014/main" id="{B2950976-EEFC-4C31-85A1-7A8C4001BC8B}"/>
                  </a:ext>
                </a:extLst>
              </p:cNvPr>
              <p:cNvSpPr/>
              <p:nvPr/>
            </p:nvSpPr>
            <p:spPr>
              <a:xfrm>
                <a:off x="6748216" y="5057267"/>
                <a:ext cx="304990" cy="394169"/>
              </a:xfrm>
              <a:custGeom>
                <a:avLst/>
                <a:gdLst>
                  <a:gd name="connsiteX0" fmla="*/ 89344 w 304990"/>
                  <a:gd name="connsiteY0" fmla="*/ 56889 h 394169"/>
                  <a:gd name="connsiteX1" fmla="*/ 169164 w 304990"/>
                  <a:gd name="connsiteY1" fmla="*/ 118230 h 394169"/>
                  <a:gd name="connsiteX2" fmla="*/ 89344 w 304990"/>
                  <a:gd name="connsiteY2" fmla="*/ 182809 h 394169"/>
                  <a:gd name="connsiteX3" fmla="*/ 89344 w 304990"/>
                  <a:gd name="connsiteY3" fmla="*/ 56889 h 394169"/>
                  <a:gd name="connsiteX4" fmla="*/ 10668 w 304990"/>
                  <a:gd name="connsiteY4" fmla="*/ 292156 h 394169"/>
                  <a:gd name="connsiteX5" fmla="*/ 95 w 304990"/>
                  <a:gd name="connsiteY5" fmla="*/ 394169 h 394169"/>
                  <a:gd name="connsiteX6" fmla="*/ 100298 w 304990"/>
                  <a:gd name="connsiteY6" fmla="*/ 394169 h 394169"/>
                  <a:gd name="connsiteX7" fmla="*/ 89249 w 304990"/>
                  <a:gd name="connsiteY7" fmla="*/ 309016 h 394169"/>
                  <a:gd name="connsiteX8" fmla="*/ 89249 w 304990"/>
                  <a:gd name="connsiteY8" fmla="*/ 237959 h 394169"/>
                  <a:gd name="connsiteX9" fmla="*/ 233458 w 304990"/>
                  <a:gd name="connsiteY9" fmla="*/ 394169 h 394169"/>
                  <a:gd name="connsiteX10" fmla="*/ 304991 w 304990"/>
                  <a:gd name="connsiteY10" fmla="*/ 394169 h 394169"/>
                  <a:gd name="connsiteX11" fmla="*/ 168878 w 304990"/>
                  <a:gd name="connsiteY11" fmla="*/ 217576 h 394169"/>
                  <a:gd name="connsiteX12" fmla="*/ 255080 w 304990"/>
                  <a:gd name="connsiteY12" fmla="*/ 112515 h 394169"/>
                  <a:gd name="connsiteX13" fmla="*/ 100013 w 304990"/>
                  <a:gd name="connsiteY13" fmla="*/ 25 h 394169"/>
                  <a:gd name="connsiteX14" fmla="*/ 0 w 304990"/>
                  <a:gd name="connsiteY14" fmla="*/ 1072 h 394169"/>
                  <a:gd name="connsiteX15" fmla="*/ 10573 w 304990"/>
                  <a:gd name="connsiteY15" fmla="*/ 82511 h 394169"/>
                  <a:gd name="connsiteX16" fmla="*/ 10573 w 304990"/>
                  <a:gd name="connsiteY16" fmla="*/ 292156 h 39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4990" h="394169">
                    <a:moveTo>
                      <a:pt x="89344" y="56889"/>
                    </a:moveTo>
                    <a:cubicBezTo>
                      <a:pt x="142113" y="60699"/>
                      <a:pt x="169164" y="88798"/>
                      <a:pt x="169164" y="118230"/>
                    </a:cubicBezTo>
                    <a:cubicBezTo>
                      <a:pt x="169164" y="178714"/>
                      <a:pt x="107728" y="181095"/>
                      <a:pt x="89344" y="182809"/>
                    </a:cubicBezTo>
                    <a:lnTo>
                      <a:pt x="89344" y="56889"/>
                    </a:lnTo>
                    <a:close/>
                    <a:moveTo>
                      <a:pt x="10668" y="292156"/>
                    </a:moveTo>
                    <a:cubicBezTo>
                      <a:pt x="10668" y="326351"/>
                      <a:pt x="8572" y="355212"/>
                      <a:pt x="95" y="394169"/>
                    </a:cubicBezTo>
                    <a:lnTo>
                      <a:pt x="100298" y="394169"/>
                    </a:lnTo>
                    <a:cubicBezTo>
                      <a:pt x="89726" y="352164"/>
                      <a:pt x="89249" y="339496"/>
                      <a:pt x="89249" y="309016"/>
                    </a:cubicBezTo>
                    <a:lnTo>
                      <a:pt x="89249" y="237959"/>
                    </a:lnTo>
                    <a:cubicBezTo>
                      <a:pt x="170688" y="346258"/>
                      <a:pt x="180404" y="348449"/>
                      <a:pt x="233458" y="394169"/>
                    </a:cubicBezTo>
                    <a:lnTo>
                      <a:pt x="304991" y="394169"/>
                    </a:lnTo>
                    <a:cubicBezTo>
                      <a:pt x="258223" y="337972"/>
                      <a:pt x="204026" y="279583"/>
                      <a:pt x="168878" y="217576"/>
                    </a:cubicBezTo>
                    <a:cubicBezTo>
                      <a:pt x="186785" y="208146"/>
                      <a:pt x="255080" y="197573"/>
                      <a:pt x="255080" y="112515"/>
                    </a:cubicBezTo>
                    <a:cubicBezTo>
                      <a:pt x="255080" y="59461"/>
                      <a:pt x="222790" y="-1404"/>
                      <a:pt x="100013" y="25"/>
                    </a:cubicBezTo>
                    <a:lnTo>
                      <a:pt x="0" y="1072"/>
                    </a:lnTo>
                    <a:cubicBezTo>
                      <a:pt x="4191" y="14693"/>
                      <a:pt x="10573" y="36315"/>
                      <a:pt x="10573" y="82511"/>
                    </a:cubicBezTo>
                    <a:lnTo>
                      <a:pt x="10573" y="292156"/>
                    </a:lnTo>
                    <a:close/>
                  </a:path>
                </a:pathLst>
              </a:custGeom>
              <a:grpFill/>
              <a:ln w="9525" cap="flat">
                <a:noFill/>
                <a:prstDash val="solid"/>
                <a:miter/>
              </a:ln>
            </p:spPr>
            <p:txBody>
              <a:bodyPr rtlCol="0" anchor="ctr"/>
              <a:lstStyle/>
              <a:p>
                <a:endParaRPr lang="en-US" sz="1050"/>
              </a:p>
            </p:txBody>
          </p:sp>
          <p:sp>
            <p:nvSpPr>
              <p:cNvPr id="11" name="Vrije vorm: vorm 10">
                <a:extLst>
                  <a:ext uri="{FF2B5EF4-FFF2-40B4-BE49-F238E27FC236}">
                    <a16:creationId xmlns:a16="http://schemas.microsoft.com/office/drawing/2014/main" id="{AB253899-0E18-466B-8A5C-047CF09C69A4}"/>
                  </a:ext>
                </a:extLst>
              </p:cNvPr>
              <p:cNvSpPr/>
              <p:nvPr/>
            </p:nvSpPr>
            <p:spPr>
              <a:xfrm>
                <a:off x="7048444" y="5170734"/>
                <a:ext cx="218422" cy="289464"/>
              </a:xfrm>
              <a:custGeom>
                <a:avLst/>
                <a:gdLst>
                  <a:gd name="connsiteX0" fmla="*/ 64484 w 218422"/>
                  <a:gd name="connsiteY0" fmla="*/ 114395 h 289464"/>
                  <a:gd name="connsiteX1" fmla="*/ 113538 w 218422"/>
                  <a:gd name="connsiteY1" fmla="*/ 47625 h 289464"/>
                  <a:gd name="connsiteX2" fmla="*/ 156591 w 218422"/>
                  <a:gd name="connsiteY2" fmla="*/ 114395 h 289464"/>
                  <a:gd name="connsiteX3" fmla="*/ 64484 w 218422"/>
                  <a:gd name="connsiteY3" fmla="*/ 114395 h 289464"/>
                  <a:gd name="connsiteX4" fmla="*/ 214027 w 218422"/>
                  <a:gd name="connsiteY4" fmla="*/ 211074 h 289464"/>
                  <a:gd name="connsiteX5" fmla="*/ 150781 w 218422"/>
                  <a:gd name="connsiteY5" fmla="*/ 229743 h 289464"/>
                  <a:gd name="connsiteX6" fmla="*/ 71914 w 218422"/>
                  <a:gd name="connsiteY6" fmla="*/ 158305 h 289464"/>
                  <a:gd name="connsiteX7" fmla="*/ 216980 w 218422"/>
                  <a:gd name="connsiteY7" fmla="*/ 158020 h 289464"/>
                  <a:gd name="connsiteX8" fmla="*/ 216694 w 218422"/>
                  <a:gd name="connsiteY8" fmla="*/ 85725 h 289464"/>
                  <a:gd name="connsiteX9" fmla="*/ 116205 w 218422"/>
                  <a:gd name="connsiteY9" fmla="*/ 0 h 289464"/>
                  <a:gd name="connsiteX10" fmla="*/ 0 w 218422"/>
                  <a:gd name="connsiteY10" fmla="*/ 147733 h 289464"/>
                  <a:gd name="connsiteX11" fmla="*/ 133064 w 218422"/>
                  <a:gd name="connsiteY11" fmla="*/ 289465 h 289464"/>
                  <a:gd name="connsiteX12" fmla="*/ 191167 w 218422"/>
                  <a:gd name="connsiteY12" fmla="*/ 274511 h 289464"/>
                  <a:gd name="connsiteX13" fmla="*/ 214027 w 218422"/>
                  <a:gd name="connsiteY13" fmla="*/ 211074 h 28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8422" h="289464">
                    <a:moveTo>
                      <a:pt x="64484" y="114395"/>
                    </a:moveTo>
                    <a:cubicBezTo>
                      <a:pt x="64484" y="85630"/>
                      <a:pt x="85820" y="47625"/>
                      <a:pt x="113538" y="47625"/>
                    </a:cubicBezTo>
                    <a:cubicBezTo>
                      <a:pt x="136589" y="47625"/>
                      <a:pt x="156591" y="72866"/>
                      <a:pt x="156591" y="114395"/>
                    </a:cubicBezTo>
                    <a:lnTo>
                      <a:pt x="64484" y="114395"/>
                    </a:lnTo>
                    <a:close/>
                    <a:moveTo>
                      <a:pt x="214027" y="211074"/>
                    </a:moveTo>
                    <a:cubicBezTo>
                      <a:pt x="183071" y="225266"/>
                      <a:pt x="172784" y="229743"/>
                      <a:pt x="150781" y="229743"/>
                    </a:cubicBezTo>
                    <a:cubicBezTo>
                      <a:pt x="89821" y="229743"/>
                      <a:pt x="73438" y="177260"/>
                      <a:pt x="71914" y="158305"/>
                    </a:cubicBezTo>
                    <a:lnTo>
                      <a:pt x="216980" y="158020"/>
                    </a:lnTo>
                    <a:cubicBezTo>
                      <a:pt x="216980" y="128111"/>
                      <a:pt x="220409" y="107823"/>
                      <a:pt x="216694" y="85725"/>
                    </a:cubicBezTo>
                    <a:cubicBezTo>
                      <a:pt x="208788" y="33147"/>
                      <a:pt x="161449" y="0"/>
                      <a:pt x="116205" y="0"/>
                    </a:cubicBezTo>
                    <a:cubicBezTo>
                      <a:pt x="51530" y="0"/>
                      <a:pt x="0" y="56293"/>
                      <a:pt x="0" y="147733"/>
                    </a:cubicBezTo>
                    <a:cubicBezTo>
                      <a:pt x="0" y="209741"/>
                      <a:pt x="45339" y="289465"/>
                      <a:pt x="133064" y="289465"/>
                    </a:cubicBezTo>
                    <a:cubicBezTo>
                      <a:pt x="158782" y="289465"/>
                      <a:pt x="174308" y="280321"/>
                      <a:pt x="191167" y="274511"/>
                    </a:cubicBezTo>
                    <a:lnTo>
                      <a:pt x="214027" y="211074"/>
                    </a:lnTo>
                    <a:close/>
                  </a:path>
                </a:pathLst>
              </a:custGeom>
              <a:grpFill/>
              <a:ln w="9525" cap="flat">
                <a:noFill/>
                <a:prstDash val="solid"/>
                <a:miter/>
              </a:ln>
            </p:spPr>
            <p:txBody>
              <a:bodyPr rtlCol="0" anchor="ctr"/>
              <a:lstStyle/>
              <a:p>
                <a:endParaRPr lang="en-US" sz="1050"/>
              </a:p>
            </p:txBody>
          </p:sp>
          <p:sp>
            <p:nvSpPr>
              <p:cNvPr id="12" name="Vrije vorm: vorm 11">
                <a:extLst>
                  <a:ext uri="{FF2B5EF4-FFF2-40B4-BE49-F238E27FC236}">
                    <a16:creationId xmlns:a16="http://schemas.microsoft.com/office/drawing/2014/main" id="{2AC9820B-303D-488C-B4EB-BC26A2E9BCAD}"/>
                  </a:ext>
                </a:extLst>
              </p:cNvPr>
              <p:cNvSpPr/>
              <p:nvPr/>
            </p:nvSpPr>
            <p:spPr>
              <a:xfrm>
                <a:off x="7288665" y="5056434"/>
                <a:ext cx="188023" cy="395001"/>
              </a:xfrm>
              <a:custGeom>
                <a:avLst/>
                <a:gdLst>
                  <a:gd name="connsiteX0" fmla="*/ 158782 w 188023"/>
                  <a:gd name="connsiteY0" fmla="*/ 169831 h 395001"/>
                  <a:gd name="connsiteX1" fmla="*/ 101822 w 188023"/>
                  <a:gd name="connsiteY1" fmla="*/ 169831 h 395001"/>
                  <a:gd name="connsiteX2" fmla="*/ 101822 w 188023"/>
                  <a:gd name="connsiteY2" fmla="*/ 328232 h 395001"/>
                  <a:gd name="connsiteX3" fmla="*/ 116491 w 188023"/>
                  <a:gd name="connsiteY3" fmla="*/ 393954 h 395001"/>
                  <a:gd name="connsiteX4" fmla="*/ 23717 w 188023"/>
                  <a:gd name="connsiteY4" fmla="*/ 395002 h 395001"/>
                  <a:gd name="connsiteX5" fmla="*/ 38957 w 188023"/>
                  <a:gd name="connsiteY5" fmla="*/ 324041 h 395001"/>
                  <a:gd name="connsiteX6" fmla="*/ 38957 w 188023"/>
                  <a:gd name="connsiteY6" fmla="*/ 169831 h 395001"/>
                  <a:gd name="connsiteX7" fmla="*/ 0 w 188023"/>
                  <a:gd name="connsiteY7" fmla="*/ 168783 h 395001"/>
                  <a:gd name="connsiteX8" fmla="*/ 24479 w 188023"/>
                  <a:gd name="connsiteY8" fmla="*/ 121253 h 395001"/>
                  <a:gd name="connsiteX9" fmla="*/ 38957 w 188023"/>
                  <a:gd name="connsiteY9" fmla="*/ 121158 h 395001"/>
                  <a:gd name="connsiteX10" fmla="*/ 38957 w 188023"/>
                  <a:gd name="connsiteY10" fmla="*/ 104870 h 395001"/>
                  <a:gd name="connsiteX11" fmla="*/ 129349 w 188023"/>
                  <a:gd name="connsiteY11" fmla="*/ 0 h 395001"/>
                  <a:gd name="connsiteX12" fmla="*/ 188023 w 188023"/>
                  <a:gd name="connsiteY12" fmla="*/ 9716 h 395001"/>
                  <a:gd name="connsiteX13" fmla="*/ 177546 w 188023"/>
                  <a:gd name="connsiteY13" fmla="*/ 62770 h 395001"/>
                  <a:gd name="connsiteX14" fmla="*/ 137636 w 188023"/>
                  <a:gd name="connsiteY14" fmla="*/ 47625 h 395001"/>
                  <a:gd name="connsiteX15" fmla="*/ 101917 w 188023"/>
                  <a:gd name="connsiteY15" fmla="*/ 90106 h 395001"/>
                  <a:gd name="connsiteX16" fmla="*/ 101917 w 188023"/>
                  <a:gd name="connsiteY16" fmla="*/ 118967 h 395001"/>
                  <a:gd name="connsiteX17" fmla="*/ 158877 w 188023"/>
                  <a:gd name="connsiteY17" fmla="*/ 118967 h 395001"/>
                  <a:gd name="connsiteX18" fmla="*/ 158877 w 188023"/>
                  <a:gd name="connsiteY18" fmla="*/ 169831 h 39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8023" h="395001">
                    <a:moveTo>
                      <a:pt x="158782" y="169831"/>
                    </a:moveTo>
                    <a:lnTo>
                      <a:pt x="101822" y="169831"/>
                    </a:lnTo>
                    <a:lnTo>
                      <a:pt x="101822" y="328232"/>
                    </a:lnTo>
                    <a:cubicBezTo>
                      <a:pt x="101822" y="366046"/>
                      <a:pt x="108680" y="379190"/>
                      <a:pt x="116491" y="393954"/>
                    </a:cubicBezTo>
                    <a:lnTo>
                      <a:pt x="23717" y="395002"/>
                    </a:lnTo>
                    <a:cubicBezTo>
                      <a:pt x="36290" y="371856"/>
                      <a:pt x="38957" y="352996"/>
                      <a:pt x="38957" y="324041"/>
                    </a:cubicBezTo>
                    <a:lnTo>
                      <a:pt x="38957" y="169831"/>
                    </a:lnTo>
                    <a:lnTo>
                      <a:pt x="0" y="168783"/>
                    </a:lnTo>
                    <a:cubicBezTo>
                      <a:pt x="10192" y="155734"/>
                      <a:pt x="24479" y="121253"/>
                      <a:pt x="24479" y="121253"/>
                    </a:cubicBezTo>
                    <a:lnTo>
                      <a:pt x="38957" y="121158"/>
                    </a:lnTo>
                    <a:lnTo>
                      <a:pt x="38957" y="104870"/>
                    </a:lnTo>
                    <a:cubicBezTo>
                      <a:pt x="38957" y="65246"/>
                      <a:pt x="52006" y="0"/>
                      <a:pt x="129349" y="0"/>
                    </a:cubicBezTo>
                    <a:cubicBezTo>
                      <a:pt x="149352" y="0"/>
                      <a:pt x="173831" y="6572"/>
                      <a:pt x="188023" y="9716"/>
                    </a:cubicBezTo>
                    <a:cubicBezTo>
                      <a:pt x="182785" y="36004"/>
                      <a:pt x="181165" y="37529"/>
                      <a:pt x="177546" y="62770"/>
                    </a:cubicBezTo>
                    <a:cubicBezTo>
                      <a:pt x="171259" y="49625"/>
                      <a:pt x="156019" y="47625"/>
                      <a:pt x="137636" y="47625"/>
                    </a:cubicBezTo>
                    <a:cubicBezTo>
                      <a:pt x="116395" y="47625"/>
                      <a:pt x="101917" y="73819"/>
                      <a:pt x="101917" y="90106"/>
                    </a:cubicBezTo>
                    <a:lnTo>
                      <a:pt x="101917" y="118967"/>
                    </a:lnTo>
                    <a:lnTo>
                      <a:pt x="158877" y="118967"/>
                    </a:lnTo>
                    <a:lnTo>
                      <a:pt x="158877" y="169831"/>
                    </a:lnTo>
                    <a:close/>
                  </a:path>
                </a:pathLst>
              </a:custGeom>
              <a:grpFill/>
              <a:ln w="9525" cap="flat">
                <a:noFill/>
                <a:prstDash val="solid"/>
                <a:miter/>
              </a:ln>
            </p:spPr>
            <p:txBody>
              <a:bodyPr rtlCol="0" anchor="ctr"/>
              <a:lstStyle/>
              <a:p>
                <a:endParaRPr lang="en-US" sz="1050"/>
              </a:p>
            </p:txBody>
          </p:sp>
          <p:sp>
            <p:nvSpPr>
              <p:cNvPr id="13" name="Vrije vorm: vorm 12">
                <a:extLst>
                  <a:ext uri="{FF2B5EF4-FFF2-40B4-BE49-F238E27FC236}">
                    <a16:creationId xmlns:a16="http://schemas.microsoft.com/office/drawing/2014/main" id="{126558F1-084A-4CBF-9B47-0256C954CB83}"/>
                  </a:ext>
                </a:extLst>
              </p:cNvPr>
              <p:cNvSpPr/>
              <p:nvPr/>
            </p:nvSpPr>
            <p:spPr>
              <a:xfrm>
                <a:off x="7491261" y="5168829"/>
                <a:ext cx="175355" cy="282511"/>
              </a:xfrm>
              <a:custGeom>
                <a:avLst/>
                <a:gdLst>
                  <a:gd name="connsiteX0" fmla="*/ 86868 w 175355"/>
                  <a:gd name="connsiteY0" fmla="*/ 7144 h 282511"/>
                  <a:gd name="connsiteX1" fmla="*/ 84201 w 175355"/>
                  <a:gd name="connsiteY1" fmla="*/ 44958 h 282511"/>
                  <a:gd name="connsiteX2" fmla="*/ 84201 w 175355"/>
                  <a:gd name="connsiteY2" fmla="*/ 58293 h 282511"/>
                  <a:gd name="connsiteX3" fmla="*/ 147161 w 175355"/>
                  <a:gd name="connsiteY3" fmla="*/ 0 h 282511"/>
                  <a:gd name="connsiteX4" fmla="*/ 175355 w 175355"/>
                  <a:gd name="connsiteY4" fmla="*/ 9716 h 282511"/>
                  <a:gd name="connsiteX5" fmla="*/ 166402 w 175355"/>
                  <a:gd name="connsiteY5" fmla="*/ 73057 h 282511"/>
                  <a:gd name="connsiteX6" fmla="*/ 138875 w 175355"/>
                  <a:gd name="connsiteY6" fmla="*/ 58865 h 282511"/>
                  <a:gd name="connsiteX7" fmla="*/ 84201 w 175355"/>
                  <a:gd name="connsiteY7" fmla="*/ 97536 h 282511"/>
                  <a:gd name="connsiteX8" fmla="*/ 84201 w 175355"/>
                  <a:gd name="connsiteY8" fmla="*/ 217837 h 282511"/>
                  <a:gd name="connsiteX9" fmla="*/ 97917 w 175355"/>
                  <a:gd name="connsiteY9" fmla="*/ 282512 h 282511"/>
                  <a:gd name="connsiteX10" fmla="*/ 0 w 175355"/>
                  <a:gd name="connsiteY10" fmla="*/ 282512 h 282511"/>
                  <a:gd name="connsiteX11" fmla="*/ 13621 w 175355"/>
                  <a:gd name="connsiteY11" fmla="*/ 229934 h 282511"/>
                  <a:gd name="connsiteX12" fmla="*/ 13621 w 175355"/>
                  <a:gd name="connsiteY12" fmla="*/ 55055 h 282511"/>
                  <a:gd name="connsiteX13" fmla="*/ 4667 w 175355"/>
                  <a:gd name="connsiteY13" fmla="*/ 7239 h 282511"/>
                  <a:gd name="connsiteX14" fmla="*/ 86868 w 175355"/>
                  <a:gd name="connsiteY14" fmla="*/ 7239 h 28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5355" h="282511">
                    <a:moveTo>
                      <a:pt x="86868" y="7144"/>
                    </a:moveTo>
                    <a:cubicBezTo>
                      <a:pt x="84201" y="21336"/>
                      <a:pt x="84201" y="27146"/>
                      <a:pt x="84201" y="44958"/>
                    </a:cubicBezTo>
                    <a:lnTo>
                      <a:pt x="84201" y="58293"/>
                    </a:lnTo>
                    <a:cubicBezTo>
                      <a:pt x="111442" y="18288"/>
                      <a:pt x="126016" y="0"/>
                      <a:pt x="147161" y="0"/>
                    </a:cubicBezTo>
                    <a:cubicBezTo>
                      <a:pt x="158686" y="0"/>
                      <a:pt x="166878" y="5525"/>
                      <a:pt x="175355" y="9716"/>
                    </a:cubicBezTo>
                    <a:lnTo>
                      <a:pt x="166402" y="73057"/>
                    </a:lnTo>
                    <a:cubicBezTo>
                      <a:pt x="156496" y="63341"/>
                      <a:pt x="149733" y="58865"/>
                      <a:pt x="138875" y="58865"/>
                    </a:cubicBezTo>
                    <a:cubicBezTo>
                      <a:pt x="109919" y="58865"/>
                      <a:pt x="94774" y="87630"/>
                      <a:pt x="84201" y="97536"/>
                    </a:cubicBezTo>
                    <a:lnTo>
                      <a:pt x="84201" y="217837"/>
                    </a:lnTo>
                    <a:cubicBezTo>
                      <a:pt x="84201" y="257842"/>
                      <a:pt x="88392" y="266700"/>
                      <a:pt x="97917" y="282512"/>
                    </a:cubicBezTo>
                    <a:lnTo>
                      <a:pt x="0" y="282512"/>
                    </a:lnTo>
                    <a:cubicBezTo>
                      <a:pt x="11049" y="265176"/>
                      <a:pt x="13621" y="256222"/>
                      <a:pt x="13621" y="229934"/>
                    </a:cubicBezTo>
                    <a:lnTo>
                      <a:pt x="13621" y="55055"/>
                    </a:lnTo>
                    <a:cubicBezTo>
                      <a:pt x="13621" y="45053"/>
                      <a:pt x="13621" y="33528"/>
                      <a:pt x="4667" y="7239"/>
                    </a:cubicBezTo>
                    <a:lnTo>
                      <a:pt x="86868" y="7239"/>
                    </a:lnTo>
                    <a:close/>
                  </a:path>
                </a:pathLst>
              </a:custGeom>
              <a:grpFill/>
              <a:ln w="9525" cap="flat">
                <a:noFill/>
                <a:prstDash val="solid"/>
                <a:miter/>
              </a:ln>
            </p:spPr>
            <p:txBody>
              <a:bodyPr rtlCol="0" anchor="ctr"/>
              <a:lstStyle/>
              <a:p>
                <a:endParaRPr lang="en-US" sz="1050"/>
              </a:p>
            </p:txBody>
          </p:sp>
          <p:sp>
            <p:nvSpPr>
              <p:cNvPr id="14" name="Vrije vorm: vorm 13">
                <a:extLst>
                  <a:ext uri="{FF2B5EF4-FFF2-40B4-BE49-F238E27FC236}">
                    <a16:creationId xmlns:a16="http://schemas.microsoft.com/office/drawing/2014/main" id="{1FE8E604-7447-438B-BCF6-6C97BAFBBE63}"/>
                  </a:ext>
                </a:extLst>
              </p:cNvPr>
              <p:cNvSpPr/>
              <p:nvPr/>
            </p:nvSpPr>
            <p:spPr>
              <a:xfrm>
                <a:off x="7686143" y="5170829"/>
                <a:ext cx="216904" cy="286607"/>
              </a:xfrm>
              <a:custGeom>
                <a:avLst/>
                <a:gdLst>
                  <a:gd name="connsiteX0" fmla="*/ 67342 w 216904"/>
                  <a:gd name="connsiteY0" fmla="*/ 114300 h 286607"/>
                  <a:gd name="connsiteX1" fmla="*/ 110585 w 216904"/>
                  <a:gd name="connsiteY1" fmla="*/ 47530 h 286607"/>
                  <a:gd name="connsiteX2" fmla="*/ 150781 w 216904"/>
                  <a:gd name="connsiteY2" fmla="*/ 114300 h 286607"/>
                  <a:gd name="connsiteX3" fmla="*/ 67342 w 216904"/>
                  <a:gd name="connsiteY3" fmla="*/ 114300 h 286607"/>
                  <a:gd name="connsiteX4" fmla="*/ 211169 w 216904"/>
                  <a:gd name="connsiteY4" fmla="*/ 210979 h 286607"/>
                  <a:gd name="connsiteX5" fmla="*/ 153638 w 216904"/>
                  <a:gd name="connsiteY5" fmla="*/ 229648 h 286607"/>
                  <a:gd name="connsiteX6" fmla="*/ 71819 w 216904"/>
                  <a:gd name="connsiteY6" fmla="*/ 158210 h 286607"/>
                  <a:gd name="connsiteX7" fmla="*/ 216884 w 216904"/>
                  <a:gd name="connsiteY7" fmla="*/ 155067 h 286607"/>
                  <a:gd name="connsiteX8" fmla="*/ 213741 w 216904"/>
                  <a:gd name="connsiteY8" fmla="*/ 82772 h 286607"/>
                  <a:gd name="connsiteX9" fmla="*/ 116205 w 216904"/>
                  <a:gd name="connsiteY9" fmla="*/ 0 h 286607"/>
                  <a:gd name="connsiteX10" fmla="*/ 0 w 216904"/>
                  <a:gd name="connsiteY10" fmla="*/ 144875 h 286607"/>
                  <a:gd name="connsiteX11" fmla="*/ 124396 w 216904"/>
                  <a:gd name="connsiteY11" fmla="*/ 286607 h 286607"/>
                  <a:gd name="connsiteX12" fmla="*/ 185357 w 216904"/>
                  <a:gd name="connsiteY12" fmla="*/ 274511 h 286607"/>
                  <a:gd name="connsiteX13" fmla="*/ 211169 w 216904"/>
                  <a:gd name="connsiteY13" fmla="*/ 210979 h 28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904" h="286607">
                    <a:moveTo>
                      <a:pt x="67342" y="114300"/>
                    </a:moveTo>
                    <a:cubicBezTo>
                      <a:pt x="71533" y="67532"/>
                      <a:pt x="91250" y="47530"/>
                      <a:pt x="110585" y="47530"/>
                    </a:cubicBezTo>
                    <a:cubicBezTo>
                      <a:pt x="131921" y="47530"/>
                      <a:pt x="152305" y="64294"/>
                      <a:pt x="150781" y="114300"/>
                    </a:cubicBezTo>
                    <a:lnTo>
                      <a:pt x="67342" y="114300"/>
                    </a:lnTo>
                    <a:close/>
                    <a:moveTo>
                      <a:pt x="211169" y="210979"/>
                    </a:moveTo>
                    <a:cubicBezTo>
                      <a:pt x="180213" y="225171"/>
                      <a:pt x="175736" y="229648"/>
                      <a:pt x="153638" y="229648"/>
                    </a:cubicBezTo>
                    <a:cubicBezTo>
                      <a:pt x="92678" y="229648"/>
                      <a:pt x="73438" y="177165"/>
                      <a:pt x="71819" y="158210"/>
                    </a:cubicBezTo>
                    <a:lnTo>
                      <a:pt x="216884" y="155067"/>
                    </a:lnTo>
                    <a:cubicBezTo>
                      <a:pt x="216884" y="125158"/>
                      <a:pt x="217361" y="104775"/>
                      <a:pt x="213741" y="82772"/>
                    </a:cubicBezTo>
                    <a:cubicBezTo>
                      <a:pt x="205835" y="30194"/>
                      <a:pt x="161354" y="0"/>
                      <a:pt x="116205" y="0"/>
                    </a:cubicBezTo>
                    <a:cubicBezTo>
                      <a:pt x="51530" y="0"/>
                      <a:pt x="0" y="53340"/>
                      <a:pt x="0" y="144875"/>
                    </a:cubicBezTo>
                    <a:cubicBezTo>
                      <a:pt x="0" y="206883"/>
                      <a:pt x="36576" y="286607"/>
                      <a:pt x="124396" y="286607"/>
                    </a:cubicBezTo>
                    <a:cubicBezTo>
                      <a:pt x="150114" y="286607"/>
                      <a:pt x="168497" y="280321"/>
                      <a:pt x="185357" y="274511"/>
                    </a:cubicBezTo>
                    <a:lnTo>
                      <a:pt x="211169" y="210979"/>
                    </a:lnTo>
                    <a:close/>
                  </a:path>
                </a:pathLst>
              </a:custGeom>
              <a:grpFill/>
              <a:ln w="9525" cap="flat">
                <a:noFill/>
                <a:prstDash val="solid"/>
                <a:miter/>
              </a:ln>
            </p:spPr>
            <p:txBody>
              <a:bodyPr rtlCol="0" anchor="ctr"/>
              <a:lstStyle/>
              <a:p>
                <a:endParaRPr lang="en-US" sz="1050"/>
              </a:p>
            </p:txBody>
          </p:sp>
          <p:sp>
            <p:nvSpPr>
              <p:cNvPr id="15" name="Vrije vorm: vorm 14">
                <a:extLst>
                  <a:ext uri="{FF2B5EF4-FFF2-40B4-BE49-F238E27FC236}">
                    <a16:creationId xmlns:a16="http://schemas.microsoft.com/office/drawing/2014/main" id="{3FD7AF89-953C-41C1-8A3E-F7CEE877E9DB}"/>
                  </a:ext>
                </a:extLst>
              </p:cNvPr>
              <p:cNvSpPr/>
              <p:nvPr/>
            </p:nvSpPr>
            <p:spPr>
              <a:xfrm>
                <a:off x="7932269" y="5170639"/>
                <a:ext cx="156114" cy="286988"/>
              </a:xfrm>
              <a:custGeom>
                <a:avLst/>
                <a:gdLst>
                  <a:gd name="connsiteX0" fmla="*/ 152876 w 156114"/>
                  <a:gd name="connsiteY0" fmla="*/ 61055 h 286988"/>
                  <a:gd name="connsiteX1" fmla="*/ 110585 w 156114"/>
                  <a:gd name="connsiteY1" fmla="*/ 48482 h 286988"/>
                  <a:gd name="connsiteX2" fmla="*/ 76486 w 156114"/>
                  <a:gd name="connsiteY2" fmla="*/ 73628 h 286988"/>
                  <a:gd name="connsiteX3" fmla="*/ 114586 w 156114"/>
                  <a:gd name="connsiteY3" fmla="*/ 119824 h 286988"/>
                  <a:gd name="connsiteX4" fmla="*/ 156115 w 156114"/>
                  <a:gd name="connsiteY4" fmla="*/ 201835 h 286988"/>
                  <a:gd name="connsiteX5" fmla="*/ 66199 w 156114"/>
                  <a:gd name="connsiteY5" fmla="*/ 286988 h 286988"/>
                  <a:gd name="connsiteX6" fmla="*/ 0 w 156114"/>
                  <a:gd name="connsiteY6" fmla="*/ 274130 h 286988"/>
                  <a:gd name="connsiteX7" fmla="*/ 762 w 156114"/>
                  <a:gd name="connsiteY7" fmla="*/ 208978 h 286988"/>
                  <a:gd name="connsiteX8" fmla="*/ 64103 w 156114"/>
                  <a:gd name="connsiteY8" fmla="*/ 239649 h 286988"/>
                  <a:gd name="connsiteX9" fmla="*/ 92964 w 156114"/>
                  <a:gd name="connsiteY9" fmla="*/ 213931 h 286988"/>
                  <a:gd name="connsiteX10" fmla="*/ 60960 w 156114"/>
                  <a:gd name="connsiteY10" fmla="*/ 168212 h 286988"/>
                  <a:gd name="connsiteX11" fmla="*/ 8382 w 156114"/>
                  <a:gd name="connsiteY11" fmla="*/ 83058 h 286988"/>
                  <a:gd name="connsiteX12" fmla="*/ 100394 w 156114"/>
                  <a:gd name="connsiteY12" fmla="*/ 0 h 286988"/>
                  <a:gd name="connsiteX13" fmla="*/ 152971 w 156114"/>
                  <a:gd name="connsiteY13" fmla="*/ 11525 h 286988"/>
                  <a:gd name="connsiteX14" fmla="*/ 152971 w 156114"/>
                  <a:gd name="connsiteY14" fmla="*/ 61055 h 28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114" h="286988">
                    <a:moveTo>
                      <a:pt x="152876" y="61055"/>
                    </a:moveTo>
                    <a:cubicBezTo>
                      <a:pt x="141351" y="51149"/>
                      <a:pt x="123063" y="48482"/>
                      <a:pt x="110585" y="48482"/>
                    </a:cubicBezTo>
                    <a:cubicBezTo>
                      <a:pt x="94298" y="48482"/>
                      <a:pt x="76486" y="60103"/>
                      <a:pt x="76486" y="73628"/>
                    </a:cubicBezTo>
                    <a:cubicBezTo>
                      <a:pt x="76486" y="94678"/>
                      <a:pt x="94869" y="105061"/>
                      <a:pt x="114586" y="119824"/>
                    </a:cubicBezTo>
                    <a:cubicBezTo>
                      <a:pt x="141827" y="140398"/>
                      <a:pt x="156115" y="163449"/>
                      <a:pt x="156115" y="201835"/>
                    </a:cubicBezTo>
                    <a:cubicBezTo>
                      <a:pt x="156115" y="248603"/>
                      <a:pt x="125063" y="286988"/>
                      <a:pt x="66199" y="286988"/>
                    </a:cubicBezTo>
                    <a:cubicBezTo>
                      <a:pt x="59341" y="286988"/>
                      <a:pt x="33623" y="284131"/>
                      <a:pt x="0" y="274130"/>
                    </a:cubicBezTo>
                    <a:lnTo>
                      <a:pt x="762" y="208978"/>
                    </a:lnTo>
                    <a:cubicBezTo>
                      <a:pt x="26575" y="231839"/>
                      <a:pt x="48292" y="239839"/>
                      <a:pt x="64103" y="239649"/>
                    </a:cubicBezTo>
                    <a:cubicBezTo>
                      <a:pt x="79915" y="239458"/>
                      <a:pt x="92583" y="228791"/>
                      <a:pt x="92964" y="213931"/>
                    </a:cubicBezTo>
                    <a:cubicBezTo>
                      <a:pt x="93345" y="201644"/>
                      <a:pt x="86487" y="190500"/>
                      <a:pt x="60960" y="168212"/>
                    </a:cubicBezTo>
                    <a:cubicBezTo>
                      <a:pt x="44958" y="154210"/>
                      <a:pt x="8382" y="127159"/>
                      <a:pt x="8382" y="83058"/>
                    </a:cubicBezTo>
                    <a:cubicBezTo>
                      <a:pt x="8382" y="52578"/>
                      <a:pt x="34671" y="0"/>
                      <a:pt x="100394" y="0"/>
                    </a:cubicBezTo>
                    <a:cubicBezTo>
                      <a:pt x="121920" y="0"/>
                      <a:pt x="133541" y="4191"/>
                      <a:pt x="152971" y="11525"/>
                    </a:cubicBezTo>
                    <a:lnTo>
                      <a:pt x="152971" y="61055"/>
                    </a:lnTo>
                    <a:close/>
                  </a:path>
                </a:pathLst>
              </a:custGeom>
              <a:grpFill/>
              <a:ln w="9525" cap="flat">
                <a:noFill/>
                <a:prstDash val="solid"/>
                <a:miter/>
              </a:ln>
            </p:spPr>
            <p:txBody>
              <a:bodyPr rtlCol="0" anchor="ctr"/>
              <a:lstStyle/>
              <a:p>
                <a:endParaRPr lang="en-US" sz="1050"/>
              </a:p>
            </p:txBody>
          </p:sp>
          <p:sp>
            <p:nvSpPr>
              <p:cNvPr id="16" name="Vrije vorm: vorm 15">
                <a:extLst>
                  <a:ext uri="{FF2B5EF4-FFF2-40B4-BE49-F238E27FC236}">
                    <a16:creationId xmlns:a16="http://schemas.microsoft.com/office/drawing/2014/main" id="{71750409-B381-4F73-A11A-9415658498B4}"/>
                  </a:ext>
                </a:extLst>
              </p:cNvPr>
              <p:cNvSpPr/>
              <p:nvPr/>
            </p:nvSpPr>
            <p:spPr>
              <a:xfrm>
                <a:off x="8116958" y="5172163"/>
                <a:ext cx="214883" cy="283940"/>
              </a:xfrm>
              <a:custGeom>
                <a:avLst/>
                <a:gdLst>
                  <a:gd name="connsiteX0" fmla="*/ 200882 w 214883"/>
                  <a:gd name="connsiteY0" fmla="*/ 72676 h 283940"/>
                  <a:gd name="connsiteX1" fmla="*/ 146495 w 214883"/>
                  <a:gd name="connsiteY1" fmla="*/ 46863 h 283940"/>
                  <a:gd name="connsiteX2" fmla="*/ 73819 w 214883"/>
                  <a:gd name="connsiteY2" fmla="*/ 139446 h 283940"/>
                  <a:gd name="connsiteX3" fmla="*/ 156782 w 214883"/>
                  <a:gd name="connsiteY3" fmla="*/ 228790 h 283940"/>
                  <a:gd name="connsiteX4" fmla="*/ 214884 w 214883"/>
                  <a:gd name="connsiteY4" fmla="*/ 211550 h 283940"/>
                  <a:gd name="connsiteX5" fmla="*/ 188024 w 214883"/>
                  <a:gd name="connsiteY5" fmla="*/ 280416 h 283940"/>
                  <a:gd name="connsiteX6" fmla="*/ 127730 w 214883"/>
                  <a:gd name="connsiteY6" fmla="*/ 283940 h 283940"/>
                  <a:gd name="connsiteX7" fmla="*/ 0 w 214883"/>
                  <a:gd name="connsiteY7" fmla="*/ 154686 h 283940"/>
                  <a:gd name="connsiteX8" fmla="*/ 151352 w 214883"/>
                  <a:gd name="connsiteY8" fmla="*/ 0 h 283940"/>
                  <a:gd name="connsiteX9" fmla="*/ 206312 w 214883"/>
                  <a:gd name="connsiteY9" fmla="*/ 8572 h 283940"/>
                  <a:gd name="connsiteX10" fmla="*/ 200882 w 214883"/>
                  <a:gd name="connsiteY10" fmla="*/ 72676 h 28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883" h="283940">
                    <a:moveTo>
                      <a:pt x="200882" y="72676"/>
                    </a:moveTo>
                    <a:cubicBezTo>
                      <a:pt x="195834" y="67437"/>
                      <a:pt x="178689" y="46863"/>
                      <a:pt x="146495" y="46863"/>
                    </a:cubicBezTo>
                    <a:cubicBezTo>
                      <a:pt x="90678" y="46863"/>
                      <a:pt x="73819" y="104775"/>
                      <a:pt x="73819" y="139446"/>
                    </a:cubicBezTo>
                    <a:cubicBezTo>
                      <a:pt x="73819" y="206216"/>
                      <a:pt x="134017" y="228790"/>
                      <a:pt x="156782" y="228790"/>
                    </a:cubicBezTo>
                    <a:cubicBezTo>
                      <a:pt x="180404" y="228790"/>
                      <a:pt x="201454" y="219075"/>
                      <a:pt x="214884" y="211550"/>
                    </a:cubicBezTo>
                    <a:lnTo>
                      <a:pt x="188024" y="280416"/>
                    </a:lnTo>
                    <a:cubicBezTo>
                      <a:pt x="173450" y="283083"/>
                      <a:pt x="147733" y="283940"/>
                      <a:pt x="127730" y="283940"/>
                    </a:cubicBezTo>
                    <a:cubicBezTo>
                      <a:pt x="60293" y="283940"/>
                      <a:pt x="0" y="219075"/>
                      <a:pt x="0" y="154686"/>
                    </a:cubicBezTo>
                    <a:cubicBezTo>
                      <a:pt x="0" y="96298"/>
                      <a:pt x="30671" y="0"/>
                      <a:pt x="151352" y="0"/>
                    </a:cubicBezTo>
                    <a:cubicBezTo>
                      <a:pt x="175546" y="0"/>
                      <a:pt x="192119" y="6001"/>
                      <a:pt x="206312" y="8572"/>
                    </a:cubicBezTo>
                    <a:lnTo>
                      <a:pt x="200882" y="72676"/>
                    </a:lnTo>
                    <a:close/>
                  </a:path>
                </a:pathLst>
              </a:custGeom>
              <a:grpFill/>
              <a:ln w="9525" cap="flat">
                <a:noFill/>
                <a:prstDash val="solid"/>
                <a:miter/>
              </a:ln>
            </p:spPr>
            <p:txBody>
              <a:bodyPr rtlCol="0" anchor="ctr"/>
              <a:lstStyle/>
              <a:p>
                <a:endParaRPr lang="en-US" sz="1050"/>
              </a:p>
            </p:txBody>
          </p:sp>
          <p:sp>
            <p:nvSpPr>
              <p:cNvPr id="17" name="Vrije vorm: vorm 16">
                <a:extLst>
                  <a:ext uri="{FF2B5EF4-FFF2-40B4-BE49-F238E27FC236}">
                    <a16:creationId xmlns:a16="http://schemas.microsoft.com/office/drawing/2014/main" id="{E8896D12-7A08-45A1-A559-61E3953E47A2}"/>
                  </a:ext>
                </a:extLst>
              </p:cNvPr>
              <p:cNvSpPr/>
              <p:nvPr/>
            </p:nvSpPr>
            <p:spPr>
              <a:xfrm>
                <a:off x="8354703" y="5169881"/>
                <a:ext cx="262318" cy="288698"/>
              </a:xfrm>
              <a:custGeom>
                <a:avLst/>
                <a:gdLst>
                  <a:gd name="connsiteX0" fmla="*/ 150590 w 262318"/>
                  <a:gd name="connsiteY0" fmla="*/ 240502 h 288698"/>
                  <a:gd name="connsiteX1" fmla="*/ 67913 w 262318"/>
                  <a:gd name="connsiteY1" fmla="*/ 141442 h 288698"/>
                  <a:gd name="connsiteX2" fmla="*/ 108490 w 262318"/>
                  <a:gd name="connsiteY2" fmla="*/ 46002 h 288698"/>
                  <a:gd name="connsiteX3" fmla="*/ 186785 w 262318"/>
                  <a:gd name="connsiteY3" fmla="*/ 145824 h 288698"/>
                  <a:gd name="connsiteX4" fmla="*/ 150590 w 262318"/>
                  <a:gd name="connsiteY4" fmla="*/ 240502 h 288698"/>
                  <a:gd name="connsiteX5" fmla="*/ 110871 w 262318"/>
                  <a:gd name="connsiteY5" fmla="*/ 91 h 288698"/>
                  <a:gd name="connsiteX6" fmla="*/ 0 w 262318"/>
                  <a:gd name="connsiteY6" fmla="*/ 154873 h 288698"/>
                  <a:gd name="connsiteX7" fmla="*/ 128302 w 262318"/>
                  <a:gd name="connsiteY7" fmla="*/ 288699 h 288698"/>
                  <a:gd name="connsiteX8" fmla="*/ 262318 w 262318"/>
                  <a:gd name="connsiteY8" fmla="*/ 134965 h 288698"/>
                  <a:gd name="connsiteX9" fmla="*/ 110871 w 262318"/>
                  <a:gd name="connsiteY9" fmla="*/ 91 h 28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318" h="288698">
                    <a:moveTo>
                      <a:pt x="150590" y="240502"/>
                    </a:moveTo>
                    <a:cubicBezTo>
                      <a:pt x="103822" y="244408"/>
                      <a:pt x="67913" y="181638"/>
                      <a:pt x="67913" y="141442"/>
                    </a:cubicBezTo>
                    <a:cubicBezTo>
                      <a:pt x="67913" y="101247"/>
                      <a:pt x="95917" y="46002"/>
                      <a:pt x="108490" y="46002"/>
                    </a:cubicBezTo>
                    <a:cubicBezTo>
                      <a:pt x="137160" y="46002"/>
                      <a:pt x="186785" y="79244"/>
                      <a:pt x="186785" y="145824"/>
                    </a:cubicBezTo>
                    <a:cubicBezTo>
                      <a:pt x="186785" y="207546"/>
                      <a:pt x="158020" y="234597"/>
                      <a:pt x="150590" y="240502"/>
                    </a:cubicBezTo>
                    <a:close/>
                    <a:moveTo>
                      <a:pt x="110871" y="91"/>
                    </a:moveTo>
                    <a:cubicBezTo>
                      <a:pt x="65627" y="13712"/>
                      <a:pt x="0" y="40287"/>
                      <a:pt x="0" y="154873"/>
                    </a:cubicBezTo>
                    <a:cubicBezTo>
                      <a:pt x="0" y="250504"/>
                      <a:pt x="74676" y="288699"/>
                      <a:pt x="128302" y="288699"/>
                    </a:cubicBezTo>
                    <a:cubicBezTo>
                      <a:pt x="161925" y="288699"/>
                      <a:pt x="262318" y="254790"/>
                      <a:pt x="262318" y="134965"/>
                    </a:cubicBezTo>
                    <a:cubicBezTo>
                      <a:pt x="262414" y="53431"/>
                      <a:pt x="186023" y="-2576"/>
                      <a:pt x="110871" y="91"/>
                    </a:cubicBezTo>
                    <a:close/>
                  </a:path>
                </a:pathLst>
              </a:custGeom>
              <a:grpFill/>
              <a:ln w="9525" cap="flat">
                <a:noFill/>
                <a:prstDash val="solid"/>
                <a:miter/>
              </a:ln>
            </p:spPr>
            <p:txBody>
              <a:bodyPr rtlCol="0" anchor="ctr"/>
              <a:lstStyle/>
              <a:p>
                <a:endParaRPr lang="en-US" sz="1050"/>
              </a:p>
            </p:txBody>
          </p:sp>
        </p:grpSp>
        <p:sp>
          <p:nvSpPr>
            <p:cNvPr id="8" name="Vrije vorm: vorm 7">
              <a:extLst>
                <a:ext uri="{FF2B5EF4-FFF2-40B4-BE49-F238E27FC236}">
                  <a16:creationId xmlns:a16="http://schemas.microsoft.com/office/drawing/2014/main" id="{31A86D20-CFDB-495A-9356-10E2D79B6224}"/>
                </a:ext>
              </a:extLst>
            </p:cNvPr>
            <p:cNvSpPr/>
            <p:nvPr/>
          </p:nvSpPr>
          <p:spPr>
            <a:xfrm>
              <a:off x="6610866" y="4731155"/>
              <a:ext cx="2143791" cy="273843"/>
            </a:xfrm>
            <a:custGeom>
              <a:avLst/>
              <a:gdLst>
                <a:gd name="connsiteX0" fmla="*/ 2143792 w 2143791"/>
                <a:gd name="connsiteY0" fmla="*/ 273844 h 273843"/>
                <a:gd name="connsiteX1" fmla="*/ 2120837 w 2143791"/>
                <a:gd name="connsiteY1" fmla="*/ 264224 h 273843"/>
                <a:gd name="connsiteX2" fmla="*/ 2055209 w 2143791"/>
                <a:gd name="connsiteY2" fmla="*/ 239268 h 273843"/>
                <a:gd name="connsiteX3" fmla="*/ 2007965 w 2143791"/>
                <a:gd name="connsiteY3" fmla="*/ 223076 h 273843"/>
                <a:gd name="connsiteX4" fmla="*/ 1951958 w 2143791"/>
                <a:gd name="connsiteY4" fmla="*/ 205169 h 273843"/>
                <a:gd name="connsiteX5" fmla="*/ 1920907 w 2143791"/>
                <a:gd name="connsiteY5" fmla="*/ 195739 h 273843"/>
                <a:gd name="connsiteX6" fmla="*/ 1887760 w 2143791"/>
                <a:gd name="connsiteY6" fmla="*/ 186595 h 273843"/>
                <a:gd name="connsiteX7" fmla="*/ 1852993 w 2143791"/>
                <a:gd name="connsiteY7" fmla="*/ 176975 h 273843"/>
                <a:gd name="connsiteX8" fmla="*/ 1816322 w 2143791"/>
                <a:gd name="connsiteY8" fmla="*/ 167831 h 273843"/>
                <a:gd name="connsiteX9" fmla="*/ 1778127 w 2143791"/>
                <a:gd name="connsiteY9" fmla="*/ 158306 h 273843"/>
                <a:gd name="connsiteX10" fmla="*/ 1738217 w 2143791"/>
                <a:gd name="connsiteY10" fmla="*/ 149638 h 273843"/>
                <a:gd name="connsiteX11" fmla="*/ 1696974 w 2143791"/>
                <a:gd name="connsiteY11" fmla="*/ 140494 h 273843"/>
                <a:gd name="connsiteX12" fmla="*/ 1654207 w 2143791"/>
                <a:gd name="connsiteY12" fmla="*/ 132493 h 273843"/>
                <a:gd name="connsiteX13" fmla="*/ 1610297 w 2143791"/>
                <a:gd name="connsiteY13" fmla="*/ 124111 h 273843"/>
                <a:gd name="connsiteX14" fmla="*/ 1565053 w 2143791"/>
                <a:gd name="connsiteY14" fmla="*/ 116967 h 273843"/>
                <a:gd name="connsiteX15" fmla="*/ 1518857 w 2143791"/>
                <a:gd name="connsiteY15" fmla="*/ 109633 h 273843"/>
                <a:gd name="connsiteX16" fmla="*/ 1471613 w 2143791"/>
                <a:gd name="connsiteY16" fmla="*/ 103632 h 273843"/>
                <a:gd name="connsiteX17" fmla="*/ 1374743 w 2143791"/>
                <a:gd name="connsiteY17" fmla="*/ 92869 h 273843"/>
                <a:gd name="connsiteX18" fmla="*/ 1325309 w 2143791"/>
                <a:gd name="connsiteY18" fmla="*/ 88392 h 273843"/>
                <a:gd name="connsiteX19" fmla="*/ 1275302 w 2143791"/>
                <a:gd name="connsiteY19" fmla="*/ 84868 h 273843"/>
                <a:gd name="connsiteX20" fmla="*/ 1224820 w 2143791"/>
                <a:gd name="connsiteY20" fmla="*/ 82106 h 273843"/>
                <a:gd name="connsiteX21" fmla="*/ 1174052 w 2143791"/>
                <a:gd name="connsiteY21" fmla="*/ 79915 h 273843"/>
                <a:gd name="connsiteX22" fmla="*/ 1071848 w 2143791"/>
                <a:gd name="connsiteY22" fmla="*/ 78010 h 273843"/>
                <a:gd name="connsiteX23" fmla="*/ 969074 w 2143791"/>
                <a:gd name="connsiteY23" fmla="*/ 79915 h 273843"/>
                <a:gd name="connsiteX24" fmla="*/ 918305 w 2143791"/>
                <a:gd name="connsiteY24" fmla="*/ 82106 h 273843"/>
                <a:gd name="connsiteX25" fmla="*/ 868204 w 2143791"/>
                <a:gd name="connsiteY25" fmla="*/ 84868 h 273843"/>
                <a:gd name="connsiteX26" fmla="*/ 818388 w 2143791"/>
                <a:gd name="connsiteY26" fmla="*/ 88392 h 273843"/>
                <a:gd name="connsiteX27" fmla="*/ 768953 w 2143791"/>
                <a:gd name="connsiteY27" fmla="*/ 92773 h 273843"/>
                <a:gd name="connsiteX28" fmla="*/ 672084 w 2143791"/>
                <a:gd name="connsiteY28" fmla="*/ 103632 h 273843"/>
                <a:gd name="connsiteX29" fmla="*/ 624840 w 2143791"/>
                <a:gd name="connsiteY29" fmla="*/ 109633 h 273843"/>
                <a:gd name="connsiteX30" fmla="*/ 578739 w 2143791"/>
                <a:gd name="connsiteY30" fmla="*/ 116967 h 273843"/>
                <a:gd name="connsiteX31" fmla="*/ 533495 w 2143791"/>
                <a:gd name="connsiteY31" fmla="*/ 124111 h 273843"/>
                <a:gd name="connsiteX32" fmla="*/ 489585 w 2143791"/>
                <a:gd name="connsiteY32" fmla="*/ 132493 h 273843"/>
                <a:gd name="connsiteX33" fmla="*/ 446818 w 2143791"/>
                <a:gd name="connsiteY33" fmla="*/ 140494 h 273843"/>
                <a:gd name="connsiteX34" fmla="*/ 405575 w 2143791"/>
                <a:gd name="connsiteY34" fmla="*/ 149638 h 273843"/>
                <a:gd name="connsiteX35" fmla="*/ 365665 w 2143791"/>
                <a:gd name="connsiteY35" fmla="*/ 158306 h 273843"/>
                <a:gd name="connsiteX36" fmla="*/ 327470 w 2143791"/>
                <a:gd name="connsiteY36" fmla="*/ 167831 h 273843"/>
                <a:gd name="connsiteX37" fmla="*/ 290798 w 2143791"/>
                <a:gd name="connsiteY37" fmla="*/ 176975 h 273843"/>
                <a:gd name="connsiteX38" fmla="*/ 256032 w 2143791"/>
                <a:gd name="connsiteY38" fmla="*/ 186595 h 273843"/>
                <a:gd name="connsiteX39" fmla="*/ 222885 w 2143791"/>
                <a:gd name="connsiteY39" fmla="*/ 195739 h 273843"/>
                <a:gd name="connsiteX40" fmla="*/ 191834 w 2143791"/>
                <a:gd name="connsiteY40" fmla="*/ 205169 h 273843"/>
                <a:gd name="connsiteX41" fmla="*/ 135827 w 2143791"/>
                <a:gd name="connsiteY41" fmla="*/ 223076 h 273843"/>
                <a:gd name="connsiteX42" fmla="*/ 88583 w 2143791"/>
                <a:gd name="connsiteY42" fmla="*/ 239268 h 273843"/>
                <a:gd name="connsiteX43" fmla="*/ 22955 w 2143791"/>
                <a:gd name="connsiteY43" fmla="*/ 264128 h 273843"/>
                <a:gd name="connsiteX44" fmla="*/ 0 w 2143791"/>
                <a:gd name="connsiteY44" fmla="*/ 273844 h 273843"/>
                <a:gd name="connsiteX45" fmla="*/ 20955 w 2143791"/>
                <a:gd name="connsiteY45" fmla="*/ 260223 h 273843"/>
                <a:gd name="connsiteX46" fmla="*/ 82391 w 2143791"/>
                <a:gd name="connsiteY46" fmla="*/ 225171 h 273843"/>
                <a:gd name="connsiteX47" fmla="*/ 181547 w 2143791"/>
                <a:gd name="connsiteY47" fmla="*/ 177356 h 273843"/>
                <a:gd name="connsiteX48" fmla="*/ 211741 w 2143791"/>
                <a:gd name="connsiteY48" fmla="*/ 164211 h 273843"/>
                <a:gd name="connsiteX49" fmla="*/ 244031 w 2143791"/>
                <a:gd name="connsiteY49" fmla="*/ 151162 h 273843"/>
                <a:gd name="connsiteX50" fmla="*/ 278225 w 2143791"/>
                <a:gd name="connsiteY50" fmla="*/ 137732 h 273843"/>
                <a:gd name="connsiteX51" fmla="*/ 314516 w 2143791"/>
                <a:gd name="connsiteY51" fmla="*/ 124873 h 273843"/>
                <a:gd name="connsiteX52" fmla="*/ 352425 w 2143791"/>
                <a:gd name="connsiteY52" fmla="*/ 111728 h 273843"/>
                <a:gd name="connsiteX53" fmla="*/ 392240 w 2143791"/>
                <a:gd name="connsiteY53" fmla="*/ 99441 h 273843"/>
                <a:gd name="connsiteX54" fmla="*/ 433578 w 2143791"/>
                <a:gd name="connsiteY54" fmla="*/ 86868 h 273843"/>
                <a:gd name="connsiteX55" fmla="*/ 476631 w 2143791"/>
                <a:gd name="connsiteY55" fmla="*/ 75248 h 273843"/>
                <a:gd name="connsiteX56" fmla="*/ 520922 w 2143791"/>
                <a:gd name="connsiteY56" fmla="*/ 63818 h 273843"/>
                <a:gd name="connsiteX57" fmla="*/ 566738 w 2143791"/>
                <a:gd name="connsiteY57" fmla="*/ 53816 h 273843"/>
                <a:gd name="connsiteX58" fmla="*/ 613601 w 2143791"/>
                <a:gd name="connsiteY58" fmla="*/ 43815 h 273843"/>
                <a:gd name="connsiteX59" fmla="*/ 661702 w 2143791"/>
                <a:gd name="connsiteY59" fmla="*/ 35338 h 273843"/>
                <a:gd name="connsiteX60" fmla="*/ 710756 w 2143791"/>
                <a:gd name="connsiteY60" fmla="*/ 27051 h 273843"/>
                <a:gd name="connsiteX61" fmla="*/ 760762 w 2143791"/>
                <a:gd name="connsiteY61" fmla="*/ 20384 h 273843"/>
                <a:gd name="connsiteX62" fmla="*/ 862965 w 2143791"/>
                <a:gd name="connsiteY62" fmla="*/ 9430 h 273843"/>
                <a:gd name="connsiteX63" fmla="*/ 915162 w 2143791"/>
                <a:gd name="connsiteY63" fmla="*/ 5525 h 273843"/>
                <a:gd name="connsiteX64" fmla="*/ 967359 w 2143791"/>
                <a:gd name="connsiteY64" fmla="*/ 2572 h 273843"/>
                <a:gd name="connsiteX65" fmla="*/ 1071848 w 2143791"/>
                <a:gd name="connsiteY65" fmla="*/ 0 h 273843"/>
                <a:gd name="connsiteX66" fmla="*/ 1176909 w 2143791"/>
                <a:gd name="connsiteY66" fmla="*/ 2667 h 273843"/>
                <a:gd name="connsiteX67" fmla="*/ 1229106 w 2143791"/>
                <a:gd name="connsiteY67" fmla="*/ 5620 h 273843"/>
                <a:gd name="connsiteX68" fmla="*/ 1280922 w 2143791"/>
                <a:gd name="connsiteY68" fmla="*/ 9525 h 273843"/>
                <a:gd name="connsiteX69" fmla="*/ 1382935 w 2143791"/>
                <a:gd name="connsiteY69" fmla="*/ 20479 h 273843"/>
                <a:gd name="connsiteX70" fmla="*/ 1432941 w 2143791"/>
                <a:gd name="connsiteY70" fmla="*/ 27051 h 273843"/>
                <a:gd name="connsiteX71" fmla="*/ 1481995 w 2143791"/>
                <a:gd name="connsiteY71" fmla="*/ 35338 h 273843"/>
                <a:gd name="connsiteX72" fmla="*/ 1530096 w 2143791"/>
                <a:gd name="connsiteY72" fmla="*/ 43720 h 273843"/>
                <a:gd name="connsiteX73" fmla="*/ 1576959 w 2143791"/>
                <a:gd name="connsiteY73" fmla="*/ 53721 h 273843"/>
                <a:gd name="connsiteX74" fmla="*/ 1622774 w 2143791"/>
                <a:gd name="connsiteY74" fmla="*/ 63722 h 273843"/>
                <a:gd name="connsiteX75" fmla="*/ 1667066 w 2143791"/>
                <a:gd name="connsiteY75" fmla="*/ 75152 h 273843"/>
                <a:gd name="connsiteX76" fmla="*/ 1710118 w 2143791"/>
                <a:gd name="connsiteY76" fmla="*/ 86487 h 273843"/>
                <a:gd name="connsiteX77" fmla="*/ 1751457 w 2143791"/>
                <a:gd name="connsiteY77" fmla="*/ 99060 h 273843"/>
                <a:gd name="connsiteX78" fmla="*/ 1791272 w 2143791"/>
                <a:gd name="connsiteY78" fmla="*/ 111347 h 273843"/>
                <a:gd name="connsiteX79" fmla="*/ 1829181 w 2143791"/>
                <a:gd name="connsiteY79" fmla="*/ 124492 h 273843"/>
                <a:gd name="connsiteX80" fmla="*/ 1865471 w 2143791"/>
                <a:gd name="connsiteY80" fmla="*/ 137351 h 273843"/>
                <a:gd name="connsiteX81" fmla="*/ 1899666 w 2143791"/>
                <a:gd name="connsiteY81" fmla="*/ 150781 h 273843"/>
                <a:gd name="connsiteX82" fmla="*/ 1931956 w 2143791"/>
                <a:gd name="connsiteY82" fmla="*/ 163830 h 273843"/>
                <a:gd name="connsiteX83" fmla="*/ 1962150 w 2143791"/>
                <a:gd name="connsiteY83" fmla="*/ 176975 h 273843"/>
                <a:gd name="connsiteX84" fmla="*/ 2016252 w 2143791"/>
                <a:gd name="connsiteY84" fmla="*/ 201930 h 273843"/>
                <a:gd name="connsiteX85" fmla="*/ 2061305 w 2143791"/>
                <a:gd name="connsiteY85" fmla="*/ 224790 h 273843"/>
                <a:gd name="connsiteX86" fmla="*/ 2122742 w 2143791"/>
                <a:gd name="connsiteY86" fmla="*/ 259842 h 273843"/>
                <a:gd name="connsiteX87" fmla="*/ 2143792 w 2143791"/>
                <a:gd name="connsiteY87" fmla="*/ 273844 h 27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143791" h="273843">
                  <a:moveTo>
                    <a:pt x="2143792" y="273844"/>
                  </a:moveTo>
                  <a:cubicBezTo>
                    <a:pt x="2143792" y="273844"/>
                    <a:pt x="2135791" y="270320"/>
                    <a:pt x="2120837" y="264224"/>
                  </a:cubicBezTo>
                  <a:cubicBezTo>
                    <a:pt x="2105787" y="258032"/>
                    <a:pt x="2083594" y="249650"/>
                    <a:pt x="2055209" y="239268"/>
                  </a:cubicBezTo>
                  <a:cubicBezTo>
                    <a:pt x="2040922" y="234315"/>
                    <a:pt x="2025301" y="228410"/>
                    <a:pt x="2007965" y="223076"/>
                  </a:cubicBezTo>
                  <a:cubicBezTo>
                    <a:pt x="1990630" y="217551"/>
                    <a:pt x="1972151" y="210979"/>
                    <a:pt x="1951958" y="205169"/>
                  </a:cubicBezTo>
                  <a:cubicBezTo>
                    <a:pt x="1941957" y="202120"/>
                    <a:pt x="1931575" y="198977"/>
                    <a:pt x="1920907" y="195739"/>
                  </a:cubicBezTo>
                  <a:cubicBezTo>
                    <a:pt x="1910239" y="192595"/>
                    <a:pt x="1899095" y="189738"/>
                    <a:pt x="1887760" y="186595"/>
                  </a:cubicBezTo>
                  <a:cubicBezTo>
                    <a:pt x="1876425" y="183452"/>
                    <a:pt x="1864900" y="180213"/>
                    <a:pt x="1852993" y="176975"/>
                  </a:cubicBezTo>
                  <a:cubicBezTo>
                    <a:pt x="1840992" y="174022"/>
                    <a:pt x="1828800" y="170974"/>
                    <a:pt x="1816322" y="167831"/>
                  </a:cubicBezTo>
                  <a:cubicBezTo>
                    <a:pt x="1803845" y="164687"/>
                    <a:pt x="1791176" y="161544"/>
                    <a:pt x="1778127" y="158306"/>
                  </a:cubicBezTo>
                  <a:cubicBezTo>
                    <a:pt x="1765078" y="155448"/>
                    <a:pt x="1751743" y="152591"/>
                    <a:pt x="1738217" y="149638"/>
                  </a:cubicBezTo>
                  <a:cubicBezTo>
                    <a:pt x="1724692" y="146685"/>
                    <a:pt x="1710976" y="143637"/>
                    <a:pt x="1696974" y="140494"/>
                  </a:cubicBezTo>
                  <a:cubicBezTo>
                    <a:pt x="1682972" y="137827"/>
                    <a:pt x="1668685" y="135160"/>
                    <a:pt x="1654207" y="132493"/>
                  </a:cubicBezTo>
                  <a:cubicBezTo>
                    <a:pt x="1639729" y="129731"/>
                    <a:pt x="1625156" y="126968"/>
                    <a:pt x="1610297" y="124111"/>
                  </a:cubicBezTo>
                  <a:cubicBezTo>
                    <a:pt x="1595438" y="121730"/>
                    <a:pt x="1580293" y="119348"/>
                    <a:pt x="1565053" y="116967"/>
                  </a:cubicBezTo>
                  <a:cubicBezTo>
                    <a:pt x="1549813" y="114586"/>
                    <a:pt x="1534478" y="112109"/>
                    <a:pt x="1518857" y="109633"/>
                  </a:cubicBezTo>
                  <a:cubicBezTo>
                    <a:pt x="1503331" y="107347"/>
                    <a:pt x="1487519" y="105632"/>
                    <a:pt x="1471613" y="103632"/>
                  </a:cubicBezTo>
                  <a:cubicBezTo>
                    <a:pt x="1439799" y="99727"/>
                    <a:pt x="1407605" y="95250"/>
                    <a:pt x="1374743" y="92869"/>
                  </a:cubicBezTo>
                  <a:cubicBezTo>
                    <a:pt x="1358360" y="91440"/>
                    <a:pt x="1341882" y="89916"/>
                    <a:pt x="1325309" y="88392"/>
                  </a:cubicBezTo>
                  <a:cubicBezTo>
                    <a:pt x="1308735" y="86582"/>
                    <a:pt x="1292066" y="85725"/>
                    <a:pt x="1275302" y="84868"/>
                  </a:cubicBezTo>
                  <a:cubicBezTo>
                    <a:pt x="1258538" y="83915"/>
                    <a:pt x="1241679" y="83058"/>
                    <a:pt x="1224820" y="82106"/>
                  </a:cubicBezTo>
                  <a:cubicBezTo>
                    <a:pt x="1207961" y="81248"/>
                    <a:pt x="1191006" y="79915"/>
                    <a:pt x="1174052" y="79915"/>
                  </a:cubicBezTo>
                  <a:cubicBezTo>
                    <a:pt x="1140047" y="79248"/>
                    <a:pt x="1105948" y="78677"/>
                    <a:pt x="1071848" y="78010"/>
                  </a:cubicBezTo>
                  <a:cubicBezTo>
                    <a:pt x="1037558" y="78677"/>
                    <a:pt x="1003268" y="79248"/>
                    <a:pt x="969074" y="79915"/>
                  </a:cubicBezTo>
                  <a:cubicBezTo>
                    <a:pt x="951643" y="79915"/>
                    <a:pt x="935069" y="81344"/>
                    <a:pt x="918305" y="82106"/>
                  </a:cubicBezTo>
                  <a:cubicBezTo>
                    <a:pt x="901541" y="83058"/>
                    <a:pt x="884873" y="83915"/>
                    <a:pt x="868204" y="84868"/>
                  </a:cubicBezTo>
                  <a:cubicBezTo>
                    <a:pt x="851535" y="85725"/>
                    <a:pt x="834962" y="86582"/>
                    <a:pt x="818388" y="88392"/>
                  </a:cubicBezTo>
                  <a:cubicBezTo>
                    <a:pt x="801815" y="89916"/>
                    <a:pt x="785336" y="91345"/>
                    <a:pt x="768953" y="92773"/>
                  </a:cubicBezTo>
                  <a:cubicBezTo>
                    <a:pt x="736092" y="95155"/>
                    <a:pt x="703898" y="99727"/>
                    <a:pt x="672084" y="103632"/>
                  </a:cubicBezTo>
                  <a:cubicBezTo>
                    <a:pt x="656177" y="105632"/>
                    <a:pt x="640366" y="107347"/>
                    <a:pt x="624840" y="109633"/>
                  </a:cubicBezTo>
                  <a:cubicBezTo>
                    <a:pt x="609314" y="112109"/>
                    <a:pt x="593884" y="114586"/>
                    <a:pt x="578739" y="116967"/>
                  </a:cubicBezTo>
                  <a:cubicBezTo>
                    <a:pt x="563499" y="119348"/>
                    <a:pt x="548450" y="121730"/>
                    <a:pt x="533495" y="124111"/>
                  </a:cubicBezTo>
                  <a:cubicBezTo>
                    <a:pt x="518732" y="126968"/>
                    <a:pt x="504063" y="129731"/>
                    <a:pt x="489585" y="132493"/>
                  </a:cubicBezTo>
                  <a:cubicBezTo>
                    <a:pt x="475107" y="135160"/>
                    <a:pt x="460820" y="137922"/>
                    <a:pt x="446818" y="140494"/>
                  </a:cubicBezTo>
                  <a:cubicBezTo>
                    <a:pt x="432911" y="143542"/>
                    <a:pt x="419100" y="146590"/>
                    <a:pt x="405575" y="149638"/>
                  </a:cubicBezTo>
                  <a:cubicBezTo>
                    <a:pt x="392049" y="152591"/>
                    <a:pt x="378714" y="155448"/>
                    <a:pt x="365665" y="158306"/>
                  </a:cubicBezTo>
                  <a:cubicBezTo>
                    <a:pt x="352711" y="161544"/>
                    <a:pt x="339947" y="164783"/>
                    <a:pt x="327470" y="167831"/>
                  </a:cubicBezTo>
                  <a:cubicBezTo>
                    <a:pt x="314992" y="170974"/>
                    <a:pt x="302705" y="173927"/>
                    <a:pt x="290798" y="176975"/>
                  </a:cubicBezTo>
                  <a:cubicBezTo>
                    <a:pt x="278892" y="180308"/>
                    <a:pt x="267367" y="183452"/>
                    <a:pt x="256032" y="186595"/>
                  </a:cubicBezTo>
                  <a:cubicBezTo>
                    <a:pt x="244697" y="189738"/>
                    <a:pt x="233553" y="192500"/>
                    <a:pt x="222885" y="195739"/>
                  </a:cubicBezTo>
                  <a:cubicBezTo>
                    <a:pt x="212217" y="198977"/>
                    <a:pt x="201930" y="202120"/>
                    <a:pt x="191834" y="205169"/>
                  </a:cubicBezTo>
                  <a:cubicBezTo>
                    <a:pt x="171641" y="210979"/>
                    <a:pt x="153162" y="217551"/>
                    <a:pt x="135827" y="223076"/>
                  </a:cubicBezTo>
                  <a:cubicBezTo>
                    <a:pt x="118396" y="228505"/>
                    <a:pt x="102775" y="234315"/>
                    <a:pt x="88583" y="239268"/>
                  </a:cubicBezTo>
                  <a:cubicBezTo>
                    <a:pt x="60198" y="249555"/>
                    <a:pt x="37910" y="257937"/>
                    <a:pt x="22955" y="264128"/>
                  </a:cubicBezTo>
                  <a:cubicBezTo>
                    <a:pt x="8001" y="270415"/>
                    <a:pt x="0" y="273844"/>
                    <a:pt x="0" y="273844"/>
                  </a:cubicBezTo>
                  <a:cubicBezTo>
                    <a:pt x="0" y="273844"/>
                    <a:pt x="7049" y="268796"/>
                    <a:pt x="20955" y="260223"/>
                  </a:cubicBezTo>
                  <a:cubicBezTo>
                    <a:pt x="34862" y="251746"/>
                    <a:pt x="55340" y="239173"/>
                    <a:pt x="82391" y="225171"/>
                  </a:cubicBezTo>
                  <a:cubicBezTo>
                    <a:pt x="109347" y="210979"/>
                    <a:pt x="142399" y="194024"/>
                    <a:pt x="181547" y="177356"/>
                  </a:cubicBezTo>
                  <a:cubicBezTo>
                    <a:pt x="191262" y="173069"/>
                    <a:pt x="201359" y="168688"/>
                    <a:pt x="211741" y="164211"/>
                  </a:cubicBezTo>
                  <a:cubicBezTo>
                    <a:pt x="222123" y="159734"/>
                    <a:pt x="232981" y="155639"/>
                    <a:pt x="244031" y="151162"/>
                  </a:cubicBezTo>
                  <a:cubicBezTo>
                    <a:pt x="255175" y="146780"/>
                    <a:pt x="266605" y="142304"/>
                    <a:pt x="278225" y="137732"/>
                  </a:cubicBezTo>
                  <a:cubicBezTo>
                    <a:pt x="290036" y="133541"/>
                    <a:pt x="302133" y="129254"/>
                    <a:pt x="314516" y="124873"/>
                  </a:cubicBezTo>
                  <a:cubicBezTo>
                    <a:pt x="326898" y="120587"/>
                    <a:pt x="339566" y="116205"/>
                    <a:pt x="352425" y="111728"/>
                  </a:cubicBezTo>
                  <a:cubicBezTo>
                    <a:pt x="365474" y="107728"/>
                    <a:pt x="378714" y="103537"/>
                    <a:pt x="392240" y="99441"/>
                  </a:cubicBezTo>
                  <a:cubicBezTo>
                    <a:pt x="405765" y="95345"/>
                    <a:pt x="419576" y="91154"/>
                    <a:pt x="433578" y="86868"/>
                  </a:cubicBezTo>
                  <a:cubicBezTo>
                    <a:pt x="447675" y="82963"/>
                    <a:pt x="462058" y="79153"/>
                    <a:pt x="476631" y="75248"/>
                  </a:cubicBezTo>
                  <a:cubicBezTo>
                    <a:pt x="491204" y="71438"/>
                    <a:pt x="505968" y="67628"/>
                    <a:pt x="520922" y="63818"/>
                  </a:cubicBezTo>
                  <a:cubicBezTo>
                    <a:pt x="535972" y="60484"/>
                    <a:pt x="551307" y="57150"/>
                    <a:pt x="566738" y="53816"/>
                  </a:cubicBezTo>
                  <a:cubicBezTo>
                    <a:pt x="582168" y="50483"/>
                    <a:pt x="597884" y="47149"/>
                    <a:pt x="613601" y="43815"/>
                  </a:cubicBezTo>
                  <a:cubicBezTo>
                    <a:pt x="629412" y="40672"/>
                    <a:pt x="645509" y="38195"/>
                    <a:pt x="661702" y="35338"/>
                  </a:cubicBezTo>
                  <a:cubicBezTo>
                    <a:pt x="677894" y="32576"/>
                    <a:pt x="694277" y="29813"/>
                    <a:pt x="710756" y="27051"/>
                  </a:cubicBezTo>
                  <a:cubicBezTo>
                    <a:pt x="727234" y="24098"/>
                    <a:pt x="743998" y="22669"/>
                    <a:pt x="760762" y="20384"/>
                  </a:cubicBezTo>
                  <a:cubicBezTo>
                    <a:pt x="794385" y="16478"/>
                    <a:pt x="828199" y="11335"/>
                    <a:pt x="862965" y="9430"/>
                  </a:cubicBezTo>
                  <a:cubicBezTo>
                    <a:pt x="880301" y="8096"/>
                    <a:pt x="897731" y="6858"/>
                    <a:pt x="915162" y="5525"/>
                  </a:cubicBezTo>
                  <a:cubicBezTo>
                    <a:pt x="932593" y="4286"/>
                    <a:pt x="950309" y="2667"/>
                    <a:pt x="967359" y="2572"/>
                  </a:cubicBezTo>
                  <a:cubicBezTo>
                    <a:pt x="1002125" y="1715"/>
                    <a:pt x="1036987" y="857"/>
                    <a:pt x="1071848" y="0"/>
                  </a:cubicBezTo>
                  <a:cubicBezTo>
                    <a:pt x="1106900" y="857"/>
                    <a:pt x="1141952" y="1715"/>
                    <a:pt x="1176909" y="2667"/>
                  </a:cubicBezTo>
                  <a:cubicBezTo>
                    <a:pt x="1194340" y="2762"/>
                    <a:pt x="1211771" y="4382"/>
                    <a:pt x="1229106" y="5620"/>
                  </a:cubicBezTo>
                  <a:cubicBezTo>
                    <a:pt x="1246442" y="6953"/>
                    <a:pt x="1263777" y="8192"/>
                    <a:pt x="1280922" y="9525"/>
                  </a:cubicBezTo>
                  <a:cubicBezTo>
                    <a:pt x="1315403" y="11335"/>
                    <a:pt x="1349312" y="16574"/>
                    <a:pt x="1382935" y="20479"/>
                  </a:cubicBezTo>
                  <a:cubicBezTo>
                    <a:pt x="1399699" y="22765"/>
                    <a:pt x="1416463" y="24194"/>
                    <a:pt x="1432941" y="27051"/>
                  </a:cubicBezTo>
                  <a:cubicBezTo>
                    <a:pt x="1449419" y="29813"/>
                    <a:pt x="1465707" y="32576"/>
                    <a:pt x="1481995" y="35338"/>
                  </a:cubicBezTo>
                  <a:cubicBezTo>
                    <a:pt x="1498187" y="38195"/>
                    <a:pt x="1514285" y="40672"/>
                    <a:pt x="1530096" y="43720"/>
                  </a:cubicBezTo>
                  <a:cubicBezTo>
                    <a:pt x="1545908" y="47149"/>
                    <a:pt x="1561529" y="50483"/>
                    <a:pt x="1576959" y="53721"/>
                  </a:cubicBezTo>
                  <a:cubicBezTo>
                    <a:pt x="1592389" y="57150"/>
                    <a:pt x="1607630" y="60484"/>
                    <a:pt x="1622774" y="63722"/>
                  </a:cubicBezTo>
                  <a:cubicBezTo>
                    <a:pt x="1637729" y="67628"/>
                    <a:pt x="1652492" y="71438"/>
                    <a:pt x="1667066" y="75152"/>
                  </a:cubicBezTo>
                  <a:cubicBezTo>
                    <a:pt x="1681639" y="78962"/>
                    <a:pt x="1695926" y="82772"/>
                    <a:pt x="1710118" y="86487"/>
                  </a:cubicBezTo>
                  <a:cubicBezTo>
                    <a:pt x="1724120" y="90773"/>
                    <a:pt x="1737932" y="94869"/>
                    <a:pt x="1751457" y="99060"/>
                  </a:cubicBezTo>
                  <a:cubicBezTo>
                    <a:pt x="1764983" y="103251"/>
                    <a:pt x="1778222" y="107347"/>
                    <a:pt x="1791272" y="111347"/>
                  </a:cubicBezTo>
                  <a:cubicBezTo>
                    <a:pt x="1804130" y="115824"/>
                    <a:pt x="1816799" y="120206"/>
                    <a:pt x="1829181" y="124492"/>
                  </a:cubicBezTo>
                  <a:cubicBezTo>
                    <a:pt x="1841564" y="128873"/>
                    <a:pt x="1853660" y="133160"/>
                    <a:pt x="1865471" y="137351"/>
                  </a:cubicBezTo>
                  <a:cubicBezTo>
                    <a:pt x="1877187" y="141923"/>
                    <a:pt x="1888522" y="146399"/>
                    <a:pt x="1899666" y="150781"/>
                  </a:cubicBezTo>
                  <a:cubicBezTo>
                    <a:pt x="1910715" y="155258"/>
                    <a:pt x="1921574" y="159353"/>
                    <a:pt x="1931956" y="163830"/>
                  </a:cubicBezTo>
                  <a:cubicBezTo>
                    <a:pt x="1942338" y="168307"/>
                    <a:pt x="1952435" y="172783"/>
                    <a:pt x="1962150" y="176975"/>
                  </a:cubicBezTo>
                  <a:cubicBezTo>
                    <a:pt x="1981676" y="185261"/>
                    <a:pt x="1999774" y="193739"/>
                    <a:pt x="2016252" y="201930"/>
                  </a:cubicBezTo>
                  <a:cubicBezTo>
                    <a:pt x="2032826" y="209741"/>
                    <a:pt x="2047780" y="217837"/>
                    <a:pt x="2061305" y="224790"/>
                  </a:cubicBezTo>
                  <a:cubicBezTo>
                    <a:pt x="2088356" y="238887"/>
                    <a:pt x="2108835" y="251460"/>
                    <a:pt x="2122742" y="259842"/>
                  </a:cubicBezTo>
                  <a:cubicBezTo>
                    <a:pt x="2136648" y="268891"/>
                    <a:pt x="2143792" y="273844"/>
                    <a:pt x="2143792" y="273844"/>
                  </a:cubicBezTo>
                  <a:close/>
                </a:path>
              </a:pathLst>
            </a:custGeom>
            <a:grpFill/>
            <a:ln w="9525" cap="flat">
              <a:noFill/>
              <a:prstDash val="solid"/>
              <a:miter/>
            </a:ln>
          </p:spPr>
          <p:txBody>
            <a:bodyPr rtlCol="0" anchor="ctr"/>
            <a:lstStyle/>
            <a:p>
              <a:endParaRPr lang="en-US" sz="1050"/>
            </a:p>
          </p:txBody>
        </p:sp>
      </p:grpSp>
      <p:sp>
        <p:nvSpPr>
          <p:cNvPr id="2" name="Tijdelijke aanduiding voor titel 1"/>
          <p:cNvSpPr>
            <a:spLocks noGrp="1"/>
          </p:cNvSpPr>
          <p:nvPr>
            <p:ph type="title"/>
          </p:nvPr>
        </p:nvSpPr>
        <p:spPr>
          <a:xfrm>
            <a:off x="523875" y="435769"/>
            <a:ext cx="8081303" cy="516848"/>
          </a:xfrm>
          <a:prstGeom prst="rect">
            <a:avLst/>
          </a:prstGeom>
        </p:spPr>
        <p:txBody>
          <a:bodyPr vert="horz" lIns="0" tIns="0" rIns="0" bIns="0" rtlCol="0" anchor="t">
            <a:noAutofit/>
          </a:bodyPr>
          <a:lstStyle/>
          <a:p>
            <a:r>
              <a:rPr lang="en-US" noProof="0"/>
              <a:t>Add a slide title, </a:t>
            </a:r>
            <a:br>
              <a:rPr lang="en-US" noProof="0"/>
            </a:br>
            <a:r>
              <a:rPr lang="en-US" noProof="0"/>
              <a:t>max.2 lines</a:t>
            </a:r>
          </a:p>
        </p:txBody>
      </p:sp>
      <p:sp>
        <p:nvSpPr>
          <p:cNvPr id="3" name="Tijdelijke aanduiding voor tekst 2"/>
          <p:cNvSpPr>
            <a:spLocks noGrp="1"/>
          </p:cNvSpPr>
          <p:nvPr>
            <p:ph type="body" idx="1"/>
          </p:nvPr>
        </p:nvSpPr>
        <p:spPr>
          <a:xfrm>
            <a:off x="523875" y="1598846"/>
            <a:ext cx="8080125" cy="2669623"/>
          </a:xfrm>
          <a:prstGeom prst="rect">
            <a:avLst/>
          </a:prstGeom>
        </p:spPr>
        <p:txBody>
          <a:bodyPr vert="horz" lIns="0" tIns="0" rIns="0" bIns="0" rtlCol="0">
            <a:noAutofit/>
          </a:bodyPr>
          <a:lstStyle/>
          <a:p>
            <a:pPr lvl="0"/>
            <a:r>
              <a:rPr lang="en-US" noProof="0"/>
              <a:t>Bullet</a:t>
            </a:r>
          </a:p>
          <a:p>
            <a:pPr lvl="1"/>
            <a:r>
              <a:rPr lang="en-US" noProof="0"/>
              <a:t>Sub-bullet</a:t>
            </a:r>
          </a:p>
          <a:p>
            <a:pPr lvl="2"/>
            <a:r>
              <a:rPr lang="en-US" noProof="0"/>
              <a:t>Default text</a:t>
            </a:r>
          </a:p>
          <a:p>
            <a:pPr lvl="3"/>
            <a:r>
              <a:rPr lang="en-US" noProof="0"/>
              <a:t>Subtitle</a:t>
            </a:r>
          </a:p>
          <a:p>
            <a:pPr lvl="4"/>
            <a:r>
              <a:rPr lang="en-US" noProof="0"/>
              <a:t>Numerical bullet</a:t>
            </a:r>
          </a:p>
          <a:p>
            <a:pPr lvl="5"/>
            <a:r>
              <a:rPr lang="en-US" noProof="0"/>
              <a:t>Bullet</a:t>
            </a:r>
          </a:p>
          <a:p>
            <a:pPr lvl="6"/>
            <a:r>
              <a:rPr lang="en-US" noProof="0"/>
              <a:t>Sub-bullet</a:t>
            </a:r>
          </a:p>
          <a:p>
            <a:pPr lvl="7"/>
            <a:r>
              <a:rPr lang="en-US" noProof="0"/>
              <a:t>Default text</a:t>
            </a:r>
          </a:p>
          <a:p>
            <a:pPr lvl="8"/>
            <a:r>
              <a:rPr lang="en-US" noProof="0"/>
              <a:t>Subtitle</a:t>
            </a:r>
          </a:p>
        </p:txBody>
      </p:sp>
      <p:sp>
        <p:nvSpPr>
          <p:cNvPr id="10" name="Tijdelijke aanduiding voor dianummer 5">
            <a:extLst>
              <a:ext uri="{FF2B5EF4-FFF2-40B4-BE49-F238E27FC236}">
                <a16:creationId xmlns:a16="http://schemas.microsoft.com/office/drawing/2014/main" id="{E5F2E55B-9BB4-4717-A581-4B4DF1E87873}"/>
              </a:ext>
            </a:extLst>
          </p:cNvPr>
          <p:cNvSpPr>
            <a:spLocks noGrp="1"/>
          </p:cNvSpPr>
          <p:nvPr>
            <p:ph type="sldNum" sz="quarter" idx="4"/>
          </p:nvPr>
        </p:nvSpPr>
        <p:spPr>
          <a:xfrm>
            <a:off x="523876" y="4797891"/>
            <a:ext cx="269081" cy="273844"/>
          </a:xfrm>
          <a:prstGeom prst="rect">
            <a:avLst/>
          </a:prstGeom>
        </p:spPr>
        <p:txBody>
          <a:bodyPr vert="horz" lIns="0" tIns="45720" rIns="91440" bIns="45720" rtlCol="0" anchor="ctr"/>
          <a:lstStyle>
            <a:lvl1pPr algn="l">
              <a:defRPr sz="675">
                <a:solidFill>
                  <a:schemeClr val="bg1"/>
                </a:solidFill>
              </a:defRPr>
            </a:lvl1pPr>
          </a:lstStyle>
          <a:p>
            <a:fld id="{F3C51F93-AED4-485A-8BB2-97D22644F114}" type="slidenum">
              <a:rPr lang="en-US" smtClean="0"/>
              <a:pPr/>
              <a:t>‹#›</a:t>
            </a:fld>
            <a:endParaRPr lang="en-US"/>
          </a:p>
        </p:txBody>
      </p:sp>
    </p:spTree>
    <p:extLst>
      <p:ext uri="{BB962C8B-B14F-4D97-AF65-F5344CB8AC3E}">
        <p14:creationId xmlns:p14="http://schemas.microsoft.com/office/powerpoint/2010/main" val="3803547097"/>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ct val="80000"/>
        </a:lnSpc>
        <a:spcBef>
          <a:spcPct val="0"/>
        </a:spcBef>
        <a:buNone/>
        <a:defRPr sz="2250" b="1" kern="1200">
          <a:solidFill>
            <a:schemeClr val="accent1"/>
          </a:solidFill>
          <a:latin typeface="+mj-lt"/>
          <a:ea typeface="+mj-ea"/>
          <a:cs typeface="+mj-cs"/>
        </a:defRPr>
      </a:lvl1pPr>
    </p:titleStyle>
    <p:bodyStyle>
      <a:lvl1pPr marL="163116" indent="-163116" algn="l" defTabSz="539354" rtl="0" eaLnBrk="1" latinLnBrk="0" hangingPunct="1">
        <a:lnSpc>
          <a:spcPct val="100000"/>
        </a:lnSpc>
        <a:spcBef>
          <a:spcPts val="225"/>
        </a:spcBef>
        <a:spcAft>
          <a:spcPts val="450"/>
        </a:spcAft>
        <a:buClr>
          <a:schemeClr val="tx2"/>
        </a:buClr>
        <a:buSzPct val="100000"/>
        <a:buFont typeface="Segoe UI Light" panose="020B0502040204020203" pitchFamily="34" charset="0"/>
        <a:buChar char="•"/>
        <a:defRPr sz="1200" kern="1200">
          <a:solidFill>
            <a:srgbClr val="565655"/>
          </a:solidFill>
          <a:latin typeface="+mn-lt"/>
          <a:ea typeface="+mn-ea"/>
          <a:cs typeface="+mn-cs"/>
        </a:defRPr>
      </a:lvl1pPr>
      <a:lvl2pPr marL="353616" indent="-190500" algn="l" defTabSz="539354" rtl="0" eaLnBrk="1" latinLnBrk="0" hangingPunct="1">
        <a:lnSpc>
          <a:spcPct val="100000"/>
        </a:lnSpc>
        <a:spcBef>
          <a:spcPts val="225"/>
        </a:spcBef>
        <a:spcAft>
          <a:spcPts val="450"/>
        </a:spcAft>
        <a:buClr>
          <a:schemeClr val="tx2"/>
        </a:buClr>
        <a:buSzPct val="100000"/>
        <a:buFont typeface="Calibri Light" panose="020F0302020204030204" pitchFamily="34" charset="0"/>
        <a:buChar char="─"/>
        <a:defRPr sz="1200" i="0" kern="1200">
          <a:solidFill>
            <a:srgbClr val="565655"/>
          </a:solidFill>
          <a:latin typeface="+mn-lt"/>
          <a:ea typeface="+mn-ea"/>
          <a:cs typeface="+mn-cs"/>
        </a:defRPr>
      </a:lvl2pPr>
      <a:lvl3pPr marL="0" indent="0" algn="l" defTabSz="539354" rtl="0" eaLnBrk="1" latinLnBrk="0" hangingPunct="1">
        <a:lnSpc>
          <a:spcPct val="100000"/>
        </a:lnSpc>
        <a:spcBef>
          <a:spcPts val="225"/>
        </a:spcBef>
        <a:spcAft>
          <a:spcPts val="450"/>
        </a:spcAft>
        <a:buClr>
          <a:srgbClr val="0070C0"/>
        </a:buClr>
        <a:buSzPct val="85000"/>
        <a:buFont typeface="Arial" panose="020B0604020202020204" pitchFamily="34" charset="0"/>
        <a:buNone/>
        <a:defRPr sz="1200" i="0" kern="1200">
          <a:solidFill>
            <a:srgbClr val="565655"/>
          </a:solidFill>
          <a:latin typeface="+mn-lt"/>
          <a:ea typeface="+mn-ea"/>
          <a:cs typeface="+mn-cs"/>
        </a:defRPr>
      </a:lvl3pPr>
      <a:lvl4pPr marL="0" indent="0" algn="l" defTabSz="539354" rtl="0" eaLnBrk="1" latinLnBrk="0" hangingPunct="1">
        <a:lnSpc>
          <a:spcPct val="100000"/>
        </a:lnSpc>
        <a:spcBef>
          <a:spcPts val="225"/>
        </a:spcBef>
        <a:spcAft>
          <a:spcPts val="900"/>
        </a:spcAft>
        <a:buFont typeface="Arial" panose="020B0604020202020204" pitchFamily="34" charset="0"/>
        <a:buNone/>
        <a:defRPr sz="1500" b="1" kern="1200" cap="none" spc="23" baseline="0">
          <a:solidFill>
            <a:srgbClr val="565655"/>
          </a:solidFill>
          <a:latin typeface="+mj-lt"/>
          <a:ea typeface="+mn-ea"/>
          <a:cs typeface="Calibri" panose="020F0502020204030204" pitchFamily="34" charset="0"/>
        </a:defRPr>
      </a:lvl4pPr>
      <a:lvl5pPr marL="203597" indent="-203597" algn="l" defTabSz="539354" rtl="0" eaLnBrk="1" latinLnBrk="0" hangingPunct="1">
        <a:lnSpc>
          <a:spcPct val="100000"/>
        </a:lnSpc>
        <a:spcBef>
          <a:spcPts val="225"/>
        </a:spcBef>
        <a:spcAft>
          <a:spcPts val="450"/>
        </a:spcAft>
        <a:buClr>
          <a:schemeClr val="tx2"/>
        </a:buClr>
        <a:buFont typeface="+mj-lt"/>
        <a:buAutoNum type="arabicPeriod"/>
        <a:defRPr sz="1200" i="0" kern="1200">
          <a:solidFill>
            <a:srgbClr val="565655"/>
          </a:solidFill>
          <a:latin typeface="+mn-lt"/>
          <a:ea typeface="+mn-ea"/>
          <a:cs typeface="+mn-cs"/>
        </a:defRPr>
      </a:lvl5pPr>
      <a:lvl6pPr marL="163116" indent="-163116" algn="l" defTabSz="685800" rtl="0" eaLnBrk="1" latinLnBrk="0" hangingPunct="1">
        <a:lnSpc>
          <a:spcPct val="100000"/>
        </a:lnSpc>
        <a:spcBef>
          <a:spcPts val="225"/>
        </a:spcBef>
        <a:spcAft>
          <a:spcPts val="450"/>
        </a:spcAft>
        <a:buClr>
          <a:schemeClr val="tx2">
            <a:lumMod val="50000"/>
          </a:schemeClr>
        </a:buClr>
        <a:buFont typeface="Arial" panose="020B0604020202020204" pitchFamily="34" charset="0"/>
        <a:buChar char="•"/>
        <a:defRPr sz="1200" b="0" i="0" kern="1200">
          <a:solidFill>
            <a:srgbClr val="565655"/>
          </a:solidFill>
          <a:latin typeface="+mn-lt"/>
          <a:ea typeface="+mn-ea"/>
          <a:cs typeface="+mn-cs"/>
        </a:defRPr>
      </a:lvl6pPr>
      <a:lvl7pPr marL="353616" indent="-190500" algn="l" defTabSz="685800" rtl="0" eaLnBrk="1" latinLnBrk="0" hangingPunct="1">
        <a:lnSpc>
          <a:spcPct val="100000"/>
        </a:lnSpc>
        <a:spcBef>
          <a:spcPts val="225"/>
        </a:spcBef>
        <a:spcAft>
          <a:spcPts val="450"/>
        </a:spcAft>
        <a:buFont typeface="Calibri Light" panose="020F0302020204030204" pitchFamily="34" charset="0"/>
        <a:buChar char="─"/>
        <a:defRPr sz="1200" b="0" i="0" kern="1200">
          <a:solidFill>
            <a:srgbClr val="565655"/>
          </a:solidFill>
          <a:latin typeface="+mn-lt"/>
          <a:ea typeface="+mn-ea"/>
          <a:cs typeface="+mn-cs"/>
        </a:defRPr>
      </a:lvl7pPr>
      <a:lvl8pPr marL="0" indent="0" algn="l" defTabSz="685800" rtl="0" eaLnBrk="1" latinLnBrk="0" hangingPunct="1">
        <a:lnSpc>
          <a:spcPct val="90000"/>
        </a:lnSpc>
        <a:spcBef>
          <a:spcPts val="225"/>
        </a:spcBef>
        <a:spcAft>
          <a:spcPts val="450"/>
        </a:spcAft>
        <a:buFont typeface="Arial" panose="020B0604020202020204" pitchFamily="34" charset="0"/>
        <a:buNone/>
        <a:defRPr sz="1200" kern="1200">
          <a:solidFill>
            <a:srgbClr val="565655"/>
          </a:solidFill>
          <a:latin typeface="+mn-lt"/>
          <a:ea typeface="+mn-ea"/>
          <a:cs typeface="+mn-cs"/>
        </a:defRPr>
      </a:lvl8pPr>
      <a:lvl9pPr marL="0" indent="0" algn="l" defTabSz="685800" rtl="0" eaLnBrk="1" latinLnBrk="0" hangingPunct="1">
        <a:lnSpc>
          <a:spcPct val="100000"/>
        </a:lnSpc>
        <a:spcBef>
          <a:spcPts val="225"/>
        </a:spcBef>
        <a:spcAft>
          <a:spcPts val="900"/>
        </a:spcAft>
        <a:buFont typeface="Arial" panose="020B0604020202020204" pitchFamily="34" charset="0"/>
        <a:buNone/>
        <a:defRPr sz="1500" b="1" kern="1200">
          <a:solidFill>
            <a:srgbClr val="565655"/>
          </a:solidFill>
          <a:latin typeface="+mj-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776">
          <p15:clr>
            <a:srgbClr val="F26B43"/>
          </p15:clr>
        </p15:guide>
        <p15:guide id="3" orient="horz" pos="1002">
          <p15:clr>
            <a:srgbClr val="F26B43"/>
          </p15:clr>
        </p15:guide>
        <p15:guide id="5" orient="horz" pos="386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svg"/></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8.xml"/><Relationship Id="rId1" Type="http://schemas.openxmlformats.org/officeDocument/2006/relationships/slideLayout" Target="../slideLayouts/slideLayout9.xml"/><Relationship Id="rId5" Type="http://schemas.openxmlformats.org/officeDocument/2006/relationships/image" Target="../media/image57.png"/><Relationship Id="rId4" Type="http://schemas.openxmlformats.org/officeDocument/2006/relationships/hyperlink" Target="https://www.fssc.com/schemes/fssc-24000/scheme-documents/"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2.xml"/><Relationship Id="rId6" Type="http://schemas.openxmlformats.org/officeDocument/2006/relationships/image" Target="../media/image31.jpeg"/><Relationship Id="rId5" Type="http://schemas.openxmlformats.org/officeDocument/2006/relationships/image" Target="../media/image30.png"/><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hyperlink" Target="https://finance.ec.europa.eu/capital-markets-union-and-financial-markets/company-reporting-and-auditing/company-reporting/corporate-sustainability-reporting_en" TargetMode="External"/><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hyperlink" Target="https://www.parl.ca/DocumentViewer/en/44-1/bill/S-211/third-reading" TargetMode="External"/><Relationship Id="rId4" Type="http://schemas.openxmlformats.org/officeDocument/2006/relationships/hyperlink" Target="https://ec.europa.eu/commission/presscorner/detail/en/ip_23_6599"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5B0FDC1-5402-6482-B05B-D30E79C16A95}"/>
              </a:ext>
            </a:extLst>
          </p:cNvPr>
          <p:cNvSpPr>
            <a:spLocks noGrp="1"/>
          </p:cNvSpPr>
          <p:nvPr>
            <p:ph idx="12"/>
          </p:nvPr>
        </p:nvSpPr>
        <p:spPr>
          <a:xfrm>
            <a:off x="625957" y="258023"/>
            <a:ext cx="3139017" cy="3351025"/>
          </a:xfrm>
        </p:spPr>
        <p:txBody>
          <a:bodyPr/>
          <a:lstStyle/>
          <a:p>
            <a:r>
              <a:rPr lang="en-US" sz="2800" dirty="0"/>
              <a:t>FSSC 24000:</a:t>
            </a:r>
          </a:p>
          <a:p>
            <a:r>
              <a:rPr lang="en-US" sz="2800" dirty="0"/>
              <a:t>From Risk to Opportunity</a:t>
            </a:r>
          </a:p>
        </p:txBody>
      </p:sp>
      <p:sp>
        <p:nvSpPr>
          <p:cNvPr id="7" name="Content Placeholder 2">
            <a:extLst>
              <a:ext uri="{FF2B5EF4-FFF2-40B4-BE49-F238E27FC236}">
                <a16:creationId xmlns:a16="http://schemas.microsoft.com/office/drawing/2014/main" id="{2B450274-A7BF-8C47-0929-E49950F5359C}"/>
              </a:ext>
            </a:extLst>
          </p:cNvPr>
          <p:cNvSpPr txBox="1">
            <a:spLocks/>
          </p:cNvSpPr>
          <p:nvPr/>
        </p:nvSpPr>
        <p:spPr>
          <a:xfrm>
            <a:off x="649882" y="3739128"/>
            <a:ext cx="3139017" cy="254445"/>
          </a:xfrm>
          <a:prstGeom prst="rect">
            <a:avLst/>
          </a:prstGeom>
        </p:spPr>
        <p:txBody>
          <a:bodyPr vert="horz" lIns="68580" tIns="34290" rIns="68580" bIns="34290" rtlCol="0" anchor="ctr">
            <a:normAutofit/>
          </a:bodyPr>
          <a:lstStyle>
            <a:lvl1pPr marL="0" indent="0" algn="ctr" defTabSz="685800" rtl="0" eaLnBrk="1" latinLnBrk="0" hangingPunct="1">
              <a:lnSpc>
                <a:spcPct val="90000"/>
              </a:lnSpc>
              <a:spcBef>
                <a:spcPts val="750"/>
              </a:spcBef>
              <a:buFont typeface="Arial" panose="020B0604020202020204" pitchFamily="34" charset="0"/>
              <a:buNone/>
              <a:defRPr sz="1200" b="0" kern="1200" baseline="0">
                <a:solidFill>
                  <a:srgbClr val="FFFFFF"/>
                </a:solidFill>
                <a:latin typeface="Open Sans"/>
                <a:ea typeface="+mn-ea"/>
                <a:cs typeface="Open San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a:ea typeface="+mn-ea"/>
                <a:cs typeface="Open San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Open Sans"/>
                <a:ea typeface="+mn-ea"/>
                <a:cs typeface="Open San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Open Sans"/>
                <a:ea typeface="+mn-ea"/>
                <a:cs typeface="Open San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Open Sans"/>
                <a:ea typeface="+mn-ea"/>
                <a:cs typeface="Open San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r>
              <a:rPr lang="en-US" b="1" i="1" dirty="0">
                <a:latin typeface="AvenirNext LT Pro Regular" panose="020B0504020202020204" pitchFamily="34" charset="77"/>
              </a:rPr>
              <a:t>9 October 2024</a:t>
            </a:r>
          </a:p>
        </p:txBody>
      </p:sp>
      <p:sp>
        <p:nvSpPr>
          <p:cNvPr id="2" name="TextBox 1">
            <a:extLst>
              <a:ext uri="{FF2B5EF4-FFF2-40B4-BE49-F238E27FC236}">
                <a16:creationId xmlns:a16="http://schemas.microsoft.com/office/drawing/2014/main" id="{83164933-218E-3701-AA97-00993B29D11C}"/>
              </a:ext>
            </a:extLst>
          </p:cNvPr>
          <p:cNvSpPr txBox="1"/>
          <p:nvPr/>
        </p:nvSpPr>
        <p:spPr>
          <a:xfrm>
            <a:off x="2023009" y="736375"/>
            <a:ext cx="0" cy="0"/>
          </a:xfrm>
          <a:prstGeom prst="rect">
            <a:avLst/>
          </a:prstGeom>
        </p:spPr>
        <p:txBody>
          <a:bodyPr vert="horz" wrap="none" lIns="68580" tIns="34290" rIns="68580" bIns="34290" rtlCol="0" anchor="ctr">
            <a:normAutofit fontScale="25000" lnSpcReduction="20000"/>
          </a:bodyPr>
          <a:lstStyle/>
          <a:p>
            <a:pPr algn="l"/>
            <a:endParaRPr lang="en-US" sz="1500" b="1">
              <a:solidFill>
                <a:srgbClr val="EDAE00"/>
              </a:solidFill>
              <a:latin typeface="Avenir Next Bold"/>
              <a:cs typeface="Avenir Next Bold"/>
            </a:endParaRPr>
          </a:p>
        </p:txBody>
      </p:sp>
    </p:spTree>
    <p:extLst>
      <p:ext uri="{BB962C8B-B14F-4D97-AF65-F5344CB8AC3E}">
        <p14:creationId xmlns:p14="http://schemas.microsoft.com/office/powerpoint/2010/main" val="1066485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6E47AA9F-AC85-5E7E-7634-5F6567F1467B}"/>
              </a:ext>
            </a:extLst>
          </p:cNvPr>
          <p:cNvSpPr/>
          <p:nvPr/>
        </p:nvSpPr>
        <p:spPr>
          <a:xfrm>
            <a:off x="6497444" y="4546417"/>
            <a:ext cx="1516566" cy="486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6D5EE46-E716-0124-1348-86C7A985ED65}"/>
              </a:ext>
            </a:extLst>
          </p:cNvPr>
          <p:cNvSpPr>
            <a:spLocks noGrp="1"/>
          </p:cNvSpPr>
          <p:nvPr>
            <p:ph type="title"/>
          </p:nvPr>
        </p:nvSpPr>
        <p:spPr>
          <a:xfrm>
            <a:off x="713319" y="364068"/>
            <a:ext cx="7666183" cy="558800"/>
          </a:xfrm>
        </p:spPr>
        <p:txBody>
          <a:bodyPr>
            <a:noAutofit/>
          </a:bodyPr>
          <a:lstStyle/>
          <a:p>
            <a:r>
              <a:rPr lang="en-US" sz="2900" dirty="0">
                <a:latin typeface="AvenirNext LT Pro Bold" panose="020B0504020202020204" pitchFamily="34" charset="77"/>
              </a:rPr>
              <a:t>Social Compliance – </a:t>
            </a:r>
            <a:r>
              <a:rPr lang="en-US" sz="2400" dirty="0">
                <a:latin typeface="AvenirNext LT Pro Bold" panose="020B0504020202020204" pitchFamily="34" charset="77"/>
              </a:rPr>
              <a:t>Market drivers</a:t>
            </a:r>
            <a:endParaRPr lang="en-US" sz="2900" dirty="0">
              <a:latin typeface="AvenirNext LT Pro Bold" panose="020B0504020202020204" pitchFamily="34" charset="77"/>
            </a:endParaRPr>
          </a:p>
        </p:txBody>
      </p:sp>
      <p:sp>
        <p:nvSpPr>
          <p:cNvPr id="18" name="Rectangle 17">
            <a:extLst>
              <a:ext uri="{FF2B5EF4-FFF2-40B4-BE49-F238E27FC236}">
                <a16:creationId xmlns:a16="http://schemas.microsoft.com/office/drawing/2014/main" id="{FED6A774-6CA7-32D8-70DC-996B2D8A687E}"/>
              </a:ext>
            </a:extLst>
          </p:cNvPr>
          <p:cNvSpPr/>
          <p:nvPr/>
        </p:nvSpPr>
        <p:spPr>
          <a:xfrm>
            <a:off x="3137210" y="2923323"/>
            <a:ext cx="1605775" cy="676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16">
            <a:extLst>
              <a:ext uri="{FF2B5EF4-FFF2-40B4-BE49-F238E27FC236}">
                <a16:creationId xmlns:a16="http://schemas.microsoft.com/office/drawing/2014/main" id="{8A1D8602-6E40-2229-7074-4B9F7923ED02}"/>
              </a:ext>
            </a:extLst>
          </p:cNvPr>
          <p:cNvGraphicFramePr>
            <a:graphicFrameLocks noGrp="1"/>
          </p:cNvGraphicFramePr>
          <p:nvPr/>
        </p:nvGraphicFramePr>
        <p:xfrm>
          <a:off x="4352915" y="1518408"/>
          <a:ext cx="3284572" cy="1531045"/>
        </p:xfrm>
        <a:graphic>
          <a:graphicData uri="http://schemas.openxmlformats.org/drawingml/2006/table">
            <a:tbl>
              <a:tblPr>
                <a:tableStyleId>{7DF18680-E054-41AD-8BC1-D1AEF772440D}</a:tableStyleId>
              </a:tblPr>
              <a:tblGrid>
                <a:gridCol w="1642286">
                  <a:extLst>
                    <a:ext uri="{9D8B030D-6E8A-4147-A177-3AD203B41FA5}">
                      <a16:colId xmlns:a16="http://schemas.microsoft.com/office/drawing/2014/main" val="3837746272"/>
                    </a:ext>
                  </a:extLst>
                </a:gridCol>
                <a:gridCol w="1642286">
                  <a:extLst>
                    <a:ext uri="{9D8B030D-6E8A-4147-A177-3AD203B41FA5}">
                      <a16:colId xmlns:a16="http://schemas.microsoft.com/office/drawing/2014/main" val="156849116"/>
                    </a:ext>
                  </a:extLst>
                </a:gridCol>
              </a:tblGrid>
              <a:tr h="1531045">
                <a:tc>
                  <a:txBody>
                    <a:bodyPr/>
                    <a:lstStyle/>
                    <a:p>
                      <a:pPr lvl="0" algn="ctr"/>
                      <a:r>
                        <a:rPr lang="en-US" sz="1400" b="1">
                          <a:solidFill>
                            <a:srgbClr val="B1503A"/>
                          </a:solidFill>
                          <a:latin typeface="Open Sans" panose="020B0606030504020204" pitchFamily="34" charset="0"/>
                          <a:ea typeface="Open Sans" panose="020B0606030504020204" pitchFamily="34" charset="0"/>
                          <a:cs typeface="Open Sans" panose="020B0606030504020204" pitchFamily="34" charset="0"/>
                        </a:rPr>
                        <a:t>Regulatory</a:t>
                      </a:r>
                      <a:endParaRPr lang="en-NL" sz="1400" b="1">
                        <a:solidFill>
                          <a:srgbClr val="B1503A"/>
                        </a:solidFill>
                        <a:latin typeface="Open Sans" panose="020B0606030504020204" pitchFamily="34" charset="0"/>
                        <a:ea typeface="Open Sans" panose="020B0606030504020204" pitchFamily="34" charset="0"/>
                        <a:cs typeface="Open Sans" panose="020B0606030504020204" pitchFamily="34" charset="0"/>
                      </a:endParaRPr>
                    </a:p>
                  </a:txBody>
                  <a:tcPr anchor="ctr">
                    <a:solidFill>
                      <a:srgbClr val="EBCBC3"/>
                    </a:solidFill>
                  </a:tcPr>
                </a:tc>
                <a:tc>
                  <a:txBody>
                    <a:bodyPr/>
                    <a:lstStyle/>
                    <a:p>
                      <a:r>
                        <a:rPr lang="en-US" sz="800" i="1">
                          <a:solidFill>
                            <a:srgbClr val="B1503A"/>
                          </a:solidFill>
                        </a:rPr>
                        <a:t>Laws to ensure responsible business practices and take action to respect human rights:</a:t>
                      </a:r>
                    </a:p>
                    <a:p>
                      <a:pPr marL="171450" indent="-171450">
                        <a:buFont typeface="Wingdings" panose="05000000000000000000" pitchFamily="2" charset="2"/>
                        <a:buChar char="Ø"/>
                      </a:pPr>
                      <a:r>
                        <a:rPr lang="en-US" sz="800">
                          <a:solidFill>
                            <a:srgbClr val="B1503A"/>
                          </a:solidFill>
                        </a:rPr>
                        <a:t>EU CSRD </a:t>
                      </a:r>
                    </a:p>
                    <a:p>
                      <a:pPr marL="171450" indent="-171450">
                        <a:buFont typeface="Wingdings" panose="05000000000000000000" pitchFamily="2" charset="2"/>
                        <a:buChar char="Ø"/>
                      </a:pPr>
                      <a:r>
                        <a:rPr lang="en-US" sz="800">
                          <a:solidFill>
                            <a:srgbClr val="B1503A"/>
                          </a:solidFill>
                        </a:rPr>
                        <a:t>Germany's new Supply Chain Due Diligence Act</a:t>
                      </a:r>
                    </a:p>
                    <a:p>
                      <a:pPr marL="171450" indent="-171450">
                        <a:buFont typeface="Wingdings" panose="05000000000000000000" pitchFamily="2" charset="2"/>
                        <a:buChar char="Ø"/>
                      </a:pPr>
                      <a:r>
                        <a:rPr lang="en-US" sz="800">
                          <a:solidFill>
                            <a:srgbClr val="B1503A"/>
                          </a:solidFill>
                        </a:rPr>
                        <a:t>UK Modern Slavery Act</a:t>
                      </a:r>
                    </a:p>
                    <a:p>
                      <a:pPr marL="171450" indent="-171450">
                        <a:buFont typeface="Wingdings" panose="05000000000000000000" pitchFamily="2" charset="2"/>
                        <a:buChar char="Ø"/>
                      </a:pPr>
                      <a:r>
                        <a:rPr lang="en-US" sz="800">
                          <a:solidFill>
                            <a:srgbClr val="B1503A"/>
                          </a:solidFill>
                        </a:rPr>
                        <a:t>California Supply Chain Transparency Act</a:t>
                      </a:r>
                    </a:p>
                    <a:p>
                      <a:pPr marL="171450" indent="-171450">
                        <a:buFont typeface="Wingdings" panose="05000000000000000000" pitchFamily="2" charset="2"/>
                        <a:buChar char="Ø"/>
                      </a:pPr>
                      <a:r>
                        <a:rPr lang="en-US" sz="800">
                          <a:solidFill>
                            <a:srgbClr val="B1503A"/>
                          </a:solidFill>
                        </a:rPr>
                        <a:t>Australian Modern Slavery Act</a:t>
                      </a:r>
                      <a:endParaRPr lang="en-NL" sz="800">
                        <a:solidFill>
                          <a:srgbClr val="B1503A"/>
                        </a:solidFill>
                      </a:endParaRPr>
                    </a:p>
                  </a:txBody>
                  <a:tcPr anchor="ctr">
                    <a:solidFill>
                      <a:srgbClr val="EBCBC3"/>
                    </a:solidFill>
                  </a:tcPr>
                </a:tc>
                <a:extLst>
                  <a:ext uri="{0D108BD9-81ED-4DB2-BD59-A6C34878D82A}">
                    <a16:rowId xmlns:a16="http://schemas.microsoft.com/office/drawing/2014/main" val="3825297991"/>
                  </a:ext>
                </a:extLst>
              </a:tr>
            </a:tbl>
          </a:graphicData>
        </a:graphic>
      </p:graphicFrame>
      <p:graphicFrame>
        <p:nvGraphicFramePr>
          <p:cNvPr id="14" name="Table 14">
            <a:extLst>
              <a:ext uri="{FF2B5EF4-FFF2-40B4-BE49-F238E27FC236}">
                <a16:creationId xmlns:a16="http://schemas.microsoft.com/office/drawing/2014/main" id="{AA241043-3ACD-B403-A694-91B95B397942}"/>
              </a:ext>
            </a:extLst>
          </p:cNvPr>
          <p:cNvGraphicFramePr>
            <a:graphicFrameLocks noGrp="1"/>
          </p:cNvGraphicFramePr>
          <p:nvPr/>
        </p:nvGraphicFramePr>
        <p:xfrm>
          <a:off x="382287" y="1521933"/>
          <a:ext cx="3226760" cy="1524550"/>
        </p:xfrm>
        <a:graphic>
          <a:graphicData uri="http://schemas.openxmlformats.org/drawingml/2006/table">
            <a:tbl>
              <a:tblPr>
                <a:tableStyleId>{7DF18680-E054-41AD-8BC1-D1AEF772440D}</a:tableStyleId>
              </a:tblPr>
              <a:tblGrid>
                <a:gridCol w="1613380">
                  <a:extLst>
                    <a:ext uri="{9D8B030D-6E8A-4147-A177-3AD203B41FA5}">
                      <a16:colId xmlns:a16="http://schemas.microsoft.com/office/drawing/2014/main" val="3837746272"/>
                    </a:ext>
                  </a:extLst>
                </a:gridCol>
                <a:gridCol w="1613380">
                  <a:extLst>
                    <a:ext uri="{9D8B030D-6E8A-4147-A177-3AD203B41FA5}">
                      <a16:colId xmlns:a16="http://schemas.microsoft.com/office/drawing/2014/main" val="156849116"/>
                    </a:ext>
                  </a:extLst>
                </a:gridCol>
              </a:tblGrid>
              <a:tr h="1524550">
                <a:tc>
                  <a:txBody>
                    <a:bodyPr/>
                    <a:lstStyle/>
                    <a:p>
                      <a:pPr marL="171450" indent="-171450">
                        <a:buFont typeface="Wingdings" panose="05000000000000000000" pitchFamily="2" charset="2"/>
                        <a:buChar char="Ø"/>
                      </a:pPr>
                      <a:r>
                        <a:rPr lang="en-US" sz="800">
                          <a:solidFill>
                            <a:srgbClr val="B1503A"/>
                          </a:solidFill>
                          <a:latin typeface="Open Sans"/>
                          <a:ea typeface="Open Sans"/>
                          <a:cs typeface="Open Sans"/>
                        </a:rPr>
                        <a:t>Supply Chain Management</a:t>
                      </a:r>
                    </a:p>
                    <a:p>
                      <a:pPr marL="171450" indent="-171450">
                        <a:buFont typeface="Wingdings" panose="05000000000000000000" pitchFamily="2" charset="2"/>
                        <a:buChar char="Ø"/>
                      </a:pPr>
                      <a:r>
                        <a:rPr lang="en-US" sz="800">
                          <a:solidFill>
                            <a:srgbClr val="B1503A"/>
                          </a:solidFill>
                          <a:latin typeface="Open Sans"/>
                          <a:ea typeface="Open Sans"/>
                          <a:cs typeface="Open Sans"/>
                        </a:rPr>
                        <a:t>SDGs</a:t>
                      </a:r>
                    </a:p>
                    <a:p>
                      <a:pPr marL="171450" indent="-171450">
                        <a:buFont typeface="Wingdings" panose="05000000000000000000" pitchFamily="2" charset="2"/>
                        <a:buChar char="Ø"/>
                      </a:pPr>
                      <a:r>
                        <a:rPr lang="en-US" sz="800">
                          <a:solidFill>
                            <a:srgbClr val="B1503A"/>
                          </a:solidFill>
                          <a:latin typeface="Open Sans"/>
                          <a:ea typeface="Open Sans"/>
                          <a:cs typeface="Open Sans"/>
                        </a:rPr>
                        <a:t>ESG Risks</a:t>
                      </a:r>
                    </a:p>
                    <a:p>
                      <a:pPr marL="171450" indent="-171450">
                        <a:buFont typeface="Wingdings" panose="05000000000000000000" pitchFamily="2" charset="2"/>
                        <a:buChar char="Ø"/>
                      </a:pPr>
                      <a:r>
                        <a:rPr lang="en-US" sz="800">
                          <a:solidFill>
                            <a:srgbClr val="B1503A"/>
                          </a:solidFill>
                          <a:latin typeface="Open Sans"/>
                          <a:ea typeface="Open Sans"/>
                          <a:cs typeface="Open Sans"/>
                        </a:rPr>
                        <a:t>NGO’s</a:t>
                      </a:r>
                    </a:p>
                    <a:p>
                      <a:pPr marL="171450" indent="-171450">
                        <a:buFont typeface="Wingdings" panose="05000000000000000000" pitchFamily="2" charset="2"/>
                        <a:buChar char="Ø"/>
                      </a:pPr>
                      <a:r>
                        <a:rPr lang="en-US" sz="800">
                          <a:solidFill>
                            <a:srgbClr val="B1503A"/>
                          </a:solidFill>
                          <a:latin typeface="Open Sans"/>
                          <a:ea typeface="Open Sans"/>
                          <a:cs typeface="Open Sans"/>
                        </a:rPr>
                        <a:t>Consumer Goods Forum</a:t>
                      </a:r>
                    </a:p>
                    <a:p>
                      <a:pPr marL="359410" lvl="1" indent="-171450">
                        <a:buFont typeface="Arial" panose="020B0604020202020204" pitchFamily="34" charset="0"/>
                        <a:buChar char="•"/>
                      </a:pPr>
                      <a:r>
                        <a:rPr lang="en-US" sz="800">
                          <a:solidFill>
                            <a:srgbClr val="B1503A"/>
                          </a:solidFill>
                          <a:latin typeface="Open Sans"/>
                          <a:ea typeface="Open Sans"/>
                          <a:cs typeface="Open Sans"/>
                        </a:rPr>
                        <a:t>Coalition of Action for </a:t>
                      </a:r>
                      <a:r>
                        <a:rPr lang="en-US" sz="800" b="1">
                          <a:solidFill>
                            <a:srgbClr val="B1503A"/>
                          </a:solidFill>
                          <a:latin typeface="Open Sans"/>
                          <a:ea typeface="Open Sans"/>
                          <a:cs typeface="Open Sans"/>
                        </a:rPr>
                        <a:t>S</a:t>
                      </a:r>
                      <a:r>
                        <a:rPr lang="en-US" sz="800">
                          <a:solidFill>
                            <a:srgbClr val="B1503A"/>
                          </a:solidFill>
                          <a:latin typeface="Open Sans"/>
                          <a:ea typeface="Open Sans"/>
                          <a:cs typeface="Open Sans"/>
                        </a:rPr>
                        <a:t>ustainable </a:t>
                      </a:r>
                      <a:r>
                        <a:rPr lang="en-US" sz="800" b="1">
                          <a:solidFill>
                            <a:srgbClr val="B1503A"/>
                          </a:solidFill>
                          <a:latin typeface="Open Sans"/>
                          <a:ea typeface="Open Sans"/>
                          <a:cs typeface="Open Sans"/>
                        </a:rPr>
                        <a:t>S</a:t>
                      </a:r>
                      <a:r>
                        <a:rPr lang="en-US" sz="800">
                          <a:solidFill>
                            <a:srgbClr val="B1503A"/>
                          </a:solidFill>
                          <a:latin typeface="Open Sans"/>
                          <a:ea typeface="Open Sans"/>
                          <a:cs typeface="Open Sans"/>
                        </a:rPr>
                        <a:t>upply </a:t>
                      </a:r>
                      <a:r>
                        <a:rPr lang="en-US" sz="800" b="1">
                          <a:solidFill>
                            <a:srgbClr val="B1503A"/>
                          </a:solidFill>
                          <a:latin typeface="Open Sans"/>
                          <a:ea typeface="Open Sans"/>
                          <a:cs typeface="Open Sans"/>
                        </a:rPr>
                        <a:t>C</a:t>
                      </a:r>
                      <a:r>
                        <a:rPr lang="en-US" sz="800">
                          <a:solidFill>
                            <a:srgbClr val="B1503A"/>
                          </a:solidFill>
                          <a:latin typeface="Open Sans"/>
                          <a:ea typeface="Open Sans"/>
                          <a:cs typeface="Open Sans"/>
                        </a:rPr>
                        <a:t>hain </a:t>
                      </a:r>
                      <a:r>
                        <a:rPr lang="en-US" sz="800" b="1">
                          <a:solidFill>
                            <a:srgbClr val="B1503A"/>
                          </a:solidFill>
                          <a:latin typeface="Open Sans"/>
                          <a:ea typeface="Open Sans"/>
                          <a:cs typeface="Open Sans"/>
                        </a:rPr>
                        <a:t>I</a:t>
                      </a:r>
                      <a:r>
                        <a:rPr lang="en-US" sz="800">
                          <a:solidFill>
                            <a:srgbClr val="B1503A"/>
                          </a:solidFill>
                          <a:latin typeface="Open Sans"/>
                          <a:ea typeface="Open Sans"/>
                          <a:cs typeface="Open Sans"/>
                        </a:rPr>
                        <a:t>nitiative (SSCI)</a:t>
                      </a:r>
                      <a:endParaRPr lang="en-US">
                        <a:latin typeface="Open Sans"/>
                        <a:ea typeface="Open Sans"/>
                        <a:cs typeface="Open Sans"/>
                      </a:endParaRPr>
                    </a:p>
                    <a:p>
                      <a:pPr marL="171450" indent="-171450">
                        <a:buFont typeface="Wingdings" panose="05000000000000000000" pitchFamily="2" charset="2"/>
                        <a:buChar char="Ø"/>
                      </a:pPr>
                      <a:r>
                        <a:rPr lang="en-US" sz="800">
                          <a:solidFill>
                            <a:srgbClr val="B1503A"/>
                          </a:solidFill>
                          <a:latin typeface="Open Sans"/>
                          <a:ea typeface="Open Sans"/>
                          <a:cs typeface="Open Sans"/>
                        </a:rPr>
                        <a:t>IAF-MLA</a:t>
                      </a:r>
                    </a:p>
                  </a:txBody>
                  <a:tcPr anchor="ctr">
                    <a:solidFill>
                      <a:srgbClr val="EBCBC3"/>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1">
                          <a:solidFill>
                            <a:srgbClr val="B1503A"/>
                          </a:solidFill>
                          <a:latin typeface="Open Sans"/>
                          <a:ea typeface="Open Sans"/>
                          <a:cs typeface="Open Sans"/>
                        </a:rPr>
                        <a:t>External Stakeholders</a:t>
                      </a:r>
                      <a:endParaRPr lang="en-NL" sz="1400" b="1">
                        <a:solidFill>
                          <a:srgbClr val="B1503A"/>
                        </a:solidFill>
                        <a:latin typeface="Open Sans"/>
                        <a:ea typeface="Open Sans"/>
                        <a:cs typeface="Open Sans"/>
                      </a:endParaRPr>
                    </a:p>
                  </a:txBody>
                  <a:tcPr anchor="ctr">
                    <a:solidFill>
                      <a:srgbClr val="EBCBC3"/>
                    </a:solidFill>
                  </a:tcPr>
                </a:tc>
                <a:extLst>
                  <a:ext uri="{0D108BD9-81ED-4DB2-BD59-A6C34878D82A}">
                    <a16:rowId xmlns:a16="http://schemas.microsoft.com/office/drawing/2014/main" val="3825297991"/>
                  </a:ext>
                </a:extLst>
              </a:tr>
            </a:tbl>
          </a:graphicData>
        </a:graphic>
      </p:graphicFrame>
      <p:graphicFrame>
        <p:nvGraphicFramePr>
          <p:cNvPr id="15" name="Table 14">
            <a:extLst>
              <a:ext uri="{FF2B5EF4-FFF2-40B4-BE49-F238E27FC236}">
                <a16:creationId xmlns:a16="http://schemas.microsoft.com/office/drawing/2014/main" id="{AF0817DC-E2B5-074C-FA59-F29C684C943F}"/>
              </a:ext>
            </a:extLst>
          </p:cNvPr>
          <p:cNvGraphicFramePr>
            <a:graphicFrameLocks noGrp="1"/>
          </p:cNvGraphicFramePr>
          <p:nvPr/>
        </p:nvGraphicFramePr>
        <p:xfrm>
          <a:off x="382286" y="3469923"/>
          <a:ext cx="3226760" cy="1513605"/>
        </p:xfrm>
        <a:graphic>
          <a:graphicData uri="http://schemas.openxmlformats.org/drawingml/2006/table">
            <a:tbl>
              <a:tblPr>
                <a:tableStyleId>{7DF18680-E054-41AD-8BC1-D1AEF772440D}</a:tableStyleId>
              </a:tblPr>
              <a:tblGrid>
                <a:gridCol w="1613380">
                  <a:extLst>
                    <a:ext uri="{9D8B030D-6E8A-4147-A177-3AD203B41FA5}">
                      <a16:colId xmlns:a16="http://schemas.microsoft.com/office/drawing/2014/main" val="3837746272"/>
                    </a:ext>
                  </a:extLst>
                </a:gridCol>
                <a:gridCol w="1613380">
                  <a:extLst>
                    <a:ext uri="{9D8B030D-6E8A-4147-A177-3AD203B41FA5}">
                      <a16:colId xmlns:a16="http://schemas.microsoft.com/office/drawing/2014/main" val="156849116"/>
                    </a:ext>
                  </a:extLst>
                </a:gridCol>
              </a:tblGrid>
              <a:tr h="1513605">
                <a:tc>
                  <a:txBody>
                    <a:bodyPr/>
                    <a:lstStyle/>
                    <a:p>
                      <a:r>
                        <a:rPr lang="en-US" sz="800" b="1">
                          <a:solidFill>
                            <a:srgbClr val="B1503A"/>
                          </a:solidFill>
                          <a:latin typeface="Open Sans" panose="020B0606030504020204" pitchFamily="34" charset="0"/>
                          <a:ea typeface="Open Sans" panose="020B0606030504020204" pitchFamily="34" charset="0"/>
                          <a:cs typeface="Open Sans" panose="020B0606030504020204" pitchFamily="34" charset="0"/>
                        </a:rPr>
                        <a:t>ESG</a:t>
                      </a:r>
                    </a:p>
                    <a:p>
                      <a:pPr marL="171450" indent="-171450">
                        <a:buFont typeface="Wingdings" panose="05000000000000000000" pitchFamily="2" charset="2"/>
                        <a:buChar char="Ø"/>
                      </a:pPr>
                      <a:r>
                        <a:rPr lang="en-US" sz="800">
                          <a:solidFill>
                            <a:srgbClr val="B1503A"/>
                          </a:solidFill>
                          <a:latin typeface="Open Sans" panose="020B0606030504020204" pitchFamily="34" charset="0"/>
                          <a:ea typeface="Open Sans" panose="020B0606030504020204" pitchFamily="34" charset="0"/>
                          <a:cs typeface="Open Sans" panose="020B0606030504020204" pitchFamily="34" charset="0"/>
                        </a:rPr>
                        <a:t>Green Investments</a:t>
                      </a:r>
                    </a:p>
                    <a:p>
                      <a:pPr marL="171450" indent="-171450">
                        <a:buFont typeface="Wingdings" panose="05000000000000000000" pitchFamily="2" charset="2"/>
                        <a:buChar char="Ø"/>
                      </a:pPr>
                      <a:r>
                        <a:rPr lang="en-US" sz="800">
                          <a:solidFill>
                            <a:srgbClr val="B1503A"/>
                          </a:solidFill>
                          <a:latin typeface="Open Sans" panose="020B0606030504020204" pitchFamily="34" charset="0"/>
                          <a:ea typeface="Open Sans" panose="020B0606030504020204" pitchFamily="34" charset="0"/>
                          <a:cs typeface="Open Sans" panose="020B0606030504020204" pitchFamily="34" charset="0"/>
                        </a:rPr>
                        <a:t>Good Governance</a:t>
                      </a:r>
                    </a:p>
                    <a:p>
                      <a:pPr marL="171450" indent="-171450">
                        <a:buFont typeface="Wingdings" panose="05000000000000000000" pitchFamily="2" charset="2"/>
                        <a:buChar char="Ø"/>
                      </a:pPr>
                      <a:r>
                        <a:rPr lang="en-US" sz="800">
                          <a:solidFill>
                            <a:srgbClr val="B1503A"/>
                          </a:solidFill>
                          <a:latin typeface="Open Sans" panose="020B0606030504020204" pitchFamily="34" charset="0"/>
                          <a:ea typeface="Open Sans" panose="020B0606030504020204" pitchFamily="34" charset="0"/>
                          <a:cs typeface="Open Sans" panose="020B0606030504020204" pitchFamily="34" charset="0"/>
                        </a:rPr>
                        <a:t>Cultural Consequences</a:t>
                      </a:r>
                    </a:p>
                    <a:p>
                      <a:pPr marL="514350" lvl="1" indent="-171450">
                        <a:buFont typeface="Arial" panose="020B0604020202020204" pitchFamily="34" charset="0"/>
                        <a:buChar char="•"/>
                      </a:pPr>
                      <a:r>
                        <a:rPr lang="en-US" sz="800">
                          <a:solidFill>
                            <a:srgbClr val="B1503A"/>
                          </a:solidFill>
                          <a:latin typeface="Open Sans" panose="020B0606030504020204" pitchFamily="34" charset="0"/>
                          <a:ea typeface="Open Sans" panose="020B0606030504020204" pitchFamily="34" charset="0"/>
                          <a:cs typeface="Open Sans" panose="020B0606030504020204" pitchFamily="34" charset="0"/>
                        </a:rPr>
                        <a:t>Social Media</a:t>
                      </a:r>
                    </a:p>
                    <a:p>
                      <a:pPr marL="514350" lvl="1" indent="-171450">
                        <a:buFont typeface="Arial" panose="020B0604020202020204" pitchFamily="34" charset="0"/>
                        <a:buChar char="•"/>
                      </a:pPr>
                      <a:r>
                        <a:rPr lang="en-US" sz="800">
                          <a:solidFill>
                            <a:srgbClr val="B1503A"/>
                          </a:solidFill>
                          <a:latin typeface="Open Sans" panose="020B0606030504020204" pitchFamily="34" charset="0"/>
                          <a:ea typeface="Open Sans" panose="020B0606030504020204" pitchFamily="34" charset="0"/>
                          <a:cs typeface="Open Sans" panose="020B0606030504020204" pitchFamily="34" charset="0"/>
                        </a:rPr>
                        <a:t>Brand Image</a:t>
                      </a:r>
                    </a:p>
                  </a:txBody>
                  <a:tcPr anchor="ctr">
                    <a:solidFill>
                      <a:srgbClr val="EBCBC3"/>
                    </a:solidFill>
                  </a:tcPr>
                </a:tc>
                <a:tc>
                  <a:txBody>
                    <a:bodyPr/>
                    <a:lstStyle/>
                    <a:p>
                      <a:pPr algn="l"/>
                      <a:r>
                        <a:rPr lang="en-US" sz="1400" b="1">
                          <a:solidFill>
                            <a:srgbClr val="B1503A"/>
                          </a:solidFill>
                          <a:latin typeface="Open Sans" panose="020B0606030504020204" pitchFamily="34" charset="0"/>
                          <a:ea typeface="Open Sans" panose="020B0606030504020204" pitchFamily="34" charset="0"/>
                          <a:cs typeface="Open Sans" panose="020B0606030504020204" pitchFamily="34" charset="0"/>
                        </a:rPr>
                        <a:t>Investors/</a:t>
                      </a:r>
                    </a:p>
                    <a:p>
                      <a:pPr algn="r"/>
                      <a:r>
                        <a:rPr lang="en-US" sz="1400" b="1">
                          <a:solidFill>
                            <a:srgbClr val="B1503A"/>
                          </a:solidFill>
                          <a:latin typeface="Open Sans" panose="020B0606030504020204" pitchFamily="34" charset="0"/>
                          <a:ea typeface="Open Sans" panose="020B0606030504020204" pitchFamily="34" charset="0"/>
                          <a:cs typeface="Open Sans" panose="020B0606030504020204" pitchFamily="34" charset="0"/>
                        </a:rPr>
                        <a:t>Insurance</a:t>
                      </a:r>
                      <a:endParaRPr lang="en-NL" sz="1400" b="1">
                        <a:solidFill>
                          <a:srgbClr val="B1503A"/>
                        </a:solidFill>
                        <a:latin typeface="Open Sans" panose="020B0606030504020204" pitchFamily="34" charset="0"/>
                        <a:ea typeface="Open Sans" panose="020B0606030504020204" pitchFamily="34" charset="0"/>
                        <a:cs typeface="Open Sans" panose="020B0606030504020204" pitchFamily="34" charset="0"/>
                      </a:endParaRPr>
                    </a:p>
                  </a:txBody>
                  <a:tcPr anchor="ctr">
                    <a:solidFill>
                      <a:srgbClr val="EBCBC3"/>
                    </a:solidFill>
                  </a:tcPr>
                </a:tc>
                <a:extLst>
                  <a:ext uri="{0D108BD9-81ED-4DB2-BD59-A6C34878D82A}">
                    <a16:rowId xmlns:a16="http://schemas.microsoft.com/office/drawing/2014/main" val="3825297991"/>
                  </a:ext>
                </a:extLst>
              </a:tr>
            </a:tbl>
          </a:graphicData>
        </a:graphic>
      </p:graphicFrame>
      <p:graphicFrame>
        <p:nvGraphicFramePr>
          <p:cNvPr id="16" name="Table 15">
            <a:extLst>
              <a:ext uri="{FF2B5EF4-FFF2-40B4-BE49-F238E27FC236}">
                <a16:creationId xmlns:a16="http://schemas.microsoft.com/office/drawing/2014/main" id="{71ED3567-4A77-BEDB-DD0B-7E7A92CE4DEF}"/>
              </a:ext>
            </a:extLst>
          </p:cNvPr>
          <p:cNvGraphicFramePr>
            <a:graphicFrameLocks noGrp="1"/>
          </p:cNvGraphicFramePr>
          <p:nvPr/>
        </p:nvGraphicFramePr>
        <p:xfrm>
          <a:off x="4352915" y="3466399"/>
          <a:ext cx="3278464" cy="1513603"/>
        </p:xfrm>
        <a:graphic>
          <a:graphicData uri="http://schemas.openxmlformats.org/drawingml/2006/table">
            <a:tbl>
              <a:tblPr>
                <a:tableStyleId>{7DF18680-E054-41AD-8BC1-D1AEF772440D}</a:tableStyleId>
              </a:tblPr>
              <a:tblGrid>
                <a:gridCol w="1639232">
                  <a:extLst>
                    <a:ext uri="{9D8B030D-6E8A-4147-A177-3AD203B41FA5}">
                      <a16:colId xmlns:a16="http://schemas.microsoft.com/office/drawing/2014/main" val="3837746272"/>
                    </a:ext>
                  </a:extLst>
                </a:gridCol>
                <a:gridCol w="1639232">
                  <a:extLst>
                    <a:ext uri="{9D8B030D-6E8A-4147-A177-3AD203B41FA5}">
                      <a16:colId xmlns:a16="http://schemas.microsoft.com/office/drawing/2014/main" val="156849116"/>
                    </a:ext>
                  </a:extLst>
                </a:gridCol>
              </a:tblGrid>
              <a:tr h="1513603">
                <a:tc>
                  <a:txBody>
                    <a:bodyPr/>
                    <a:lstStyle/>
                    <a:p>
                      <a:pPr lvl="0" algn="ctr"/>
                      <a:r>
                        <a:rPr lang="en-US" sz="1400" b="1">
                          <a:solidFill>
                            <a:srgbClr val="B1503A"/>
                          </a:solidFill>
                          <a:latin typeface="Open Sans" panose="020B0606030504020204" pitchFamily="34" charset="0"/>
                          <a:ea typeface="Open Sans" panose="020B0606030504020204" pitchFamily="34" charset="0"/>
                          <a:cs typeface="Open Sans" panose="020B0606030504020204" pitchFamily="34" charset="0"/>
                        </a:rPr>
                        <a:t>Integrated Management Systems</a:t>
                      </a:r>
                      <a:endParaRPr lang="en-NL" sz="1400" b="1">
                        <a:solidFill>
                          <a:srgbClr val="B1503A"/>
                        </a:solidFill>
                        <a:latin typeface="Open Sans" panose="020B0606030504020204" pitchFamily="34" charset="0"/>
                        <a:ea typeface="Open Sans" panose="020B0606030504020204" pitchFamily="34" charset="0"/>
                        <a:cs typeface="Open Sans" panose="020B0606030504020204" pitchFamily="34" charset="0"/>
                      </a:endParaRPr>
                    </a:p>
                  </a:txBody>
                  <a:tcPr anchor="ctr">
                    <a:solidFill>
                      <a:srgbClr val="EBCBC3"/>
                    </a:solidFill>
                  </a:tcPr>
                </a:tc>
                <a:tc>
                  <a:txBody>
                    <a:bodyPr/>
                    <a:lstStyle/>
                    <a:p>
                      <a:pPr marL="171450" indent="-171450">
                        <a:buFont typeface="Wingdings" panose="05000000000000000000" pitchFamily="2" charset="2"/>
                        <a:buChar char="Ø"/>
                      </a:pPr>
                      <a:r>
                        <a:rPr lang="en-US" sz="800">
                          <a:solidFill>
                            <a:srgbClr val="B1503A"/>
                          </a:solidFill>
                          <a:latin typeface="Open Sans" panose="020B0606030504020204" pitchFamily="34" charset="0"/>
                          <a:ea typeface="Open Sans" panose="020B0606030504020204" pitchFamily="34" charset="0"/>
                          <a:cs typeface="Open Sans" panose="020B0606030504020204" pitchFamily="34" charset="0"/>
                        </a:rPr>
                        <a:t>Harmonized Structure</a:t>
                      </a:r>
                    </a:p>
                    <a:p>
                      <a:pPr marL="171450" indent="-171450">
                        <a:buFont typeface="Wingdings" panose="05000000000000000000" pitchFamily="2" charset="2"/>
                        <a:buChar char="Ø"/>
                      </a:pPr>
                      <a:r>
                        <a:rPr lang="en-US" sz="800">
                          <a:solidFill>
                            <a:srgbClr val="B1503A"/>
                          </a:solidFill>
                          <a:latin typeface="Open Sans" panose="020B0606030504020204" pitchFamily="34" charset="0"/>
                          <a:ea typeface="Open Sans" panose="020B0606030504020204" pitchFamily="34" charset="0"/>
                          <a:cs typeface="Open Sans" panose="020B0606030504020204" pitchFamily="34" charset="0"/>
                        </a:rPr>
                        <a:t>Reduction in the number of audit events</a:t>
                      </a:r>
                    </a:p>
                    <a:p>
                      <a:pPr marL="171450" indent="-171450">
                        <a:buFont typeface="Wingdings" panose="05000000000000000000" pitchFamily="2" charset="2"/>
                        <a:buChar char="Ø"/>
                      </a:pPr>
                      <a:r>
                        <a:rPr lang="en-US" sz="800">
                          <a:solidFill>
                            <a:srgbClr val="B1503A"/>
                          </a:solidFill>
                          <a:latin typeface="Open Sans" panose="020B0606030504020204" pitchFamily="34" charset="0"/>
                          <a:ea typeface="Open Sans" panose="020B0606030504020204" pitchFamily="34" charset="0"/>
                          <a:cs typeface="Open Sans" panose="020B0606030504020204" pitchFamily="34" charset="0"/>
                        </a:rPr>
                        <a:t>Integrated / Combined Audits</a:t>
                      </a:r>
                    </a:p>
                    <a:p>
                      <a:pPr marL="171450" indent="-171450">
                        <a:buFont typeface="Wingdings" panose="05000000000000000000" pitchFamily="2" charset="2"/>
                        <a:buChar char="Ø"/>
                      </a:pPr>
                      <a:r>
                        <a:rPr lang="en-US" sz="800">
                          <a:solidFill>
                            <a:srgbClr val="B1503A"/>
                          </a:solidFill>
                          <a:latin typeface="Open Sans" panose="020B0606030504020204" pitchFamily="34" charset="0"/>
                          <a:ea typeface="Open Sans" panose="020B0606030504020204" pitchFamily="34" charset="0"/>
                          <a:cs typeface="Open Sans" panose="020B0606030504020204" pitchFamily="34" charset="0"/>
                        </a:rPr>
                        <a:t>Effective audit strategy</a:t>
                      </a:r>
                    </a:p>
                  </a:txBody>
                  <a:tcPr anchor="ctr">
                    <a:solidFill>
                      <a:srgbClr val="EBCBC3"/>
                    </a:solidFill>
                  </a:tcPr>
                </a:tc>
                <a:extLst>
                  <a:ext uri="{0D108BD9-81ED-4DB2-BD59-A6C34878D82A}">
                    <a16:rowId xmlns:a16="http://schemas.microsoft.com/office/drawing/2014/main" val="3825297991"/>
                  </a:ext>
                </a:extLst>
              </a:tr>
            </a:tbl>
          </a:graphicData>
        </a:graphic>
      </p:graphicFrame>
      <p:cxnSp>
        <p:nvCxnSpPr>
          <p:cNvPr id="23" name="Rechte verbindingslijn met pijl 82">
            <a:extLst>
              <a:ext uri="{FF2B5EF4-FFF2-40B4-BE49-F238E27FC236}">
                <a16:creationId xmlns:a16="http://schemas.microsoft.com/office/drawing/2014/main" id="{A78D4E59-5BCA-BB7C-3B80-E809E569D5A6}"/>
              </a:ext>
            </a:extLst>
          </p:cNvPr>
          <p:cNvCxnSpPr>
            <a:cxnSpLocks/>
          </p:cNvCxnSpPr>
          <p:nvPr/>
        </p:nvCxnSpPr>
        <p:spPr>
          <a:xfrm>
            <a:off x="4668644" y="3272902"/>
            <a:ext cx="1568601" cy="0"/>
          </a:xfrm>
          <a:prstGeom prst="straightConnector1">
            <a:avLst/>
          </a:prstGeom>
          <a:ln w="25400">
            <a:solidFill>
              <a:srgbClr val="B1503A"/>
            </a:solidFill>
            <a:tailEnd type="triangle" w="lg" len="med"/>
          </a:ln>
        </p:spPr>
        <p:style>
          <a:lnRef idx="1">
            <a:schemeClr val="accent3"/>
          </a:lnRef>
          <a:fillRef idx="0">
            <a:schemeClr val="accent3"/>
          </a:fillRef>
          <a:effectRef idx="0">
            <a:schemeClr val="accent3"/>
          </a:effectRef>
          <a:fontRef idx="minor">
            <a:schemeClr val="tx1"/>
          </a:fontRef>
        </p:style>
      </p:cxnSp>
      <p:cxnSp>
        <p:nvCxnSpPr>
          <p:cNvPr id="25" name="Rechte verbindingslijn met pijl 82">
            <a:extLst>
              <a:ext uri="{FF2B5EF4-FFF2-40B4-BE49-F238E27FC236}">
                <a16:creationId xmlns:a16="http://schemas.microsoft.com/office/drawing/2014/main" id="{7F1864F1-05CC-AA65-CF40-2C6B3E77171C}"/>
              </a:ext>
            </a:extLst>
          </p:cNvPr>
          <p:cNvCxnSpPr>
            <a:cxnSpLocks/>
          </p:cNvCxnSpPr>
          <p:nvPr/>
        </p:nvCxnSpPr>
        <p:spPr>
          <a:xfrm flipH="1" flipV="1">
            <a:off x="1650022" y="3258207"/>
            <a:ext cx="1568963" cy="3370"/>
          </a:xfrm>
          <a:prstGeom prst="straightConnector1">
            <a:avLst/>
          </a:prstGeom>
          <a:ln w="25400">
            <a:solidFill>
              <a:srgbClr val="B1503A"/>
            </a:solidFill>
            <a:tailEnd type="triangle" w="lg" len="med"/>
          </a:ln>
        </p:spPr>
        <p:style>
          <a:lnRef idx="1">
            <a:schemeClr val="accent3"/>
          </a:lnRef>
          <a:fillRef idx="0">
            <a:schemeClr val="accent3"/>
          </a:fillRef>
          <a:effectRef idx="0">
            <a:schemeClr val="accent3"/>
          </a:effectRef>
          <a:fontRef idx="minor">
            <a:schemeClr val="tx1"/>
          </a:fontRef>
        </p:style>
      </p:cxnSp>
      <p:cxnSp>
        <p:nvCxnSpPr>
          <p:cNvPr id="27" name="Rechte verbindingslijn met pijl 82">
            <a:extLst>
              <a:ext uri="{FF2B5EF4-FFF2-40B4-BE49-F238E27FC236}">
                <a16:creationId xmlns:a16="http://schemas.microsoft.com/office/drawing/2014/main" id="{308A8859-6F67-F2F3-138A-666C48876525}"/>
              </a:ext>
            </a:extLst>
          </p:cNvPr>
          <p:cNvCxnSpPr>
            <a:cxnSpLocks/>
          </p:cNvCxnSpPr>
          <p:nvPr/>
        </p:nvCxnSpPr>
        <p:spPr>
          <a:xfrm flipV="1">
            <a:off x="3973120" y="1828800"/>
            <a:ext cx="0" cy="767421"/>
          </a:xfrm>
          <a:prstGeom prst="straightConnector1">
            <a:avLst/>
          </a:prstGeom>
          <a:ln w="25400">
            <a:solidFill>
              <a:srgbClr val="B1503A"/>
            </a:solidFill>
            <a:tailEnd type="triangle" w="lg" len="med"/>
          </a:ln>
        </p:spPr>
        <p:style>
          <a:lnRef idx="1">
            <a:schemeClr val="accent3"/>
          </a:lnRef>
          <a:fillRef idx="0">
            <a:schemeClr val="accent3"/>
          </a:fillRef>
          <a:effectRef idx="0">
            <a:schemeClr val="accent3"/>
          </a:effectRef>
          <a:fontRef idx="minor">
            <a:schemeClr val="tx1"/>
          </a:fontRef>
        </p:style>
      </p:cxnSp>
      <p:cxnSp>
        <p:nvCxnSpPr>
          <p:cNvPr id="30" name="Rechte verbindingslijn met pijl 82">
            <a:extLst>
              <a:ext uri="{FF2B5EF4-FFF2-40B4-BE49-F238E27FC236}">
                <a16:creationId xmlns:a16="http://schemas.microsoft.com/office/drawing/2014/main" id="{E7230368-A350-96F6-8924-0B6E949D6DC5}"/>
              </a:ext>
            </a:extLst>
          </p:cNvPr>
          <p:cNvCxnSpPr>
            <a:cxnSpLocks/>
          </p:cNvCxnSpPr>
          <p:nvPr/>
        </p:nvCxnSpPr>
        <p:spPr>
          <a:xfrm>
            <a:off x="3973120" y="3838322"/>
            <a:ext cx="0" cy="793639"/>
          </a:xfrm>
          <a:prstGeom prst="straightConnector1">
            <a:avLst/>
          </a:prstGeom>
          <a:ln w="25400">
            <a:solidFill>
              <a:srgbClr val="B1503A"/>
            </a:solidFill>
            <a:tailEnd type="triangle" w="lg" len="med"/>
          </a:ln>
        </p:spPr>
        <p:style>
          <a:lnRef idx="1">
            <a:schemeClr val="accent3"/>
          </a:lnRef>
          <a:fillRef idx="0">
            <a:schemeClr val="accent3"/>
          </a:fillRef>
          <a:effectRef idx="0">
            <a:schemeClr val="accent3"/>
          </a:effectRef>
          <a:fontRef idx="minor">
            <a:schemeClr val="tx1"/>
          </a:fontRef>
        </p:style>
      </p:cxnSp>
      <p:sp>
        <p:nvSpPr>
          <p:cNvPr id="33" name="Oval 32">
            <a:extLst>
              <a:ext uri="{FF2B5EF4-FFF2-40B4-BE49-F238E27FC236}">
                <a16:creationId xmlns:a16="http://schemas.microsoft.com/office/drawing/2014/main" id="{422E447C-DC5C-C302-E119-81414C0E50D9}"/>
              </a:ext>
            </a:extLst>
          </p:cNvPr>
          <p:cNvSpPr>
            <a:spLocks noChangeAspect="1"/>
          </p:cNvSpPr>
          <p:nvPr/>
        </p:nvSpPr>
        <p:spPr>
          <a:xfrm>
            <a:off x="3241285" y="2696902"/>
            <a:ext cx="1457998" cy="11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7F601DBE-2934-2F01-315E-21C0BE14D6ED}"/>
              </a:ext>
            </a:extLst>
          </p:cNvPr>
          <p:cNvSpPr txBox="1"/>
          <p:nvPr/>
        </p:nvSpPr>
        <p:spPr>
          <a:xfrm>
            <a:off x="509005" y="2861853"/>
            <a:ext cx="6943951" cy="847492"/>
          </a:xfrm>
          <a:prstGeom prst="rect">
            <a:avLst/>
          </a:prstGeom>
        </p:spPr>
        <p:txBody>
          <a:bodyPr vert="horz" wrap="square" lIns="68580" tIns="34290" rIns="68580" bIns="34290" rtlCol="0" anchor="ctr">
            <a:noAutofit/>
          </a:bodyPr>
          <a:lstStyle/>
          <a:p>
            <a:pPr algn="ctr">
              <a:lnSpc>
                <a:spcPct val="110000"/>
              </a:lnSpc>
            </a:pPr>
            <a:r>
              <a:rPr lang="en-US" b="1">
                <a:solidFill>
                  <a:srgbClr val="B1503A"/>
                </a:solidFill>
                <a:latin typeface="Avenir Next Bold"/>
                <a:cs typeface="Avenir Next Bold"/>
              </a:rPr>
              <a:t>SUPPLY </a:t>
            </a:r>
          </a:p>
          <a:p>
            <a:pPr algn="ctr">
              <a:lnSpc>
                <a:spcPct val="110000"/>
              </a:lnSpc>
            </a:pPr>
            <a:r>
              <a:rPr lang="en-US" b="1">
                <a:solidFill>
                  <a:srgbClr val="B1503A"/>
                </a:solidFill>
                <a:latin typeface="Avenir Next Bold"/>
                <a:cs typeface="Avenir Next Bold"/>
              </a:rPr>
              <a:t>CHAIN</a:t>
            </a:r>
          </a:p>
        </p:txBody>
      </p:sp>
      <p:sp>
        <p:nvSpPr>
          <p:cNvPr id="8" name="TextBox 7">
            <a:extLst>
              <a:ext uri="{FF2B5EF4-FFF2-40B4-BE49-F238E27FC236}">
                <a16:creationId xmlns:a16="http://schemas.microsoft.com/office/drawing/2014/main" id="{7B05730F-DF07-31E7-312A-BEEF375119B6}"/>
              </a:ext>
            </a:extLst>
          </p:cNvPr>
          <p:cNvSpPr txBox="1"/>
          <p:nvPr/>
        </p:nvSpPr>
        <p:spPr>
          <a:xfrm>
            <a:off x="382286" y="1170781"/>
            <a:ext cx="7249091" cy="258277"/>
          </a:xfrm>
          <a:prstGeom prst="rect">
            <a:avLst/>
          </a:prstGeom>
        </p:spPr>
        <p:txBody>
          <a:bodyPr vert="horz" wrap="square" lIns="68580" tIns="34290" rIns="68580" bIns="34290" rtlCol="0" anchor="ctr">
            <a:normAutofit/>
          </a:bodyPr>
          <a:lstStyle/>
          <a:p>
            <a:pPr algn="ctr"/>
            <a:r>
              <a:rPr lang="en-US" sz="1050" b="1" dirty="0">
                <a:latin typeface="Avenir Next" panose="020B0503020202020204" pitchFamily="34" charset="0"/>
              </a:rPr>
              <a:t>C</a:t>
            </a:r>
            <a:r>
              <a:rPr lang="en-US" sz="1050" b="1" i="0" dirty="0">
                <a:effectLst/>
                <a:latin typeface="Avenir Next" panose="020B0503020202020204" pitchFamily="34" charset="0"/>
              </a:rPr>
              <a:t>ompliance with international due diligence requirements in the Social supply chain</a:t>
            </a:r>
            <a:endParaRPr lang="en-US" sz="1050" b="1" dirty="0">
              <a:solidFill>
                <a:srgbClr val="EDAE00"/>
              </a:solidFill>
              <a:latin typeface="Avenir Next" panose="020B0503020202020204" pitchFamily="34" charset="0"/>
              <a:cs typeface="Avenir Next Bold"/>
            </a:endParaRPr>
          </a:p>
        </p:txBody>
      </p:sp>
    </p:spTree>
    <p:extLst>
      <p:ext uri="{BB962C8B-B14F-4D97-AF65-F5344CB8AC3E}">
        <p14:creationId xmlns:p14="http://schemas.microsoft.com/office/powerpoint/2010/main" val="1914302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ADE28789-B710-A14E-E858-A31399F60B36}"/>
              </a:ext>
            </a:extLst>
          </p:cNvPr>
          <p:cNvGrpSpPr/>
          <p:nvPr/>
        </p:nvGrpSpPr>
        <p:grpSpPr>
          <a:xfrm>
            <a:off x="363279" y="4084388"/>
            <a:ext cx="4922981" cy="662793"/>
            <a:chOff x="779488" y="3136482"/>
            <a:chExt cx="4922981" cy="662793"/>
          </a:xfrm>
        </p:grpSpPr>
        <p:sp>
          <p:nvSpPr>
            <p:cNvPr id="18" name="Diamond 17">
              <a:extLst>
                <a:ext uri="{FF2B5EF4-FFF2-40B4-BE49-F238E27FC236}">
                  <a16:creationId xmlns:a16="http://schemas.microsoft.com/office/drawing/2014/main" id="{675F95A2-02BF-ED64-AF6E-975B95E6FBA6}"/>
                </a:ext>
              </a:extLst>
            </p:cNvPr>
            <p:cNvSpPr/>
            <p:nvPr/>
          </p:nvSpPr>
          <p:spPr>
            <a:xfrm>
              <a:off x="5039677" y="3136482"/>
              <a:ext cx="662792" cy="662792"/>
            </a:xfrm>
            <a:prstGeom prst="diamond">
              <a:avLst/>
            </a:pr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1B1E605-D6D3-2812-0B7E-633F4FB0E309}"/>
                </a:ext>
              </a:extLst>
            </p:cNvPr>
            <p:cNvSpPr/>
            <p:nvPr/>
          </p:nvSpPr>
          <p:spPr>
            <a:xfrm>
              <a:off x="779488" y="3136483"/>
              <a:ext cx="4591587" cy="662792"/>
            </a:xfrm>
            <a:prstGeom prst="rect">
              <a:avLst/>
            </a:pr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738B329B-31B2-8C42-248E-DF54FB206D9E}"/>
              </a:ext>
            </a:extLst>
          </p:cNvPr>
          <p:cNvSpPr>
            <a:spLocks noGrp="1"/>
          </p:cNvSpPr>
          <p:nvPr>
            <p:ph type="title"/>
          </p:nvPr>
        </p:nvSpPr>
        <p:spPr/>
        <p:txBody>
          <a:bodyPr/>
          <a:lstStyle/>
          <a:p>
            <a:r>
              <a:rPr lang="fr-CH">
                <a:latin typeface="AvenirNext LT Pro Bold" panose="020B0504020202020204" pitchFamily="34" charset="77"/>
              </a:rPr>
              <a:t>SOCIAL COMPLIANCE DRIVERS</a:t>
            </a:r>
            <a:endParaRPr lang="en-US"/>
          </a:p>
        </p:txBody>
      </p:sp>
      <p:grpSp>
        <p:nvGrpSpPr>
          <p:cNvPr id="3" name="Group 2">
            <a:extLst>
              <a:ext uri="{FF2B5EF4-FFF2-40B4-BE49-F238E27FC236}">
                <a16:creationId xmlns:a16="http://schemas.microsoft.com/office/drawing/2014/main" id="{EF1286C7-5AE5-44BF-36D9-E0243CC46CE9}"/>
              </a:ext>
            </a:extLst>
          </p:cNvPr>
          <p:cNvGrpSpPr/>
          <p:nvPr/>
        </p:nvGrpSpPr>
        <p:grpSpPr>
          <a:xfrm>
            <a:off x="363279" y="1505529"/>
            <a:ext cx="4922981" cy="662792"/>
            <a:chOff x="779488" y="1417242"/>
            <a:chExt cx="4922981" cy="662792"/>
          </a:xfrm>
        </p:grpSpPr>
        <p:sp>
          <p:nvSpPr>
            <p:cNvPr id="4" name="Rectangle 3">
              <a:extLst>
                <a:ext uri="{FF2B5EF4-FFF2-40B4-BE49-F238E27FC236}">
                  <a16:creationId xmlns:a16="http://schemas.microsoft.com/office/drawing/2014/main" id="{0351A830-A311-80A4-E5D3-E453E78D9D3A}"/>
                </a:ext>
              </a:extLst>
            </p:cNvPr>
            <p:cNvSpPr/>
            <p:nvPr/>
          </p:nvSpPr>
          <p:spPr>
            <a:xfrm>
              <a:off x="779488" y="1417242"/>
              <a:ext cx="4591585" cy="662792"/>
            </a:xfrm>
            <a:prstGeom prst="rect">
              <a:avLst/>
            </a:pr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iamond 4">
              <a:extLst>
                <a:ext uri="{FF2B5EF4-FFF2-40B4-BE49-F238E27FC236}">
                  <a16:creationId xmlns:a16="http://schemas.microsoft.com/office/drawing/2014/main" id="{A3492EE1-46B2-0539-28AA-620276C39948}"/>
                </a:ext>
              </a:extLst>
            </p:cNvPr>
            <p:cNvSpPr/>
            <p:nvPr/>
          </p:nvSpPr>
          <p:spPr>
            <a:xfrm>
              <a:off x="5039677" y="1417242"/>
              <a:ext cx="662792" cy="662792"/>
            </a:xfrm>
            <a:prstGeom prst="diamond">
              <a:avLst/>
            </a:pr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D69B593A-608B-F1A0-5FF7-9845A2B94B96}"/>
              </a:ext>
            </a:extLst>
          </p:cNvPr>
          <p:cNvGrpSpPr/>
          <p:nvPr/>
        </p:nvGrpSpPr>
        <p:grpSpPr>
          <a:xfrm>
            <a:off x="363279" y="2365149"/>
            <a:ext cx="4919999" cy="662793"/>
            <a:chOff x="779488" y="2276862"/>
            <a:chExt cx="4919999" cy="662793"/>
          </a:xfrm>
        </p:grpSpPr>
        <p:sp>
          <p:nvSpPr>
            <p:cNvPr id="7" name="Rectangle 6">
              <a:extLst>
                <a:ext uri="{FF2B5EF4-FFF2-40B4-BE49-F238E27FC236}">
                  <a16:creationId xmlns:a16="http://schemas.microsoft.com/office/drawing/2014/main" id="{0A380573-E3D4-4863-C65B-D6B2A7C00135}"/>
                </a:ext>
              </a:extLst>
            </p:cNvPr>
            <p:cNvSpPr/>
            <p:nvPr/>
          </p:nvSpPr>
          <p:spPr>
            <a:xfrm>
              <a:off x="779488" y="2276863"/>
              <a:ext cx="4591586" cy="662792"/>
            </a:xfrm>
            <a:prstGeom prst="rect">
              <a:avLst/>
            </a:pr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iamond 7">
              <a:extLst>
                <a:ext uri="{FF2B5EF4-FFF2-40B4-BE49-F238E27FC236}">
                  <a16:creationId xmlns:a16="http://schemas.microsoft.com/office/drawing/2014/main" id="{44A51771-813B-6C0A-F9E8-4A97A802F3BD}"/>
                </a:ext>
              </a:extLst>
            </p:cNvPr>
            <p:cNvSpPr/>
            <p:nvPr/>
          </p:nvSpPr>
          <p:spPr>
            <a:xfrm>
              <a:off x="5036695" y="2276862"/>
              <a:ext cx="662792" cy="662792"/>
            </a:xfrm>
            <a:prstGeom prst="diamond">
              <a:avLst/>
            </a:pr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Group 8">
            <a:extLst>
              <a:ext uri="{FF2B5EF4-FFF2-40B4-BE49-F238E27FC236}">
                <a16:creationId xmlns:a16="http://schemas.microsoft.com/office/drawing/2014/main" id="{C788E6A9-72FA-368F-5DED-7AB2FF64450B}"/>
              </a:ext>
            </a:extLst>
          </p:cNvPr>
          <p:cNvGrpSpPr/>
          <p:nvPr/>
        </p:nvGrpSpPr>
        <p:grpSpPr>
          <a:xfrm>
            <a:off x="363279" y="3224769"/>
            <a:ext cx="4922981" cy="662793"/>
            <a:chOff x="779488" y="3136482"/>
            <a:chExt cx="4922981" cy="662793"/>
          </a:xfrm>
        </p:grpSpPr>
        <p:sp>
          <p:nvSpPr>
            <p:cNvPr id="10" name="Diamond 9">
              <a:extLst>
                <a:ext uri="{FF2B5EF4-FFF2-40B4-BE49-F238E27FC236}">
                  <a16:creationId xmlns:a16="http://schemas.microsoft.com/office/drawing/2014/main" id="{CBE78086-4F7D-E503-FC53-44E78AA7416C}"/>
                </a:ext>
              </a:extLst>
            </p:cNvPr>
            <p:cNvSpPr/>
            <p:nvPr/>
          </p:nvSpPr>
          <p:spPr>
            <a:xfrm>
              <a:off x="5039677" y="3136482"/>
              <a:ext cx="662792" cy="662792"/>
            </a:xfrm>
            <a:prstGeom prst="diamond">
              <a:avLst/>
            </a:pr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F4D0808-498C-FCC9-FDBF-21659DCFFA98}"/>
                </a:ext>
              </a:extLst>
            </p:cNvPr>
            <p:cNvSpPr/>
            <p:nvPr/>
          </p:nvSpPr>
          <p:spPr>
            <a:xfrm>
              <a:off x="779488" y="3136483"/>
              <a:ext cx="4591587" cy="662792"/>
            </a:xfrm>
            <a:prstGeom prst="rect">
              <a:avLst/>
            </a:pr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TextBox 11">
            <a:extLst>
              <a:ext uri="{FF2B5EF4-FFF2-40B4-BE49-F238E27FC236}">
                <a16:creationId xmlns:a16="http://schemas.microsoft.com/office/drawing/2014/main" id="{F976E4CE-227C-C242-1026-304927071C2E}"/>
              </a:ext>
            </a:extLst>
          </p:cNvPr>
          <p:cNvSpPr txBox="1"/>
          <p:nvPr/>
        </p:nvSpPr>
        <p:spPr>
          <a:xfrm>
            <a:off x="535667" y="1615614"/>
            <a:ext cx="4302176" cy="479898"/>
          </a:xfrm>
          <a:prstGeom prst="rect">
            <a:avLst/>
          </a:prstGeom>
        </p:spPr>
        <p:txBody>
          <a:bodyPr vert="horz" wrap="square" lIns="68580" tIns="34290" rIns="68580" bIns="34290" rtlCol="0" anchor="ctr">
            <a:noAutofit/>
          </a:bodyPr>
          <a:lstStyle/>
          <a:p>
            <a:r>
              <a:rPr lang="en-US" b="1" dirty="0">
                <a:solidFill>
                  <a:srgbClr val="B1503A"/>
                </a:solidFill>
                <a:latin typeface="AvenirNext LT Pro Regular" panose="020B0504020202020204" pitchFamily="34" charset="77"/>
              </a:rPr>
              <a:t>Society at large is less tolerant of abuses, bad working conditions, corruption etc.</a:t>
            </a:r>
          </a:p>
        </p:txBody>
      </p:sp>
      <p:sp>
        <p:nvSpPr>
          <p:cNvPr id="13" name="TextBox 12">
            <a:extLst>
              <a:ext uri="{FF2B5EF4-FFF2-40B4-BE49-F238E27FC236}">
                <a16:creationId xmlns:a16="http://schemas.microsoft.com/office/drawing/2014/main" id="{22770086-80DC-A228-8988-8852BACE3166}"/>
              </a:ext>
            </a:extLst>
          </p:cNvPr>
          <p:cNvSpPr txBox="1"/>
          <p:nvPr/>
        </p:nvSpPr>
        <p:spPr>
          <a:xfrm>
            <a:off x="535667" y="3334855"/>
            <a:ext cx="4107304" cy="479898"/>
          </a:xfrm>
          <a:prstGeom prst="rect">
            <a:avLst/>
          </a:prstGeom>
        </p:spPr>
        <p:txBody>
          <a:bodyPr vert="horz" wrap="square" lIns="68580" tIns="34290" rIns="68580" bIns="34290" rtlCol="0" anchor="ctr">
            <a:noAutofit/>
          </a:bodyPr>
          <a:lstStyle/>
          <a:p>
            <a:r>
              <a:rPr lang="en-US" b="1">
                <a:solidFill>
                  <a:srgbClr val="B1503A"/>
                </a:solidFill>
                <a:latin typeface="AvenirNext LT Pro Regular" panose="020B0504020202020204" pitchFamily="34" charset="77"/>
              </a:rPr>
              <a:t>Peers can use good practices as differentiating factors.</a:t>
            </a:r>
          </a:p>
        </p:txBody>
      </p:sp>
      <p:sp>
        <p:nvSpPr>
          <p:cNvPr id="14" name="TextBox 13">
            <a:extLst>
              <a:ext uri="{FF2B5EF4-FFF2-40B4-BE49-F238E27FC236}">
                <a16:creationId xmlns:a16="http://schemas.microsoft.com/office/drawing/2014/main" id="{8CD1A57F-5A11-4C3B-ABC8-16716C66B446}"/>
              </a:ext>
            </a:extLst>
          </p:cNvPr>
          <p:cNvSpPr txBox="1"/>
          <p:nvPr/>
        </p:nvSpPr>
        <p:spPr>
          <a:xfrm>
            <a:off x="535666" y="4194475"/>
            <a:ext cx="4819338" cy="479898"/>
          </a:xfrm>
          <a:prstGeom prst="rect">
            <a:avLst/>
          </a:prstGeom>
        </p:spPr>
        <p:txBody>
          <a:bodyPr vert="horz" wrap="square" lIns="68580" tIns="34290" rIns="68580" bIns="34290" rtlCol="0" anchor="ctr">
            <a:noAutofit/>
          </a:bodyPr>
          <a:lstStyle/>
          <a:p>
            <a:r>
              <a:rPr lang="en-US" b="1">
                <a:solidFill>
                  <a:srgbClr val="B1503A"/>
                </a:solidFill>
                <a:latin typeface="AvenirNext LT Pro Regular" panose="020B0504020202020204" pitchFamily="34" charset="77"/>
              </a:rPr>
              <a:t>NGOs and activist investors add to social pressure. </a:t>
            </a:r>
          </a:p>
        </p:txBody>
      </p:sp>
      <p:sp>
        <p:nvSpPr>
          <p:cNvPr id="15" name="TextBox 14">
            <a:extLst>
              <a:ext uri="{FF2B5EF4-FFF2-40B4-BE49-F238E27FC236}">
                <a16:creationId xmlns:a16="http://schemas.microsoft.com/office/drawing/2014/main" id="{A5FBCCAC-3409-946A-C834-41E6D4DDC05A}"/>
              </a:ext>
            </a:extLst>
          </p:cNvPr>
          <p:cNvSpPr txBox="1"/>
          <p:nvPr/>
        </p:nvSpPr>
        <p:spPr>
          <a:xfrm>
            <a:off x="535666" y="2481148"/>
            <a:ext cx="4189751" cy="479898"/>
          </a:xfrm>
          <a:prstGeom prst="rect">
            <a:avLst/>
          </a:prstGeom>
        </p:spPr>
        <p:txBody>
          <a:bodyPr vert="horz" wrap="square" lIns="68580" tIns="34290" rIns="68580" bIns="34290" rtlCol="0" anchor="ctr">
            <a:noAutofit/>
          </a:bodyPr>
          <a:lstStyle/>
          <a:p>
            <a:r>
              <a:rPr lang="en-US" b="1" dirty="0">
                <a:solidFill>
                  <a:srgbClr val="B1503A"/>
                </a:solidFill>
                <a:latin typeface="AvenirNext LT Pro Regular" panose="020B0504020202020204" pitchFamily="34" charset="77"/>
              </a:rPr>
              <a:t>Legislators follow societal pressures to respond to new ethical requirements.</a:t>
            </a:r>
          </a:p>
        </p:txBody>
      </p:sp>
      <p:sp>
        <p:nvSpPr>
          <p:cNvPr id="16" name="TextBox 15">
            <a:extLst>
              <a:ext uri="{FF2B5EF4-FFF2-40B4-BE49-F238E27FC236}">
                <a16:creationId xmlns:a16="http://schemas.microsoft.com/office/drawing/2014/main" id="{14809189-ED85-8EDC-A068-A97B050D52C0}"/>
              </a:ext>
            </a:extLst>
          </p:cNvPr>
          <p:cNvSpPr txBox="1"/>
          <p:nvPr/>
        </p:nvSpPr>
        <p:spPr>
          <a:xfrm>
            <a:off x="5355004" y="1721463"/>
            <a:ext cx="2981680" cy="2631692"/>
          </a:xfrm>
          <a:prstGeom prst="rect">
            <a:avLst/>
          </a:prstGeom>
        </p:spPr>
        <p:txBody>
          <a:bodyPr vert="horz" wrap="square" lIns="68580" tIns="34290" rIns="68580" bIns="34290" rtlCol="0" anchor="ctr">
            <a:normAutofit/>
          </a:bodyPr>
          <a:lstStyle/>
          <a:p>
            <a:pPr algn="ctr"/>
            <a:r>
              <a:rPr lang="en-US" sz="2400" b="1">
                <a:solidFill>
                  <a:srgbClr val="B1503A"/>
                </a:solidFill>
                <a:latin typeface="AvenirNext LT Pro Bold" panose="020B0504020202020204" pitchFamily="34" charset="77"/>
              </a:rPr>
              <a:t>Increasing external demand to govern social aspects </a:t>
            </a:r>
          </a:p>
          <a:p>
            <a:pPr algn="ctr"/>
            <a:r>
              <a:rPr lang="en-US" sz="2400" b="1">
                <a:solidFill>
                  <a:srgbClr val="B1503A"/>
                </a:solidFill>
                <a:latin typeface="AvenirNext LT Pro Bold" panose="020B0504020202020204" pitchFamily="34" charset="77"/>
              </a:rPr>
              <a:t>and ensure good practice.</a:t>
            </a:r>
            <a:endParaRPr lang="en-US" sz="1600" b="1">
              <a:solidFill>
                <a:srgbClr val="B1503A"/>
              </a:solidFill>
              <a:latin typeface="AvenirNext LT Pro Bold" panose="020B0504020202020204" pitchFamily="34" charset="77"/>
              <a:cs typeface="Avenir Next Bold"/>
            </a:endParaRPr>
          </a:p>
        </p:txBody>
      </p:sp>
    </p:spTree>
    <p:extLst>
      <p:ext uri="{BB962C8B-B14F-4D97-AF65-F5344CB8AC3E}">
        <p14:creationId xmlns:p14="http://schemas.microsoft.com/office/powerpoint/2010/main" val="275415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A24D1-808D-9F69-16AB-52AD4F0CDC83}"/>
              </a:ext>
            </a:extLst>
          </p:cNvPr>
          <p:cNvSpPr>
            <a:spLocks noGrp="1"/>
          </p:cNvSpPr>
          <p:nvPr>
            <p:ph type="title"/>
          </p:nvPr>
        </p:nvSpPr>
        <p:spPr>
          <a:xfrm>
            <a:off x="569625" y="364068"/>
            <a:ext cx="7846065" cy="558800"/>
          </a:xfrm>
        </p:spPr>
        <p:txBody>
          <a:bodyPr>
            <a:normAutofit/>
          </a:bodyPr>
          <a:lstStyle/>
          <a:p>
            <a:r>
              <a:rPr lang="en-US" noProof="0" dirty="0">
                <a:latin typeface="AvenirNext LT Pro Bold" panose="020B0504020202020204" pitchFamily="34" charset="77"/>
              </a:rPr>
              <a:t>Cost of ignoring social risks</a:t>
            </a:r>
            <a:endParaRPr lang="en-US" dirty="0"/>
          </a:p>
        </p:txBody>
      </p:sp>
      <p:pic>
        <p:nvPicPr>
          <p:cNvPr id="5" name="Picture 4">
            <a:extLst>
              <a:ext uri="{FF2B5EF4-FFF2-40B4-BE49-F238E27FC236}">
                <a16:creationId xmlns:a16="http://schemas.microsoft.com/office/drawing/2014/main" id="{D8FA84B1-1FEB-F207-9D62-87A5BA844BFE}"/>
              </a:ext>
            </a:extLst>
          </p:cNvPr>
          <p:cNvPicPr>
            <a:picLocks noChangeAspect="1"/>
          </p:cNvPicPr>
          <p:nvPr/>
        </p:nvPicPr>
        <p:blipFill>
          <a:blip r:embed="rId3"/>
          <a:stretch>
            <a:fillRect/>
          </a:stretch>
        </p:blipFill>
        <p:spPr>
          <a:xfrm>
            <a:off x="569625" y="1272773"/>
            <a:ext cx="6950042" cy="3177815"/>
          </a:xfrm>
          <a:prstGeom prst="rect">
            <a:avLst/>
          </a:prstGeom>
        </p:spPr>
      </p:pic>
    </p:spTree>
    <p:extLst>
      <p:ext uri="{BB962C8B-B14F-4D97-AF65-F5344CB8AC3E}">
        <p14:creationId xmlns:p14="http://schemas.microsoft.com/office/powerpoint/2010/main" val="286657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77D4A-A643-4798-A6EF-C2D238FFBAA3}"/>
              </a:ext>
            </a:extLst>
          </p:cNvPr>
          <p:cNvSpPr>
            <a:spLocks noGrp="1"/>
          </p:cNvSpPr>
          <p:nvPr>
            <p:ph type="title"/>
          </p:nvPr>
        </p:nvSpPr>
        <p:spPr/>
        <p:txBody>
          <a:bodyPr/>
          <a:lstStyle/>
          <a:p>
            <a:r>
              <a:rPr lang="en-US"/>
              <a:t>What are the FSSC 24000 Opportunities?</a:t>
            </a:r>
            <a:endParaRPr lang="en-NL"/>
          </a:p>
        </p:txBody>
      </p:sp>
    </p:spTree>
    <p:extLst>
      <p:ext uri="{BB962C8B-B14F-4D97-AF65-F5344CB8AC3E}">
        <p14:creationId xmlns:p14="http://schemas.microsoft.com/office/powerpoint/2010/main" val="75436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596D2-2543-0B44-70F4-8F53C247D3BF}"/>
              </a:ext>
            </a:extLst>
          </p:cNvPr>
          <p:cNvSpPr>
            <a:spLocks noGrp="1"/>
          </p:cNvSpPr>
          <p:nvPr>
            <p:ph type="title"/>
          </p:nvPr>
        </p:nvSpPr>
        <p:spPr/>
        <p:txBody>
          <a:bodyPr/>
          <a:lstStyle/>
          <a:p>
            <a:r>
              <a:rPr lang="en-US"/>
              <a:t>ISO MANAGEMENT SYSTEMS</a:t>
            </a:r>
          </a:p>
        </p:txBody>
      </p:sp>
      <p:grpSp>
        <p:nvGrpSpPr>
          <p:cNvPr id="3" name="Group 2">
            <a:extLst>
              <a:ext uri="{FF2B5EF4-FFF2-40B4-BE49-F238E27FC236}">
                <a16:creationId xmlns:a16="http://schemas.microsoft.com/office/drawing/2014/main" id="{E7AC9F9F-CC17-EE51-F335-C6C29A87C6F4}"/>
              </a:ext>
            </a:extLst>
          </p:cNvPr>
          <p:cNvGrpSpPr/>
          <p:nvPr/>
        </p:nvGrpSpPr>
        <p:grpSpPr>
          <a:xfrm>
            <a:off x="5157231" y="1245301"/>
            <a:ext cx="3986769" cy="3167339"/>
            <a:chOff x="4991334" y="915737"/>
            <a:chExt cx="4028383" cy="3200400"/>
          </a:xfrm>
        </p:grpSpPr>
        <p:sp>
          <p:nvSpPr>
            <p:cNvPr id="4" name="Rectangle: Rounded Corners 4">
              <a:extLst>
                <a:ext uri="{FF2B5EF4-FFF2-40B4-BE49-F238E27FC236}">
                  <a16:creationId xmlns:a16="http://schemas.microsoft.com/office/drawing/2014/main" id="{4B6087CC-05EE-EA21-A43D-38D72CB13C4E}"/>
                </a:ext>
              </a:extLst>
            </p:cNvPr>
            <p:cNvSpPr/>
            <p:nvPr/>
          </p:nvSpPr>
          <p:spPr>
            <a:xfrm>
              <a:off x="5405325" y="915737"/>
              <a:ext cx="3200400" cy="3200400"/>
            </a:xfrm>
            <a:prstGeom prst="roundRect">
              <a:avLst/>
            </a:prstGeom>
            <a:effectLst>
              <a:outerShdw blurRad="50800" dist="38100" dir="5400000" algn="t"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rtlCol="0" anchor="ctr"/>
            <a:lstStyle>
              <a:defPPr>
                <a:defRPr lang="en-US"/>
              </a:defPPr>
              <a:lvl1pPr marL="0" algn="l" defTabSz="685800" rtl="0" eaLnBrk="1" latinLnBrk="0" hangingPunct="1">
                <a:defRPr sz="1400" kern="1200">
                  <a:solidFill>
                    <a:schemeClr val="lt1"/>
                  </a:solidFill>
                  <a:latin typeface="+mn-lt"/>
                  <a:ea typeface="+mn-ea"/>
                  <a:cs typeface="+mn-cs"/>
                </a:defRPr>
              </a:lvl1pPr>
              <a:lvl2pPr marL="342900" algn="l" defTabSz="685800" rtl="0" eaLnBrk="1" latinLnBrk="0" hangingPunct="1">
                <a:defRPr sz="1400" kern="1200">
                  <a:solidFill>
                    <a:schemeClr val="lt1"/>
                  </a:solidFill>
                  <a:latin typeface="+mn-lt"/>
                  <a:ea typeface="+mn-ea"/>
                  <a:cs typeface="+mn-cs"/>
                </a:defRPr>
              </a:lvl2pPr>
              <a:lvl3pPr marL="685800" algn="l" defTabSz="685800" rtl="0" eaLnBrk="1" latinLnBrk="0" hangingPunct="1">
                <a:defRPr sz="1400" kern="1200">
                  <a:solidFill>
                    <a:schemeClr val="lt1"/>
                  </a:solidFill>
                  <a:latin typeface="+mn-lt"/>
                  <a:ea typeface="+mn-ea"/>
                  <a:cs typeface="+mn-cs"/>
                </a:defRPr>
              </a:lvl3pPr>
              <a:lvl4pPr marL="1028700" algn="l" defTabSz="685800" rtl="0" eaLnBrk="1" latinLnBrk="0" hangingPunct="1">
                <a:defRPr sz="1400" kern="1200">
                  <a:solidFill>
                    <a:schemeClr val="lt1"/>
                  </a:solidFill>
                  <a:latin typeface="+mn-lt"/>
                  <a:ea typeface="+mn-ea"/>
                  <a:cs typeface="+mn-cs"/>
                </a:defRPr>
              </a:lvl4pPr>
              <a:lvl5pPr marL="1371600" algn="l" defTabSz="685800" rtl="0" eaLnBrk="1" latinLnBrk="0" hangingPunct="1">
                <a:defRPr sz="1400" kern="1200">
                  <a:solidFill>
                    <a:schemeClr val="lt1"/>
                  </a:solidFill>
                  <a:latin typeface="+mn-lt"/>
                  <a:ea typeface="+mn-ea"/>
                  <a:cs typeface="+mn-cs"/>
                </a:defRPr>
              </a:lvl5pPr>
              <a:lvl6pPr marL="1714500" algn="l" defTabSz="685800" rtl="0" eaLnBrk="1" latinLnBrk="0" hangingPunct="1">
                <a:defRPr sz="1400" kern="1200">
                  <a:solidFill>
                    <a:schemeClr val="lt1"/>
                  </a:solidFill>
                  <a:latin typeface="+mn-lt"/>
                  <a:ea typeface="+mn-ea"/>
                  <a:cs typeface="+mn-cs"/>
                </a:defRPr>
              </a:lvl6pPr>
              <a:lvl7pPr marL="2057400" algn="l" defTabSz="685800" rtl="0" eaLnBrk="1" latinLnBrk="0" hangingPunct="1">
                <a:defRPr sz="1400" kern="1200">
                  <a:solidFill>
                    <a:schemeClr val="lt1"/>
                  </a:solidFill>
                  <a:latin typeface="+mn-lt"/>
                  <a:ea typeface="+mn-ea"/>
                  <a:cs typeface="+mn-cs"/>
                </a:defRPr>
              </a:lvl7pPr>
              <a:lvl8pPr marL="2400300" algn="l" defTabSz="685800" rtl="0" eaLnBrk="1" latinLnBrk="0" hangingPunct="1">
                <a:defRPr sz="1400" kern="1200">
                  <a:solidFill>
                    <a:schemeClr val="lt1"/>
                  </a:solidFill>
                  <a:latin typeface="+mn-lt"/>
                  <a:ea typeface="+mn-ea"/>
                  <a:cs typeface="+mn-cs"/>
                </a:defRPr>
              </a:lvl8pPr>
              <a:lvl9pPr marL="2743200" algn="l" defTabSz="685800" rtl="0" eaLnBrk="1" latinLnBrk="0" hangingPunct="1">
                <a:defRPr sz="1400" kern="1200">
                  <a:solidFill>
                    <a:schemeClr val="lt1"/>
                  </a:solidFill>
                  <a:latin typeface="+mn-lt"/>
                  <a:ea typeface="+mn-ea"/>
                  <a:cs typeface="+mn-cs"/>
                </a:defRPr>
              </a:lvl9pPr>
            </a:lstStyle>
            <a:p>
              <a:pPr algn="ctr"/>
              <a:endParaRPr lang="en-US"/>
            </a:p>
          </p:txBody>
        </p:sp>
        <p:pic>
          <p:nvPicPr>
            <p:cNvPr id="5" name="Picture 4" descr="A diagram of a system&#10;&#10;Description automatically generated">
              <a:extLst>
                <a:ext uri="{FF2B5EF4-FFF2-40B4-BE49-F238E27FC236}">
                  <a16:creationId xmlns:a16="http://schemas.microsoft.com/office/drawing/2014/main" id="{5760C0F0-1BAF-8416-9CE3-F14F5F3E2972}"/>
                </a:ext>
              </a:extLst>
            </p:cNvPr>
            <p:cNvPicPr>
              <a:picLocks noChangeAspect="1"/>
            </p:cNvPicPr>
            <p:nvPr/>
          </p:nvPicPr>
          <p:blipFill>
            <a:blip r:embed="rId2"/>
            <a:stretch>
              <a:fillRect/>
            </a:stretch>
          </p:blipFill>
          <p:spPr>
            <a:xfrm>
              <a:off x="4991334" y="998505"/>
              <a:ext cx="4028383" cy="3034864"/>
            </a:xfrm>
            <a:prstGeom prst="rect">
              <a:avLst/>
            </a:prstGeom>
          </p:spPr>
        </p:pic>
      </p:grpSp>
      <p:sp>
        <p:nvSpPr>
          <p:cNvPr id="6" name="Content Placeholder 2">
            <a:extLst>
              <a:ext uri="{FF2B5EF4-FFF2-40B4-BE49-F238E27FC236}">
                <a16:creationId xmlns:a16="http://schemas.microsoft.com/office/drawing/2014/main" id="{E0A96AF2-1B8D-3207-990A-D609877ECE52}"/>
              </a:ext>
            </a:extLst>
          </p:cNvPr>
          <p:cNvSpPr txBox="1">
            <a:spLocks/>
          </p:cNvSpPr>
          <p:nvPr/>
        </p:nvSpPr>
        <p:spPr>
          <a:xfrm>
            <a:off x="569625" y="1308295"/>
            <a:ext cx="4661941" cy="3167339"/>
          </a:xfrm>
          <a:prstGeom prst="rect">
            <a:avLst/>
          </a:prstGeo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Open Sans"/>
                <a:ea typeface="+mn-ea"/>
                <a:cs typeface="Open San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a:ea typeface="+mn-ea"/>
                <a:cs typeface="Open San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Open Sans"/>
                <a:ea typeface="+mn-ea"/>
                <a:cs typeface="Open San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Open Sans"/>
                <a:ea typeface="+mn-ea"/>
                <a:cs typeface="Open San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Open Sans"/>
                <a:ea typeface="+mn-ea"/>
                <a:cs typeface="Open San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354330" indent="-354330">
              <a:lnSpc>
                <a:spcPct val="100000"/>
              </a:lnSpc>
              <a:spcBef>
                <a:spcPts val="600"/>
              </a:spcBef>
              <a:buClr>
                <a:srgbClr val="B1503A"/>
              </a:buClr>
              <a:buSzPct val="80000"/>
              <a:buFont typeface="Wingdings" pitchFamily="2" charset="2"/>
              <a:buChar char="Ø"/>
            </a:pPr>
            <a:r>
              <a:rPr lang="en-US" sz="1800" dirty="0">
                <a:latin typeface="AvenirNext LT Pro Regular" panose="020B0504020202020204" pitchFamily="34" charset="77"/>
              </a:rPr>
              <a:t>FSSC 24000 is aligned with the </a:t>
            </a:r>
            <a:r>
              <a:rPr lang="en-US" sz="1800" b="1" dirty="0">
                <a:latin typeface="AvenirNext LT Pro Bold" panose="020B0504020202020204" pitchFamily="34" charset="77"/>
              </a:rPr>
              <a:t>ISO Management System approach and the ISO Harmonized Structure</a:t>
            </a:r>
            <a:r>
              <a:rPr lang="en-US" sz="1800" dirty="0"/>
              <a:t>, </a:t>
            </a:r>
            <a:r>
              <a:rPr lang="en-US" sz="1800" dirty="0">
                <a:latin typeface="AvenirNext LT Pro Regular" panose="020B0504020202020204" pitchFamily="34" charset="77"/>
              </a:rPr>
              <a:t>which facilitates integration with other ISO management standards.</a:t>
            </a:r>
          </a:p>
          <a:p>
            <a:pPr marL="354330" indent="-354330">
              <a:lnSpc>
                <a:spcPct val="100000"/>
              </a:lnSpc>
              <a:spcBef>
                <a:spcPts val="600"/>
              </a:spcBef>
              <a:buClr>
                <a:srgbClr val="B1503A"/>
              </a:buClr>
              <a:buSzPct val="80000"/>
              <a:buFont typeface="Wingdings" pitchFamily="2" charset="2"/>
              <a:buChar char="Ø"/>
            </a:pPr>
            <a:r>
              <a:rPr lang="en-US" sz="1800" dirty="0">
                <a:latin typeface="AvenirNext LT Pro Regular" panose="020B0504020202020204" pitchFamily="34" charset="77"/>
              </a:rPr>
              <a:t>Organizations can leverage their expertise on other ISO norms to deploy FSSC 24000 into their business in harmonized way.</a:t>
            </a:r>
          </a:p>
          <a:p>
            <a:pPr marL="354330" indent="-354330">
              <a:lnSpc>
                <a:spcPct val="100000"/>
              </a:lnSpc>
              <a:spcBef>
                <a:spcPts val="600"/>
              </a:spcBef>
              <a:buClr>
                <a:srgbClr val="B1503A"/>
              </a:buClr>
              <a:buSzPct val="80000"/>
              <a:buFont typeface="Wingdings" pitchFamily="2" charset="2"/>
              <a:buChar char="Ø"/>
            </a:pPr>
            <a:r>
              <a:rPr lang="en-US" sz="1800" b="1" dirty="0">
                <a:latin typeface="AvenirNext LT Pro Bold" panose="020B0504020202020204" pitchFamily="34" charset="77"/>
              </a:rPr>
              <a:t>Foundation FSSC is a proven expert in F&amp;B </a:t>
            </a:r>
            <a:r>
              <a:rPr lang="en-US" sz="1800" dirty="0">
                <a:latin typeface="AvenirNext LT Pro Regular" panose="020B0504020202020204" pitchFamily="34" charset="77"/>
              </a:rPr>
              <a:t>with FSSC 22000. FSSC Integrity Program applies to FSSC 24000 as well. </a:t>
            </a:r>
          </a:p>
          <a:p>
            <a:endParaRPr lang="en-US" dirty="0"/>
          </a:p>
        </p:txBody>
      </p:sp>
    </p:spTree>
    <p:extLst>
      <p:ext uri="{BB962C8B-B14F-4D97-AF65-F5344CB8AC3E}">
        <p14:creationId xmlns:p14="http://schemas.microsoft.com/office/powerpoint/2010/main" val="1010548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E0FA2-954F-E7BA-48F0-A6D3CC7687F9}"/>
              </a:ext>
            </a:extLst>
          </p:cNvPr>
          <p:cNvSpPr>
            <a:spLocks noGrp="1"/>
          </p:cNvSpPr>
          <p:nvPr>
            <p:ph type="title"/>
          </p:nvPr>
        </p:nvSpPr>
        <p:spPr/>
        <p:txBody>
          <a:bodyPr/>
          <a:lstStyle/>
          <a:p>
            <a:r>
              <a:rPr lang="en-US">
                <a:latin typeface="AvenirNext LT Pro Bold" panose="020B0504020202020204" pitchFamily="34" charset="77"/>
              </a:rPr>
              <a:t>ISO HARMONIZED STRUCTURE</a:t>
            </a:r>
            <a:endParaRPr lang="en-US"/>
          </a:p>
        </p:txBody>
      </p:sp>
      <p:pic>
        <p:nvPicPr>
          <p:cNvPr id="3" name="Afbeelding 3" descr="Logo&#10;&#10;Description automatically generated">
            <a:extLst>
              <a:ext uri="{FF2B5EF4-FFF2-40B4-BE49-F238E27FC236}">
                <a16:creationId xmlns:a16="http://schemas.microsoft.com/office/drawing/2014/main" id="{B50F3FC4-BDC7-E842-55F3-026BCF190233}"/>
              </a:ext>
            </a:extLst>
          </p:cNvPr>
          <p:cNvPicPr>
            <a:picLocks noChangeAspect="1"/>
          </p:cNvPicPr>
          <p:nvPr/>
        </p:nvPicPr>
        <p:blipFill>
          <a:blip r:embed="rId3"/>
          <a:stretch>
            <a:fillRect/>
          </a:stretch>
        </p:blipFill>
        <p:spPr>
          <a:xfrm>
            <a:off x="7209712" y="247273"/>
            <a:ext cx="862233" cy="792390"/>
          </a:xfrm>
          <a:prstGeom prst="rect">
            <a:avLst/>
          </a:prstGeom>
        </p:spPr>
      </p:pic>
      <p:grpSp>
        <p:nvGrpSpPr>
          <p:cNvPr id="4" name="Group 3">
            <a:extLst>
              <a:ext uri="{FF2B5EF4-FFF2-40B4-BE49-F238E27FC236}">
                <a16:creationId xmlns:a16="http://schemas.microsoft.com/office/drawing/2014/main" id="{71521626-94CE-E675-301D-B65E92DE0CA8}"/>
              </a:ext>
            </a:extLst>
          </p:cNvPr>
          <p:cNvGrpSpPr/>
          <p:nvPr/>
        </p:nvGrpSpPr>
        <p:grpSpPr>
          <a:xfrm>
            <a:off x="506709" y="2094223"/>
            <a:ext cx="7872140" cy="2520280"/>
            <a:chOff x="168236" y="2451788"/>
            <a:chExt cx="7872140" cy="2520280"/>
          </a:xfrm>
        </p:grpSpPr>
        <p:sp>
          <p:nvSpPr>
            <p:cNvPr id="5" name="Ovaal 76">
              <a:extLst>
                <a:ext uri="{FF2B5EF4-FFF2-40B4-BE49-F238E27FC236}">
                  <a16:creationId xmlns:a16="http://schemas.microsoft.com/office/drawing/2014/main" id="{7224B2D1-C7A2-35E7-1FA0-AE7E0497D1C3}"/>
                </a:ext>
              </a:extLst>
            </p:cNvPr>
            <p:cNvSpPr/>
            <p:nvPr/>
          </p:nvSpPr>
          <p:spPr>
            <a:xfrm>
              <a:off x="5493127" y="2451788"/>
              <a:ext cx="2547249" cy="2520280"/>
            </a:xfrm>
            <a:prstGeom prst="ellipse">
              <a:avLst/>
            </a:prstGeom>
            <a:solidFill>
              <a:srgbClr val="EBCBC3">
                <a:alpha val="2588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latin typeface="Arial" panose="020B0604020202020204" pitchFamily="34" charset="0"/>
                <a:cs typeface="Arial" panose="020B0604020202020204" pitchFamily="34" charset="0"/>
              </a:endParaRPr>
            </a:p>
          </p:txBody>
        </p:sp>
        <p:sp>
          <p:nvSpPr>
            <p:cNvPr id="6" name="Rechthoek 67">
              <a:extLst>
                <a:ext uri="{FF2B5EF4-FFF2-40B4-BE49-F238E27FC236}">
                  <a16:creationId xmlns:a16="http://schemas.microsoft.com/office/drawing/2014/main" id="{89F8E09D-3DAF-0727-6407-D37917AEC79B}"/>
                </a:ext>
              </a:extLst>
            </p:cNvPr>
            <p:cNvSpPr/>
            <p:nvPr/>
          </p:nvSpPr>
          <p:spPr>
            <a:xfrm>
              <a:off x="2106796" y="4251031"/>
              <a:ext cx="1518779" cy="426437"/>
            </a:xfrm>
            <a:prstGeom prst="rect">
              <a:avLst/>
            </a:prstGeom>
            <a:solidFill>
              <a:srgbClr val="B15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latin typeface="AvenirNext LT Pro Bold" panose="020B0504020202020204" pitchFamily="34" charset="77"/>
                  <a:cs typeface="Open Sans"/>
                </a:rPr>
                <a:t>4.2</a:t>
              </a:r>
            </a:p>
            <a:p>
              <a:pPr algn="ctr"/>
              <a:r>
                <a:rPr lang="en-US" sz="1000" b="1">
                  <a:solidFill>
                    <a:schemeClr val="bg1"/>
                  </a:solidFill>
                  <a:latin typeface="AvenirNext LT Pro Bold" panose="020B0504020202020204" pitchFamily="34" charset="77"/>
                  <a:cs typeface="Open Sans"/>
                </a:rPr>
                <a:t>Requirements</a:t>
              </a:r>
            </a:p>
          </p:txBody>
        </p:sp>
        <p:sp>
          <p:nvSpPr>
            <p:cNvPr id="7" name="Rechthoek 68">
              <a:extLst>
                <a:ext uri="{FF2B5EF4-FFF2-40B4-BE49-F238E27FC236}">
                  <a16:creationId xmlns:a16="http://schemas.microsoft.com/office/drawing/2014/main" id="{8BA9AE21-895E-A1D4-26D1-CE27DBD81F1E}"/>
                </a:ext>
              </a:extLst>
            </p:cNvPr>
            <p:cNvSpPr/>
            <p:nvPr/>
          </p:nvSpPr>
          <p:spPr>
            <a:xfrm>
              <a:off x="168236" y="4251031"/>
              <a:ext cx="1518779" cy="426437"/>
            </a:xfrm>
            <a:prstGeom prst="rect">
              <a:avLst/>
            </a:prstGeom>
            <a:solidFill>
              <a:srgbClr val="B15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b="1">
                  <a:latin typeface="AvenirNext LT Pro Bold" panose="020B0504020202020204" pitchFamily="34" charset="77"/>
                  <a:ea typeface="Open Sans" panose="020B0606030504020204" pitchFamily="34" charset="0"/>
                  <a:cs typeface="Open Sans" panose="020B0606030504020204" pitchFamily="34" charset="0"/>
                </a:rPr>
                <a:t>4.2</a:t>
              </a:r>
            </a:p>
            <a:p>
              <a:pPr algn="ctr"/>
              <a:r>
                <a:rPr lang="en-US" sz="1000" b="1">
                  <a:latin typeface="AvenirNext LT Pro Bold" panose="020B0504020202020204" pitchFamily="34" charset="77"/>
                  <a:ea typeface="Open Sans" panose="020B0606030504020204" pitchFamily="34" charset="0"/>
                  <a:cs typeface="Open Sans" panose="020B0606030504020204" pitchFamily="34" charset="0"/>
                </a:rPr>
                <a:t>Interested Parties</a:t>
              </a:r>
            </a:p>
          </p:txBody>
        </p:sp>
        <p:sp>
          <p:nvSpPr>
            <p:cNvPr id="8" name="Rechthoek 69">
              <a:extLst>
                <a:ext uri="{FF2B5EF4-FFF2-40B4-BE49-F238E27FC236}">
                  <a16:creationId xmlns:a16="http://schemas.microsoft.com/office/drawing/2014/main" id="{F16ED8A7-5F79-0D52-7D50-D3DAAF58AF17}"/>
                </a:ext>
              </a:extLst>
            </p:cNvPr>
            <p:cNvSpPr/>
            <p:nvPr/>
          </p:nvSpPr>
          <p:spPr>
            <a:xfrm>
              <a:off x="180165" y="3647493"/>
              <a:ext cx="1518779" cy="426437"/>
            </a:xfrm>
            <a:prstGeom prst="rect">
              <a:avLst/>
            </a:prstGeom>
            <a:solidFill>
              <a:srgbClr val="B15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b="1">
                  <a:latin typeface="AvenirNext LT Pro Bold" panose="020B0504020202020204" pitchFamily="34" charset="77"/>
                  <a:ea typeface="Open Sans" panose="020B0606030504020204" pitchFamily="34" charset="0"/>
                  <a:cs typeface="Open Sans" panose="020B0606030504020204" pitchFamily="34" charset="0"/>
                </a:rPr>
                <a:t>4.1</a:t>
              </a:r>
            </a:p>
            <a:p>
              <a:pPr algn="ctr"/>
              <a:r>
                <a:rPr lang="en-US" sz="1000" b="1">
                  <a:latin typeface="AvenirNext LT Pro Bold" panose="020B0504020202020204" pitchFamily="34" charset="77"/>
                  <a:ea typeface="Open Sans" panose="020B0606030504020204" pitchFamily="34" charset="0"/>
                  <a:cs typeface="Open Sans" panose="020B0606030504020204" pitchFamily="34" charset="0"/>
                </a:rPr>
                <a:t>Internal Issues</a:t>
              </a:r>
            </a:p>
          </p:txBody>
        </p:sp>
        <p:sp>
          <p:nvSpPr>
            <p:cNvPr id="9" name="Rechthoek 70">
              <a:extLst>
                <a:ext uri="{FF2B5EF4-FFF2-40B4-BE49-F238E27FC236}">
                  <a16:creationId xmlns:a16="http://schemas.microsoft.com/office/drawing/2014/main" id="{E9A5F12E-82F7-3FD4-8901-2690B89FC7C0}"/>
                </a:ext>
              </a:extLst>
            </p:cNvPr>
            <p:cNvSpPr/>
            <p:nvPr/>
          </p:nvSpPr>
          <p:spPr>
            <a:xfrm>
              <a:off x="180165" y="3022966"/>
              <a:ext cx="1518779" cy="426437"/>
            </a:xfrm>
            <a:prstGeom prst="rect">
              <a:avLst/>
            </a:prstGeom>
            <a:solidFill>
              <a:srgbClr val="B15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latin typeface="AvenirNext LT Pro Bold" panose="020B0504020202020204" pitchFamily="34" charset="77"/>
                  <a:ea typeface="Open Sans" panose="020B0606030504020204" pitchFamily="34" charset="0"/>
                  <a:cs typeface="Open Sans" panose="020B0606030504020204" pitchFamily="34" charset="0"/>
                </a:rPr>
                <a:t>4.1</a:t>
              </a:r>
              <a:br>
                <a:rPr lang="en-US" sz="1000" b="1">
                  <a:latin typeface="AvenirNext LT Pro Bold" panose="020B0504020202020204" pitchFamily="34" charset="77"/>
                  <a:ea typeface="Open Sans" panose="020B0606030504020204" pitchFamily="34" charset="0"/>
                  <a:cs typeface="Open Sans" panose="020B0606030504020204" pitchFamily="34" charset="0"/>
                </a:rPr>
              </a:br>
              <a:r>
                <a:rPr lang="en-US" sz="1000" b="1">
                  <a:latin typeface="AvenirNext LT Pro Bold" panose="020B0504020202020204" pitchFamily="34" charset="77"/>
                  <a:ea typeface="Open Sans" panose="020B0606030504020204" pitchFamily="34" charset="0"/>
                  <a:cs typeface="Open Sans" panose="020B0606030504020204" pitchFamily="34" charset="0"/>
                </a:rPr>
                <a:t>External Issues</a:t>
              </a:r>
            </a:p>
          </p:txBody>
        </p:sp>
        <p:cxnSp>
          <p:nvCxnSpPr>
            <p:cNvPr id="10" name="Rechte verbindingslijn met pijl 72">
              <a:extLst>
                <a:ext uri="{FF2B5EF4-FFF2-40B4-BE49-F238E27FC236}">
                  <a16:creationId xmlns:a16="http://schemas.microsoft.com/office/drawing/2014/main" id="{CCF98D34-A5E7-BEC4-C4BE-CB1D44590FB7}"/>
                </a:ext>
              </a:extLst>
            </p:cNvPr>
            <p:cNvCxnSpPr>
              <a:cxnSpLocks/>
            </p:cNvCxnSpPr>
            <p:nvPr/>
          </p:nvCxnSpPr>
          <p:spPr>
            <a:xfrm>
              <a:off x="1698947" y="3251840"/>
              <a:ext cx="2332976" cy="14483"/>
            </a:xfrm>
            <a:prstGeom prst="straightConnector1">
              <a:avLst/>
            </a:prstGeom>
            <a:ln w="25400">
              <a:solidFill>
                <a:srgbClr val="B1503A"/>
              </a:solidFill>
              <a:tailEnd type="triangle" w="lg" len="med"/>
            </a:ln>
          </p:spPr>
          <p:style>
            <a:lnRef idx="1">
              <a:schemeClr val="accent3"/>
            </a:lnRef>
            <a:fillRef idx="0">
              <a:schemeClr val="accent3"/>
            </a:fillRef>
            <a:effectRef idx="0">
              <a:schemeClr val="accent3"/>
            </a:effectRef>
            <a:fontRef idx="minor">
              <a:schemeClr val="tx1"/>
            </a:fontRef>
          </p:style>
        </p:cxnSp>
        <p:cxnSp>
          <p:nvCxnSpPr>
            <p:cNvPr id="11" name="Rechte verbindingslijn met pijl 73">
              <a:extLst>
                <a:ext uri="{FF2B5EF4-FFF2-40B4-BE49-F238E27FC236}">
                  <a16:creationId xmlns:a16="http://schemas.microsoft.com/office/drawing/2014/main" id="{92DF1EDD-F578-A6C9-4754-8C205B02FF41}"/>
                </a:ext>
              </a:extLst>
            </p:cNvPr>
            <p:cNvCxnSpPr>
              <a:cxnSpLocks/>
            </p:cNvCxnSpPr>
            <p:nvPr/>
          </p:nvCxnSpPr>
          <p:spPr>
            <a:xfrm>
              <a:off x="1709918" y="3841468"/>
              <a:ext cx="2322005" cy="14483"/>
            </a:xfrm>
            <a:prstGeom prst="straightConnector1">
              <a:avLst/>
            </a:prstGeom>
            <a:ln w="25400">
              <a:solidFill>
                <a:srgbClr val="B1503A"/>
              </a:solidFill>
              <a:tailEnd type="triangle" w="lg" len="med"/>
            </a:ln>
          </p:spPr>
          <p:style>
            <a:lnRef idx="1">
              <a:schemeClr val="accent3"/>
            </a:lnRef>
            <a:fillRef idx="0">
              <a:schemeClr val="accent3"/>
            </a:fillRef>
            <a:effectRef idx="0">
              <a:schemeClr val="accent3"/>
            </a:effectRef>
            <a:fontRef idx="minor">
              <a:schemeClr val="tx1"/>
            </a:fontRef>
          </p:style>
        </p:cxnSp>
        <p:cxnSp>
          <p:nvCxnSpPr>
            <p:cNvPr id="12" name="Rechte verbindingslijn met pijl 74">
              <a:extLst>
                <a:ext uri="{FF2B5EF4-FFF2-40B4-BE49-F238E27FC236}">
                  <a16:creationId xmlns:a16="http://schemas.microsoft.com/office/drawing/2014/main" id="{BA486A55-056A-60E6-0319-472563ABFDC4}"/>
                </a:ext>
              </a:extLst>
            </p:cNvPr>
            <p:cNvCxnSpPr>
              <a:cxnSpLocks/>
            </p:cNvCxnSpPr>
            <p:nvPr/>
          </p:nvCxnSpPr>
          <p:spPr>
            <a:xfrm>
              <a:off x="1681360" y="4489566"/>
              <a:ext cx="407699" cy="0"/>
            </a:xfrm>
            <a:prstGeom prst="straightConnector1">
              <a:avLst/>
            </a:prstGeom>
            <a:ln w="25400">
              <a:solidFill>
                <a:srgbClr val="B1503A"/>
              </a:solidFill>
              <a:tailEnd type="triangle" w="lg" len="med"/>
            </a:ln>
          </p:spPr>
          <p:style>
            <a:lnRef idx="1">
              <a:schemeClr val="accent3"/>
            </a:lnRef>
            <a:fillRef idx="0">
              <a:schemeClr val="accent3"/>
            </a:fillRef>
            <a:effectRef idx="0">
              <a:schemeClr val="accent3"/>
            </a:effectRef>
            <a:fontRef idx="minor">
              <a:schemeClr val="tx1"/>
            </a:fontRef>
          </p:style>
        </p:cxnSp>
        <p:sp>
          <p:nvSpPr>
            <p:cNvPr id="13" name="Pijl: gebogen 54">
              <a:extLst>
                <a:ext uri="{FF2B5EF4-FFF2-40B4-BE49-F238E27FC236}">
                  <a16:creationId xmlns:a16="http://schemas.microsoft.com/office/drawing/2014/main" id="{60758E87-4DEF-C045-1164-55A5EA2C99C1}"/>
                </a:ext>
              </a:extLst>
            </p:cNvPr>
            <p:cNvSpPr/>
            <p:nvPr/>
          </p:nvSpPr>
          <p:spPr>
            <a:xfrm>
              <a:off x="5839073" y="2987770"/>
              <a:ext cx="321489" cy="262328"/>
            </a:xfrm>
            <a:prstGeom prst="bentArrow">
              <a:avLst>
                <a:gd name="adj1" fmla="val 9754"/>
                <a:gd name="adj2" fmla="val 21188"/>
                <a:gd name="adj3" fmla="val 32623"/>
                <a:gd name="adj4" fmla="val 83689"/>
              </a:avLst>
            </a:prstGeom>
            <a:solidFill>
              <a:srgbClr val="B1503A"/>
            </a:solidFill>
            <a:ln>
              <a:solidFill>
                <a:srgbClr val="B150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9900"/>
                </a:solidFill>
                <a:latin typeface="Arial" panose="020B0604020202020204" pitchFamily="34" charset="0"/>
                <a:cs typeface="Arial" panose="020B0604020202020204" pitchFamily="34" charset="0"/>
              </a:endParaRPr>
            </a:p>
          </p:txBody>
        </p:sp>
        <p:sp>
          <p:nvSpPr>
            <p:cNvPr id="14" name="Pijl: gebogen 55">
              <a:extLst>
                <a:ext uri="{FF2B5EF4-FFF2-40B4-BE49-F238E27FC236}">
                  <a16:creationId xmlns:a16="http://schemas.microsoft.com/office/drawing/2014/main" id="{B07FCAEE-E672-0189-25B3-4A4EE459DE96}"/>
                </a:ext>
              </a:extLst>
            </p:cNvPr>
            <p:cNvSpPr/>
            <p:nvPr/>
          </p:nvSpPr>
          <p:spPr>
            <a:xfrm rot="5400000">
              <a:off x="7355166" y="3015555"/>
              <a:ext cx="307118" cy="274604"/>
            </a:xfrm>
            <a:prstGeom prst="bentArrow">
              <a:avLst>
                <a:gd name="adj1" fmla="val 9754"/>
                <a:gd name="adj2" fmla="val 21188"/>
                <a:gd name="adj3" fmla="val 32623"/>
                <a:gd name="adj4" fmla="val 83689"/>
              </a:avLst>
            </a:prstGeom>
            <a:solidFill>
              <a:srgbClr val="B1503A"/>
            </a:solidFill>
            <a:ln>
              <a:solidFill>
                <a:srgbClr val="B150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9900"/>
                </a:solidFill>
                <a:latin typeface="Arial" panose="020B0604020202020204" pitchFamily="34" charset="0"/>
                <a:cs typeface="Arial" panose="020B0604020202020204" pitchFamily="34" charset="0"/>
              </a:endParaRPr>
            </a:p>
          </p:txBody>
        </p:sp>
        <p:sp>
          <p:nvSpPr>
            <p:cNvPr id="15" name="Pijl: gebogen 56">
              <a:extLst>
                <a:ext uri="{FF2B5EF4-FFF2-40B4-BE49-F238E27FC236}">
                  <a16:creationId xmlns:a16="http://schemas.microsoft.com/office/drawing/2014/main" id="{3947B1DE-2E3A-7602-D467-A15C31F82B3A}"/>
                </a:ext>
              </a:extLst>
            </p:cNvPr>
            <p:cNvSpPr/>
            <p:nvPr/>
          </p:nvSpPr>
          <p:spPr>
            <a:xfrm rot="10800000">
              <a:off x="7324538" y="4201207"/>
              <a:ext cx="321489" cy="262328"/>
            </a:xfrm>
            <a:prstGeom prst="bentArrow">
              <a:avLst>
                <a:gd name="adj1" fmla="val 9754"/>
                <a:gd name="adj2" fmla="val 21188"/>
                <a:gd name="adj3" fmla="val 32623"/>
                <a:gd name="adj4" fmla="val 83689"/>
              </a:avLst>
            </a:prstGeom>
            <a:solidFill>
              <a:srgbClr val="B1503A"/>
            </a:solidFill>
            <a:ln>
              <a:solidFill>
                <a:srgbClr val="B150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9900"/>
                </a:solidFill>
                <a:latin typeface="Arial" panose="020B0604020202020204" pitchFamily="34" charset="0"/>
                <a:cs typeface="Arial" panose="020B0604020202020204" pitchFamily="34" charset="0"/>
              </a:endParaRPr>
            </a:p>
          </p:txBody>
        </p:sp>
        <p:cxnSp>
          <p:nvCxnSpPr>
            <p:cNvPr id="16" name="Verbindingslijn: gebogen 61">
              <a:extLst>
                <a:ext uri="{FF2B5EF4-FFF2-40B4-BE49-F238E27FC236}">
                  <a16:creationId xmlns:a16="http://schemas.microsoft.com/office/drawing/2014/main" id="{1929ECD8-192F-851B-C8FA-11CCAB4C33C0}"/>
                </a:ext>
              </a:extLst>
            </p:cNvPr>
            <p:cNvCxnSpPr>
              <a:cxnSpLocks/>
            </p:cNvCxnSpPr>
            <p:nvPr/>
          </p:nvCxnSpPr>
          <p:spPr>
            <a:xfrm flipV="1">
              <a:off x="4326096" y="2777471"/>
              <a:ext cx="1875796" cy="297428"/>
            </a:xfrm>
            <a:prstGeom prst="bentConnector3">
              <a:avLst>
                <a:gd name="adj1" fmla="val 32026"/>
              </a:avLst>
            </a:prstGeom>
            <a:ln w="25400">
              <a:solidFill>
                <a:srgbClr val="B1503A"/>
              </a:solidFill>
              <a:tailEnd type="triangle" w="lg" len="med"/>
            </a:ln>
          </p:spPr>
          <p:style>
            <a:lnRef idx="1">
              <a:schemeClr val="accent3"/>
            </a:lnRef>
            <a:fillRef idx="0">
              <a:schemeClr val="accent3"/>
            </a:fillRef>
            <a:effectRef idx="0">
              <a:schemeClr val="accent3"/>
            </a:effectRef>
            <a:fontRef idx="minor">
              <a:schemeClr val="tx1"/>
            </a:fontRef>
          </p:style>
        </p:cxnSp>
        <p:cxnSp>
          <p:nvCxnSpPr>
            <p:cNvPr id="17" name="Rechte verbindingslijn met pijl 82">
              <a:extLst>
                <a:ext uri="{FF2B5EF4-FFF2-40B4-BE49-F238E27FC236}">
                  <a16:creationId xmlns:a16="http://schemas.microsoft.com/office/drawing/2014/main" id="{2A066027-E7CF-9D35-684B-E65204C57355}"/>
                </a:ext>
              </a:extLst>
            </p:cNvPr>
            <p:cNvCxnSpPr>
              <a:cxnSpLocks/>
            </p:cNvCxnSpPr>
            <p:nvPr/>
          </p:nvCxnSpPr>
          <p:spPr>
            <a:xfrm>
              <a:off x="3624223" y="4488862"/>
              <a:ext cx="407699" cy="0"/>
            </a:xfrm>
            <a:prstGeom prst="straightConnector1">
              <a:avLst/>
            </a:prstGeom>
            <a:ln w="25400">
              <a:solidFill>
                <a:srgbClr val="B1503A"/>
              </a:solidFill>
              <a:tailEnd type="triangle" w="lg" len="med"/>
            </a:ln>
          </p:spPr>
          <p:style>
            <a:lnRef idx="1">
              <a:schemeClr val="accent3"/>
            </a:lnRef>
            <a:fillRef idx="0">
              <a:schemeClr val="accent3"/>
            </a:fillRef>
            <a:effectRef idx="0">
              <a:schemeClr val="accent3"/>
            </a:effectRef>
            <a:fontRef idx="minor">
              <a:schemeClr val="tx1"/>
            </a:fontRef>
          </p:style>
        </p:cxnSp>
        <p:sp>
          <p:nvSpPr>
            <p:cNvPr id="18" name="Rechthoek 83">
              <a:extLst>
                <a:ext uri="{FF2B5EF4-FFF2-40B4-BE49-F238E27FC236}">
                  <a16:creationId xmlns:a16="http://schemas.microsoft.com/office/drawing/2014/main" id="{746A8103-6F75-F947-C781-0FC62C34FF0F}"/>
                </a:ext>
              </a:extLst>
            </p:cNvPr>
            <p:cNvSpPr/>
            <p:nvPr/>
          </p:nvSpPr>
          <p:spPr>
            <a:xfrm>
              <a:off x="4063544" y="3050137"/>
              <a:ext cx="1218163" cy="1650361"/>
            </a:xfrm>
            <a:prstGeom prst="rect">
              <a:avLst/>
            </a:prstGeom>
            <a:solidFill>
              <a:srgbClr val="B15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latin typeface="AvenirNext LT Pro Bold" panose="020B0504020202020204" pitchFamily="34" charset="77"/>
                  <a:cs typeface="Open Sans"/>
                </a:rPr>
                <a:t>6.1.1</a:t>
              </a:r>
            </a:p>
            <a:p>
              <a:pPr algn="ctr"/>
              <a:r>
                <a:rPr lang="en-US" sz="1000" b="1">
                  <a:solidFill>
                    <a:schemeClr val="bg1"/>
                  </a:solidFill>
                  <a:latin typeface="AvenirNext LT Pro Bold" panose="020B0504020202020204" pitchFamily="34" charset="77"/>
                  <a:cs typeface="Open Sans"/>
                </a:rPr>
                <a:t>Risks &amp; Opportunities</a:t>
              </a:r>
            </a:p>
          </p:txBody>
        </p:sp>
        <p:sp>
          <p:nvSpPr>
            <p:cNvPr id="19" name="Rechthoek 85">
              <a:extLst>
                <a:ext uri="{FF2B5EF4-FFF2-40B4-BE49-F238E27FC236}">
                  <a16:creationId xmlns:a16="http://schemas.microsoft.com/office/drawing/2014/main" id="{DD420AF4-F7BD-E0CB-F280-1B219B549514}"/>
                </a:ext>
              </a:extLst>
            </p:cNvPr>
            <p:cNvSpPr/>
            <p:nvPr/>
          </p:nvSpPr>
          <p:spPr>
            <a:xfrm>
              <a:off x="6238355" y="4156233"/>
              <a:ext cx="969877" cy="525853"/>
            </a:xfrm>
            <a:prstGeom prst="rect">
              <a:avLst/>
            </a:prstGeom>
            <a:solidFill>
              <a:srgbClr val="DA9C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AvenirNext LT Pro Regular" panose="020B0504020202020204" pitchFamily="34" charset="77"/>
                  <a:cs typeface="Open Sans"/>
                </a:rPr>
                <a:t>9.1 </a:t>
              </a:r>
            </a:p>
            <a:p>
              <a:pPr algn="ctr"/>
              <a:r>
                <a:rPr lang="en-US" sz="1000">
                  <a:solidFill>
                    <a:schemeClr val="bg1"/>
                  </a:solidFill>
                  <a:latin typeface="AvenirNext LT Pro Regular" panose="020B0504020202020204" pitchFamily="34" charset="77"/>
                  <a:cs typeface="Open Sans"/>
                </a:rPr>
                <a:t>Evaluate</a:t>
              </a:r>
            </a:p>
          </p:txBody>
        </p:sp>
        <p:sp>
          <p:nvSpPr>
            <p:cNvPr id="20" name="Rechthoek 63">
              <a:extLst>
                <a:ext uri="{FF2B5EF4-FFF2-40B4-BE49-F238E27FC236}">
                  <a16:creationId xmlns:a16="http://schemas.microsoft.com/office/drawing/2014/main" id="{0ADD0A09-FD91-1811-9738-84CDBECA2270}"/>
                </a:ext>
              </a:extLst>
            </p:cNvPr>
            <p:cNvSpPr/>
            <p:nvPr/>
          </p:nvSpPr>
          <p:spPr>
            <a:xfrm>
              <a:off x="5699382" y="3454026"/>
              <a:ext cx="969877" cy="525853"/>
            </a:xfrm>
            <a:prstGeom prst="rect">
              <a:avLst/>
            </a:prstGeom>
            <a:solidFill>
              <a:srgbClr val="DA9C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bg1"/>
                  </a:solidFill>
                  <a:latin typeface="AvenirNext LT Pro Regular" panose="020B0504020202020204" pitchFamily="34" charset="77"/>
                  <a:cs typeface="Open Sans"/>
                </a:rPr>
                <a:t>9.3.3, 10.2, 10.3</a:t>
              </a:r>
            </a:p>
            <a:p>
              <a:pPr algn="ctr"/>
              <a:r>
                <a:rPr lang="en-US" sz="1000">
                  <a:solidFill>
                    <a:schemeClr val="bg1"/>
                  </a:solidFill>
                  <a:latin typeface="AvenirNext LT Pro Regular" panose="020B0504020202020204" pitchFamily="34" charset="77"/>
                  <a:cs typeface="Open Sans"/>
                </a:rPr>
                <a:t>Review and improve</a:t>
              </a:r>
            </a:p>
          </p:txBody>
        </p:sp>
        <p:sp>
          <p:nvSpPr>
            <p:cNvPr id="21" name="Rechthoek 64">
              <a:extLst>
                <a:ext uri="{FF2B5EF4-FFF2-40B4-BE49-F238E27FC236}">
                  <a16:creationId xmlns:a16="http://schemas.microsoft.com/office/drawing/2014/main" id="{E0C06339-BA07-3F41-A90E-14F175855673}"/>
                </a:ext>
              </a:extLst>
            </p:cNvPr>
            <p:cNvSpPr/>
            <p:nvPr/>
          </p:nvSpPr>
          <p:spPr>
            <a:xfrm>
              <a:off x="6917649" y="3478444"/>
              <a:ext cx="969877" cy="525853"/>
            </a:xfrm>
            <a:prstGeom prst="rect">
              <a:avLst/>
            </a:prstGeom>
            <a:solidFill>
              <a:srgbClr val="DA9C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latin typeface="AvenirNext LT Pro Regular" panose="020B0504020202020204" pitchFamily="34" charset="77"/>
                  <a:ea typeface="Open Sans" panose="020B0606030504020204" pitchFamily="34" charset="0"/>
                  <a:cs typeface="Open Sans" panose="020B0606030504020204" pitchFamily="34" charset="0"/>
                </a:rPr>
                <a:t>8.1</a:t>
              </a:r>
            </a:p>
            <a:p>
              <a:pPr algn="ctr"/>
              <a:r>
                <a:rPr lang="en-US" sz="1000">
                  <a:latin typeface="AvenirNext LT Pro Regular" panose="020B0504020202020204" pitchFamily="34" charset="77"/>
                  <a:ea typeface="Open Sans" panose="020B0606030504020204" pitchFamily="34" charset="0"/>
                  <a:cs typeface="Open Sans" panose="020B0606030504020204" pitchFamily="34" charset="0"/>
                </a:rPr>
                <a:t>Integrate in SMS</a:t>
              </a:r>
            </a:p>
          </p:txBody>
        </p:sp>
        <p:sp>
          <p:nvSpPr>
            <p:cNvPr id="22" name="Rechthoek 65">
              <a:extLst>
                <a:ext uri="{FF2B5EF4-FFF2-40B4-BE49-F238E27FC236}">
                  <a16:creationId xmlns:a16="http://schemas.microsoft.com/office/drawing/2014/main" id="{412E3AD2-F1C5-4AC1-9D44-0D0759BD0D28}"/>
                </a:ext>
              </a:extLst>
            </p:cNvPr>
            <p:cNvSpPr/>
            <p:nvPr/>
          </p:nvSpPr>
          <p:spPr>
            <a:xfrm>
              <a:off x="6281814" y="2780564"/>
              <a:ext cx="969877" cy="525853"/>
            </a:xfrm>
            <a:prstGeom prst="rect">
              <a:avLst/>
            </a:prstGeom>
            <a:solidFill>
              <a:srgbClr val="DA9C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a:latin typeface="AvenirNext LT Pro Regular" panose="020B0504020202020204" pitchFamily="34" charset="77"/>
                  <a:ea typeface="Open Sans" panose="020B0606030504020204" pitchFamily="34" charset="0"/>
                  <a:cs typeface="Open Sans" panose="020B0606030504020204" pitchFamily="34" charset="0"/>
                </a:rPr>
                <a:t>6.1.2</a:t>
              </a:r>
              <a:br>
                <a:rPr lang="nl-NL" sz="1000">
                  <a:latin typeface="AvenirNext LT Pro Regular" panose="020B0504020202020204" pitchFamily="34" charset="77"/>
                  <a:ea typeface="Open Sans" panose="020B0606030504020204" pitchFamily="34" charset="0"/>
                  <a:cs typeface="Open Sans" panose="020B0606030504020204" pitchFamily="34" charset="0"/>
                </a:rPr>
              </a:br>
              <a:r>
                <a:rPr lang="nl-NL" sz="1000">
                  <a:latin typeface="AvenirNext LT Pro Regular" panose="020B0504020202020204" pitchFamily="34" charset="77"/>
                  <a:ea typeface="Open Sans" panose="020B0606030504020204" pitchFamily="34" charset="0"/>
                  <a:cs typeface="Open Sans" panose="020B0606030504020204" pitchFamily="34" charset="0"/>
                </a:rPr>
                <a:t>Plan actions</a:t>
              </a:r>
            </a:p>
          </p:txBody>
        </p:sp>
        <p:sp>
          <p:nvSpPr>
            <p:cNvPr id="23" name="Pijl: gebogen 55">
              <a:extLst>
                <a:ext uri="{FF2B5EF4-FFF2-40B4-BE49-F238E27FC236}">
                  <a16:creationId xmlns:a16="http://schemas.microsoft.com/office/drawing/2014/main" id="{DD976AE2-D32A-1558-B0C6-02EC7AE5E8A9}"/>
                </a:ext>
              </a:extLst>
            </p:cNvPr>
            <p:cNvSpPr/>
            <p:nvPr/>
          </p:nvSpPr>
          <p:spPr>
            <a:xfrm rot="16200000">
              <a:off x="5816322" y="4150038"/>
              <a:ext cx="307118" cy="274603"/>
            </a:xfrm>
            <a:prstGeom prst="bentArrow">
              <a:avLst>
                <a:gd name="adj1" fmla="val 9754"/>
                <a:gd name="adj2" fmla="val 21188"/>
                <a:gd name="adj3" fmla="val 32623"/>
                <a:gd name="adj4" fmla="val 83689"/>
              </a:avLst>
            </a:prstGeom>
            <a:solidFill>
              <a:srgbClr val="B1503A"/>
            </a:solidFill>
            <a:ln>
              <a:solidFill>
                <a:srgbClr val="B150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9900"/>
                </a:solidFill>
                <a:latin typeface="Arial" panose="020B0604020202020204" pitchFamily="34" charset="0"/>
                <a:cs typeface="Arial" panose="020B0604020202020204" pitchFamily="34" charset="0"/>
              </a:endParaRPr>
            </a:p>
          </p:txBody>
        </p:sp>
      </p:grpSp>
      <p:sp>
        <p:nvSpPr>
          <p:cNvPr id="24" name="Content Placeholder 2">
            <a:extLst>
              <a:ext uri="{FF2B5EF4-FFF2-40B4-BE49-F238E27FC236}">
                <a16:creationId xmlns:a16="http://schemas.microsoft.com/office/drawing/2014/main" id="{311F52BF-8978-3342-6A58-3C893EE3FACA}"/>
              </a:ext>
            </a:extLst>
          </p:cNvPr>
          <p:cNvSpPr txBox="1">
            <a:spLocks/>
          </p:cNvSpPr>
          <p:nvPr/>
        </p:nvSpPr>
        <p:spPr>
          <a:xfrm>
            <a:off x="506709" y="1362302"/>
            <a:ext cx="7374996" cy="1596689"/>
          </a:xfrm>
          <a:prstGeom prst="rect">
            <a:avLst/>
          </a:prstGeom>
        </p:spPr>
        <p:txBody>
          <a:bodyPr vert="horz" lIns="68580" tIns="34290" rIns="68580" bIns="3429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Open Sans"/>
                <a:ea typeface="+mn-ea"/>
                <a:cs typeface="Open San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a:ea typeface="+mn-ea"/>
                <a:cs typeface="Open San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Open Sans"/>
                <a:ea typeface="+mn-ea"/>
                <a:cs typeface="Open San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Open Sans"/>
                <a:ea typeface="+mn-ea"/>
                <a:cs typeface="Open San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Open Sans"/>
                <a:ea typeface="+mn-ea"/>
                <a:cs typeface="Open San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buClr>
                <a:srgbClr val="B1503A"/>
              </a:buClr>
            </a:pPr>
            <a:r>
              <a:rPr lang="en-US" sz="1400" dirty="0">
                <a:latin typeface="AvenirNext LT Pro Regular" panose="020B0504020202020204" pitchFamily="34" charset="77"/>
              </a:rPr>
              <a:t>ISO Management System standards help structure, focus, and drive continuous improvement in an organization – resulting in a high-impact management system.</a:t>
            </a:r>
          </a:p>
          <a:p>
            <a:pPr>
              <a:lnSpc>
                <a:spcPct val="100000"/>
              </a:lnSpc>
              <a:spcBef>
                <a:spcPts val="600"/>
              </a:spcBef>
              <a:buClr>
                <a:srgbClr val="B1503A"/>
              </a:buClr>
            </a:pPr>
            <a:r>
              <a:rPr lang="en-US" sz="1400" dirty="0">
                <a:latin typeface="AvenirNext LT Pro Regular" panose="020B0504020202020204" pitchFamily="34" charset="77"/>
              </a:rPr>
              <a:t>ISO management principles ensure a robust and effective integrated management system.</a:t>
            </a:r>
          </a:p>
        </p:txBody>
      </p:sp>
    </p:spTree>
    <p:extLst>
      <p:ext uri="{BB962C8B-B14F-4D97-AF65-F5344CB8AC3E}">
        <p14:creationId xmlns:p14="http://schemas.microsoft.com/office/powerpoint/2010/main" val="271012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39550-5805-B355-7B12-303EACEAB1B7}"/>
              </a:ext>
            </a:extLst>
          </p:cNvPr>
          <p:cNvSpPr>
            <a:spLocks noGrp="1"/>
          </p:cNvSpPr>
          <p:nvPr>
            <p:ph type="title"/>
          </p:nvPr>
        </p:nvSpPr>
        <p:spPr/>
        <p:txBody>
          <a:bodyPr>
            <a:normAutofit/>
          </a:bodyPr>
          <a:lstStyle/>
          <a:p>
            <a:r>
              <a:rPr lang="fr-CH" dirty="0" err="1"/>
              <a:t>Features</a:t>
            </a:r>
            <a:r>
              <a:rPr lang="fr-CH" dirty="0"/>
              <a:t> and </a:t>
            </a:r>
            <a:r>
              <a:rPr lang="fr-CH" dirty="0" err="1"/>
              <a:t>benefits</a:t>
            </a:r>
            <a:r>
              <a:rPr lang="fr-CH" dirty="0"/>
              <a:t> of FSSC 24000</a:t>
            </a:r>
            <a:endParaRPr lang="en-US" dirty="0"/>
          </a:p>
        </p:txBody>
      </p:sp>
      <p:pic>
        <p:nvPicPr>
          <p:cNvPr id="5" name="Picture 4">
            <a:extLst>
              <a:ext uri="{FF2B5EF4-FFF2-40B4-BE49-F238E27FC236}">
                <a16:creationId xmlns:a16="http://schemas.microsoft.com/office/drawing/2014/main" id="{9A42AEE4-EAEB-6B4B-4CFC-4116F56CEAFB}"/>
              </a:ext>
            </a:extLst>
          </p:cNvPr>
          <p:cNvPicPr>
            <a:picLocks noChangeAspect="1"/>
          </p:cNvPicPr>
          <p:nvPr/>
        </p:nvPicPr>
        <p:blipFill>
          <a:blip r:embed="rId3"/>
          <a:stretch>
            <a:fillRect/>
          </a:stretch>
        </p:blipFill>
        <p:spPr>
          <a:xfrm>
            <a:off x="694685" y="1276398"/>
            <a:ext cx="7071973" cy="3185436"/>
          </a:xfrm>
          <a:prstGeom prst="rect">
            <a:avLst/>
          </a:prstGeom>
        </p:spPr>
      </p:pic>
    </p:spTree>
    <p:extLst>
      <p:ext uri="{BB962C8B-B14F-4D97-AF65-F5344CB8AC3E}">
        <p14:creationId xmlns:p14="http://schemas.microsoft.com/office/powerpoint/2010/main" val="211503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EB4E1-BFD8-90A2-7C0E-CC0F93D5D916}"/>
              </a:ext>
            </a:extLst>
          </p:cNvPr>
          <p:cNvSpPr>
            <a:spLocks noGrp="1"/>
          </p:cNvSpPr>
          <p:nvPr>
            <p:ph type="title"/>
          </p:nvPr>
        </p:nvSpPr>
        <p:spPr/>
        <p:txBody>
          <a:bodyPr/>
          <a:lstStyle/>
          <a:p>
            <a:r>
              <a:rPr lang="en-US"/>
              <a:t>TOPICS OF PAS 24000 (APPENDIX A)</a:t>
            </a:r>
          </a:p>
        </p:txBody>
      </p:sp>
      <p:graphicFrame>
        <p:nvGraphicFramePr>
          <p:cNvPr id="3" name="Table 2">
            <a:extLst>
              <a:ext uri="{FF2B5EF4-FFF2-40B4-BE49-F238E27FC236}">
                <a16:creationId xmlns:a16="http://schemas.microsoft.com/office/drawing/2014/main" id="{5720D479-C0D4-B839-C406-039E699C9F30}"/>
              </a:ext>
            </a:extLst>
          </p:cNvPr>
          <p:cNvGraphicFramePr>
            <a:graphicFrameLocks noGrp="1"/>
          </p:cNvGraphicFramePr>
          <p:nvPr>
            <p:extLst>
              <p:ext uri="{D42A27DB-BD31-4B8C-83A1-F6EECF244321}">
                <p14:modId xmlns:p14="http://schemas.microsoft.com/office/powerpoint/2010/main" val="3292821057"/>
              </p:ext>
            </p:extLst>
          </p:nvPr>
        </p:nvGraphicFramePr>
        <p:xfrm>
          <a:off x="569624" y="1319722"/>
          <a:ext cx="7296412" cy="3095089"/>
        </p:xfrm>
        <a:graphic>
          <a:graphicData uri="http://schemas.openxmlformats.org/drawingml/2006/table">
            <a:tbl>
              <a:tblPr bandRow="1">
                <a:tableStyleId>{5C22544A-7EE6-4342-B048-85BDC9FD1C3A}</a:tableStyleId>
              </a:tblPr>
              <a:tblGrid>
                <a:gridCol w="3715879">
                  <a:extLst>
                    <a:ext uri="{9D8B030D-6E8A-4147-A177-3AD203B41FA5}">
                      <a16:colId xmlns:a16="http://schemas.microsoft.com/office/drawing/2014/main" val="1312918289"/>
                    </a:ext>
                  </a:extLst>
                </a:gridCol>
                <a:gridCol w="3580533">
                  <a:extLst>
                    <a:ext uri="{9D8B030D-6E8A-4147-A177-3AD203B41FA5}">
                      <a16:colId xmlns:a16="http://schemas.microsoft.com/office/drawing/2014/main" val="3576172866"/>
                    </a:ext>
                  </a:extLst>
                </a:gridCol>
              </a:tblGrid>
              <a:tr h="460166">
                <a:tc>
                  <a:txBody>
                    <a:bodyPr/>
                    <a:lstStyle/>
                    <a:p>
                      <a:pPr algn="ctr"/>
                      <a:r>
                        <a:rPr lang="en-US" sz="1800" b="1" i="0">
                          <a:solidFill>
                            <a:schemeClr val="bg1"/>
                          </a:solidFill>
                          <a:latin typeface="AvenirNext LT Pro Bold" panose="020B0504020202020204" pitchFamily="34" charset="77"/>
                        </a:rPr>
                        <a:t>Human Rights</a:t>
                      </a:r>
                    </a:p>
                  </a:txBody>
                  <a:tcPr anchor="ctr">
                    <a:solidFill>
                      <a:srgbClr val="DA9C8E"/>
                    </a:solidFill>
                  </a:tcPr>
                </a:tc>
                <a:tc>
                  <a:txBody>
                    <a:bodyPr/>
                    <a:lstStyle/>
                    <a:p>
                      <a:pPr algn="ctr"/>
                      <a:r>
                        <a:rPr lang="en-US" sz="1800" b="1" i="0">
                          <a:solidFill>
                            <a:schemeClr val="bg1"/>
                          </a:solidFill>
                          <a:latin typeface="AvenirNext LT Pro Bold" panose="020B0504020202020204" pitchFamily="34" charset="77"/>
                        </a:rPr>
                        <a:t>Building Safety</a:t>
                      </a:r>
                    </a:p>
                  </a:txBody>
                  <a:tcPr anchor="ctr">
                    <a:solidFill>
                      <a:srgbClr val="DA9C8E"/>
                    </a:solidFill>
                  </a:tcPr>
                </a:tc>
                <a:extLst>
                  <a:ext uri="{0D108BD9-81ED-4DB2-BD59-A6C34878D82A}">
                    <a16:rowId xmlns:a16="http://schemas.microsoft.com/office/drawing/2014/main" val="3391241460"/>
                  </a:ext>
                </a:extLst>
              </a:tr>
              <a:tr h="460166">
                <a:tc>
                  <a:txBody>
                    <a:bodyPr/>
                    <a:lstStyle/>
                    <a:p>
                      <a:pPr algn="ctr"/>
                      <a:r>
                        <a:rPr lang="en-US" sz="1800" b="1" i="0" dirty="0">
                          <a:solidFill>
                            <a:srgbClr val="B1503A"/>
                          </a:solidFill>
                          <a:latin typeface="AvenirNext LT Pro Bold" panose="020B0504020202020204" pitchFamily="34" charset="77"/>
                        </a:rPr>
                        <a:t>Forced </a:t>
                      </a:r>
                      <a:r>
                        <a:rPr lang="en-US" sz="1800" b="1" i="0" dirty="0" err="1">
                          <a:solidFill>
                            <a:srgbClr val="B1503A"/>
                          </a:solidFill>
                          <a:latin typeface="AvenirNext LT Pro Bold" panose="020B0504020202020204" pitchFamily="34" charset="77"/>
                        </a:rPr>
                        <a:t>Labour</a:t>
                      </a:r>
                      <a:endParaRPr lang="en-US" sz="1800" b="1" i="0" dirty="0">
                        <a:solidFill>
                          <a:srgbClr val="B1503A"/>
                        </a:solidFill>
                        <a:latin typeface="AvenirNext LT Pro Bold" panose="020B0504020202020204" pitchFamily="34" charset="77"/>
                      </a:endParaRPr>
                    </a:p>
                  </a:txBody>
                  <a:tcPr anchor="ctr">
                    <a:solidFill>
                      <a:srgbClr val="EBCBC3"/>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1" i="0" kern="1200">
                          <a:solidFill>
                            <a:srgbClr val="B1503A"/>
                          </a:solidFill>
                          <a:latin typeface="AvenirNext LT Pro Bold" panose="020B0504020202020204" pitchFamily="34" charset="77"/>
                          <a:ea typeface="+mn-ea"/>
                          <a:cs typeface="+mn-cs"/>
                        </a:rPr>
                        <a:t>Working Hours</a:t>
                      </a:r>
                    </a:p>
                  </a:txBody>
                  <a:tcPr anchor="ctr">
                    <a:solidFill>
                      <a:srgbClr val="EBCBC3"/>
                    </a:solidFill>
                  </a:tcPr>
                </a:tc>
                <a:extLst>
                  <a:ext uri="{0D108BD9-81ED-4DB2-BD59-A6C34878D82A}">
                    <a16:rowId xmlns:a16="http://schemas.microsoft.com/office/drawing/2014/main" val="3329030831"/>
                  </a:ext>
                </a:extLst>
              </a:tr>
              <a:tr h="460166">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1" i="0" dirty="0">
                          <a:solidFill>
                            <a:schemeClr val="bg1"/>
                          </a:solidFill>
                          <a:latin typeface="AvenirNext LT Pro Bold" panose="020B0504020202020204" pitchFamily="34" charset="77"/>
                        </a:rPr>
                        <a:t>Child </a:t>
                      </a:r>
                      <a:r>
                        <a:rPr lang="en-US" sz="1800" b="1" i="0" dirty="0" err="1">
                          <a:solidFill>
                            <a:schemeClr val="bg1"/>
                          </a:solidFill>
                          <a:latin typeface="AvenirNext LT Pro Bold" panose="020B0504020202020204" pitchFamily="34" charset="77"/>
                        </a:rPr>
                        <a:t>Labour</a:t>
                      </a:r>
                      <a:endParaRPr lang="en-US" sz="1800" b="1" i="0" dirty="0">
                        <a:solidFill>
                          <a:schemeClr val="bg1"/>
                        </a:solidFill>
                        <a:latin typeface="AvenirNext LT Pro Bold" panose="020B0504020202020204" pitchFamily="34" charset="77"/>
                      </a:endParaRPr>
                    </a:p>
                  </a:txBody>
                  <a:tcPr anchor="ctr">
                    <a:solidFill>
                      <a:srgbClr val="DA9C8E"/>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1" i="0" kern="1200">
                          <a:solidFill>
                            <a:schemeClr val="bg1"/>
                          </a:solidFill>
                          <a:latin typeface="AvenirNext LT Pro Bold" panose="020B0504020202020204" pitchFamily="34" charset="77"/>
                          <a:ea typeface="+mn-ea"/>
                          <a:cs typeface="+mn-cs"/>
                        </a:rPr>
                        <a:t>Business Ethics</a:t>
                      </a:r>
                    </a:p>
                  </a:txBody>
                  <a:tcPr anchor="ctr">
                    <a:solidFill>
                      <a:srgbClr val="DA9C8E"/>
                    </a:solidFill>
                  </a:tcPr>
                </a:tc>
                <a:extLst>
                  <a:ext uri="{0D108BD9-81ED-4DB2-BD59-A6C34878D82A}">
                    <a16:rowId xmlns:a16="http://schemas.microsoft.com/office/drawing/2014/main" val="1787230734"/>
                  </a:ext>
                </a:extLst>
              </a:tr>
              <a:tr h="460166">
                <a:tc>
                  <a:txBody>
                    <a:bodyPr/>
                    <a:lstStyle/>
                    <a:p>
                      <a:pPr marL="0" algn="ctr" defTabSz="685800" rtl="0" eaLnBrk="1" latinLnBrk="0" hangingPunct="1"/>
                      <a:r>
                        <a:rPr lang="en-US" sz="1800" b="1" i="0" kern="1200">
                          <a:solidFill>
                            <a:srgbClr val="B1503A"/>
                          </a:solidFill>
                          <a:latin typeface="AvenirNext LT Pro Bold" panose="020B0504020202020204" pitchFamily="34" charset="77"/>
                          <a:ea typeface="+mn-ea"/>
                          <a:cs typeface="+mn-cs"/>
                        </a:rPr>
                        <a:t>Freedom of Association</a:t>
                      </a:r>
                    </a:p>
                  </a:txBody>
                  <a:tcPr anchor="ctr">
                    <a:solidFill>
                      <a:srgbClr val="EBCBC3"/>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1" i="0" kern="1200">
                          <a:solidFill>
                            <a:srgbClr val="B1503A"/>
                          </a:solidFill>
                          <a:latin typeface="AvenirNext LT Pro Bold" panose="020B0504020202020204" pitchFamily="34" charset="77"/>
                          <a:ea typeface="+mn-ea"/>
                          <a:cs typeface="+mn-cs"/>
                        </a:rPr>
                        <a:t>Grievance Mechanisms</a:t>
                      </a:r>
                    </a:p>
                  </a:txBody>
                  <a:tcPr anchor="ctr">
                    <a:solidFill>
                      <a:srgbClr val="EBCBC3"/>
                    </a:solidFill>
                  </a:tcPr>
                </a:tc>
                <a:extLst>
                  <a:ext uri="{0D108BD9-81ED-4DB2-BD59-A6C34878D82A}">
                    <a16:rowId xmlns:a16="http://schemas.microsoft.com/office/drawing/2014/main" val="4073553667"/>
                  </a:ext>
                </a:extLst>
              </a:tr>
              <a:tr h="794259">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1" i="0" kern="1200">
                          <a:solidFill>
                            <a:schemeClr val="bg1"/>
                          </a:solidFill>
                          <a:latin typeface="AvenirNext LT Pro Bold" panose="020B0504020202020204" pitchFamily="34" charset="77"/>
                          <a:ea typeface="+mn-ea"/>
                          <a:cs typeface="+mn-cs"/>
                        </a:rPr>
                        <a:t>Discrimination &amp; </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1" i="0" kern="1200">
                          <a:solidFill>
                            <a:schemeClr val="bg1"/>
                          </a:solidFill>
                          <a:latin typeface="AvenirNext LT Pro Bold" panose="020B0504020202020204" pitchFamily="34" charset="77"/>
                          <a:ea typeface="+mn-ea"/>
                          <a:cs typeface="+mn-cs"/>
                        </a:rPr>
                        <a:t>Fair Treatment of Workers</a:t>
                      </a:r>
                    </a:p>
                  </a:txBody>
                  <a:tcPr anchor="ctr">
                    <a:solidFill>
                      <a:srgbClr val="DA9C8E"/>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1" i="0" kern="1200">
                          <a:solidFill>
                            <a:schemeClr val="bg1"/>
                          </a:solidFill>
                          <a:latin typeface="AvenirNext LT Pro Bold" panose="020B0504020202020204" pitchFamily="34" charset="77"/>
                          <a:ea typeface="+mn-ea"/>
                          <a:cs typeface="+mn-cs"/>
                        </a:rPr>
                        <a:t>Employment &amp; </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1" i="0" kern="1200">
                          <a:solidFill>
                            <a:schemeClr val="bg1"/>
                          </a:solidFill>
                          <a:latin typeface="AvenirNext LT Pro Bold" panose="020B0504020202020204" pitchFamily="34" charset="77"/>
                          <a:ea typeface="+mn-ea"/>
                          <a:cs typeface="+mn-cs"/>
                        </a:rPr>
                        <a:t>Contractual Relations</a:t>
                      </a:r>
                    </a:p>
                  </a:txBody>
                  <a:tcPr anchor="ctr">
                    <a:solidFill>
                      <a:srgbClr val="DA9C8E"/>
                    </a:solidFill>
                  </a:tcPr>
                </a:tc>
                <a:extLst>
                  <a:ext uri="{0D108BD9-81ED-4DB2-BD59-A6C34878D82A}">
                    <a16:rowId xmlns:a16="http://schemas.microsoft.com/office/drawing/2014/main" val="810389164"/>
                  </a:ext>
                </a:extLst>
              </a:tr>
              <a:tr h="460166">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1" i="0" kern="1200">
                          <a:solidFill>
                            <a:srgbClr val="B1503A"/>
                          </a:solidFill>
                          <a:latin typeface="AvenirNext LT Pro Bold" panose="020B0504020202020204" pitchFamily="34" charset="77"/>
                          <a:ea typeface="+mn-ea"/>
                          <a:cs typeface="+mn-cs"/>
                        </a:rPr>
                        <a:t>Occupational Health &amp; Safety</a:t>
                      </a:r>
                    </a:p>
                  </a:txBody>
                  <a:tcPr anchor="ctr">
                    <a:solidFill>
                      <a:srgbClr val="EBCBC3"/>
                    </a:solidFill>
                  </a:tcPr>
                </a:tc>
                <a:tc>
                  <a:txBody>
                    <a:bodyPr/>
                    <a:lstStyle/>
                    <a:p>
                      <a:pPr algn="ctr"/>
                      <a:endParaRPr lang="en-US" sz="1800" dirty="0"/>
                    </a:p>
                  </a:txBody>
                  <a:tcPr anchor="ctr">
                    <a:solidFill>
                      <a:schemeClr val="bg1"/>
                    </a:solidFill>
                  </a:tcPr>
                </a:tc>
                <a:extLst>
                  <a:ext uri="{0D108BD9-81ED-4DB2-BD59-A6C34878D82A}">
                    <a16:rowId xmlns:a16="http://schemas.microsoft.com/office/drawing/2014/main" val="1741527972"/>
                  </a:ext>
                </a:extLst>
              </a:tr>
            </a:tbl>
          </a:graphicData>
        </a:graphic>
      </p:graphicFrame>
      <p:sp>
        <p:nvSpPr>
          <p:cNvPr id="5" name="TextBox 4">
            <a:extLst>
              <a:ext uri="{FF2B5EF4-FFF2-40B4-BE49-F238E27FC236}">
                <a16:creationId xmlns:a16="http://schemas.microsoft.com/office/drawing/2014/main" id="{BFB18E11-528D-A724-0243-97D99ED15552}"/>
              </a:ext>
            </a:extLst>
          </p:cNvPr>
          <p:cNvSpPr txBox="1"/>
          <p:nvPr/>
        </p:nvSpPr>
        <p:spPr>
          <a:xfrm>
            <a:off x="569624" y="4550055"/>
            <a:ext cx="6455643" cy="523220"/>
          </a:xfrm>
          <a:prstGeom prst="rect">
            <a:avLst/>
          </a:prstGeom>
          <a:noFill/>
        </p:spPr>
        <p:txBody>
          <a:bodyPr wrap="square">
            <a:spAutoFit/>
          </a:bodyPr>
          <a:lstStyle/>
          <a:p>
            <a:r>
              <a:rPr lang="en-US" dirty="0"/>
              <a:t>Aim is to provide safe and fair working conditions, apply good business ethics, and due diligence in the supply chain through social procurement</a:t>
            </a:r>
            <a:endParaRPr lang="en-NL" dirty="0"/>
          </a:p>
        </p:txBody>
      </p:sp>
    </p:spTree>
    <p:extLst>
      <p:ext uri="{BB962C8B-B14F-4D97-AF65-F5344CB8AC3E}">
        <p14:creationId xmlns:p14="http://schemas.microsoft.com/office/powerpoint/2010/main" val="298276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and person wearing safety vests and helmets&#10;&#10;Description automatically generated">
            <a:extLst>
              <a:ext uri="{FF2B5EF4-FFF2-40B4-BE49-F238E27FC236}">
                <a16:creationId xmlns:a16="http://schemas.microsoft.com/office/drawing/2014/main" id="{893F9095-31E3-2ECA-FD9C-C1813E0AE74E}"/>
              </a:ext>
            </a:extLst>
          </p:cNvPr>
          <p:cNvPicPr>
            <a:picLocks noChangeAspect="1"/>
          </p:cNvPicPr>
          <p:nvPr/>
        </p:nvPicPr>
        <p:blipFill>
          <a:blip r:embed="rId2"/>
          <a:srcRect l="30918" r="14755"/>
          <a:stretch/>
        </p:blipFill>
        <p:spPr>
          <a:xfrm>
            <a:off x="4957762" y="10"/>
            <a:ext cx="4186238" cy="5143490"/>
          </a:xfrm>
          <a:prstGeom prst="rect">
            <a:avLst/>
          </a:prstGeom>
          <a:noFill/>
        </p:spPr>
      </p:pic>
      <p:sp>
        <p:nvSpPr>
          <p:cNvPr id="3" name="Content Placeholder 2">
            <a:extLst>
              <a:ext uri="{FF2B5EF4-FFF2-40B4-BE49-F238E27FC236}">
                <a16:creationId xmlns:a16="http://schemas.microsoft.com/office/drawing/2014/main" id="{01C39881-2959-A0ED-C59B-1B02817E9BCA}"/>
              </a:ext>
            </a:extLst>
          </p:cNvPr>
          <p:cNvSpPr txBox="1">
            <a:spLocks/>
          </p:cNvSpPr>
          <p:nvPr/>
        </p:nvSpPr>
        <p:spPr>
          <a:xfrm>
            <a:off x="601133" y="2237678"/>
            <a:ext cx="3564467" cy="2471245"/>
          </a:xfrm>
          <a:prstGeom prst="rect">
            <a:avLst/>
          </a:prstGeom>
        </p:spPr>
        <p:txBody>
          <a:bodyPr vert="horz" lIns="68580" tIns="34290" rIns="68580" bIns="34290" rtlCol="0">
            <a:normAutofit fontScale="92500" lnSpcReduction="1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Open Sans"/>
                <a:ea typeface="+mn-ea"/>
                <a:cs typeface="Open San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a:ea typeface="+mn-ea"/>
                <a:cs typeface="Open San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Open Sans"/>
                <a:ea typeface="+mn-ea"/>
                <a:cs typeface="Open San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Open Sans"/>
                <a:ea typeface="+mn-ea"/>
                <a:cs typeface="Open San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Open Sans"/>
                <a:ea typeface="+mn-ea"/>
                <a:cs typeface="Open San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just">
              <a:buClr>
                <a:srgbClr val="B1503A"/>
              </a:buClr>
            </a:pPr>
            <a:r>
              <a:rPr lang="en-US" sz="1400" kern="1200" dirty="0">
                <a:latin typeface="Open Sans"/>
                <a:ea typeface="+mn-ea"/>
                <a:cs typeface="Open Sans"/>
              </a:rPr>
              <a:t>Being FSSC 24000 certified will help satisfy the social requirements of legislations such as the Canadian Law S-211 and the European Union, both CSRD and CSDDD. </a:t>
            </a:r>
          </a:p>
          <a:p>
            <a:pPr algn="just">
              <a:buClr>
                <a:srgbClr val="B1503A"/>
              </a:buClr>
            </a:pPr>
            <a:r>
              <a:rPr lang="en-US" sz="1400" kern="1200" dirty="0">
                <a:latin typeface="Open Sans"/>
                <a:ea typeface="+mn-ea"/>
                <a:cs typeface="Open Sans"/>
              </a:rPr>
              <a:t>Future laws worldwide will mimic these; some are already at work. Most are based on the ISO approach.</a:t>
            </a:r>
          </a:p>
          <a:p>
            <a:pPr algn="just">
              <a:buClr>
                <a:srgbClr val="B1503A"/>
              </a:buClr>
            </a:pPr>
            <a:r>
              <a:rPr lang="en-US" sz="1400" dirty="0"/>
              <a:t>D</a:t>
            </a:r>
            <a:r>
              <a:rPr lang="en-US" sz="1400" kern="1200" dirty="0">
                <a:latin typeface="Open Sans"/>
                <a:ea typeface="+mn-ea"/>
                <a:cs typeface="Open Sans"/>
              </a:rPr>
              <a:t>ifferentiate from the competition and positively impact your team by getting certified.</a:t>
            </a:r>
          </a:p>
          <a:p>
            <a:pPr algn="just">
              <a:buClr>
                <a:srgbClr val="B1503A"/>
              </a:buClr>
            </a:pPr>
            <a:r>
              <a:rPr lang="en-US" sz="1400" kern="1200" dirty="0">
                <a:latin typeface="Open Sans"/>
                <a:ea typeface="+mn-ea"/>
                <a:cs typeface="Open Sans"/>
              </a:rPr>
              <a:t>Harness the power of the ISO management system approach and integrated systems</a:t>
            </a:r>
          </a:p>
          <a:p>
            <a:pPr algn="just">
              <a:buClr>
                <a:srgbClr val="B1503A"/>
              </a:buClr>
            </a:pPr>
            <a:endParaRPr lang="en-US" sz="1400" kern="1200" dirty="0">
              <a:latin typeface="Open Sans"/>
              <a:ea typeface="+mn-ea"/>
              <a:cs typeface="Open Sans"/>
            </a:endParaRPr>
          </a:p>
        </p:txBody>
      </p:sp>
      <p:sp>
        <p:nvSpPr>
          <p:cNvPr id="2" name="Title 1">
            <a:extLst>
              <a:ext uri="{FF2B5EF4-FFF2-40B4-BE49-F238E27FC236}">
                <a16:creationId xmlns:a16="http://schemas.microsoft.com/office/drawing/2014/main" id="{B49B0E8F-799B-0054-6B78-F9F11989D181}"/>
              </a:ext>
            </a:extLst>
          </p:cNvPr>
          <p:cNvSpPr>
            <a:spLocks noGrp="1"/>
          </p:cNvSpPr>
          <p:nvPr>
            <p:ph idx="28"/>
          </p:nvPr>
        </p:nvSpPr>
        <p:spPr>
          <a:xfrm>
            <a:off x="609600" y="526815"/>
            <a:ext cx="3556000" cy="1369719"/>
          </a:xfrm>
        </p:spPr>
        <p:txBody>
          <a:bodyPr vert="horz" lIns="68580" tIns="34290" rIns="68580" bIns="34290" rtlCol="0" anchor="b">
            <a:normAutofit/>
          </a:bodyPr>
          <a:lstStyle/>
          <a:p>
            <a:r>
              <a:rPr lang="en-US" b="1" i="0" kern="1200" cap="all" baseline="0" dirty="0">
                <a:latin typeface="AvenirNext LT Pro Bold" panose="020B0504020202020204" pitchFamily="34" charset="77"/>
                <a:ea typeface="+mn-ea"/>
                <a:cs typeface="AvenirNext LT Pro Bold" panose="020B0504020202020204" pitchFamily="34" charset="77"/>
              </a:rPr>
              <a:t>Position social sustainability as an opportunity</a:t>
            </a:r>
          </a:p>
        </p:txBody>
      </p:sp>
    </p:spTree>
    <p:extLst>
      <p:ext uri="{BB962C8B-B14F-4D97-AF65-F5344CB8AC3E}">
        <p14:creationId xmlns:p14="http://schemas.microsoft.com/office/powerpoint/2010/main" val="3077079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39550-5805-B355-7B12-303EACEAB1B7}"/>
              </a:ext>
            </a:extLst>
          </p:cNvPr>
          <p:cNvSpPr>
            <a:spLocks noGrp="1"/>
          </p:cNvSpPr>
          <p:nvPr>
            <p:ph type="title"/>
          </p:nvPr>
        </p:nvSpPr>
        <p:spPr/>
        <p:txBody>
          <a:bodyPr>
            <a:normAutofit/>
          </a:bodyPr>
          <a:lstStyle/>
          <a:p>
            <a:r>
              <a:rPr lang="fr-CH" dirty="0" err="1"/>
              <a:t>Esg</a:t>
            </a:r>
            <a:r>
              <a:rPr lang="fr-CH" dirty="0"/>
              <a:t> &amp; </a:t>
            </a:r>
            <a:r>
              <a:rPr lang="fr-CH" dirty="0" err="1"/>
              <a:t>reporting</a:t>
            </a:r>
            <a:endParaRPr lang="en-US" dirty="0"/>
          </a:p>
        </p:txBody>
      </p:sp>
      <p:sp>
        <p:nvSpPr>
          <p:cNvPr id="5" name="Title 2">
            <a:extLst>
              <a:ext uri="{FF2B5EF4-FFF2-40B4-BE49-F238E27FC236}">
                <a16:creationId xmlns:a16="http://schemas.microsoft.com/office/drawing/2014/main" id="{0D5A1BB8-2DD0-76EC-CBE8-617AC913E5B5}"/>
              </a:ext>
            </a:extLst>
          </p:cNvPr>
          <p:cNvSpPr txBox="1">
            <a:spLocks/>
          </p:cNvSpPr>
          <p:nvPr/>
        </p:nvSpPr>
        <p:spPr>
          <a:xfrm>
            <a:off x="491902" y="2292498"/>
            <a:ext cx="4048125" cy="2347556"/>
          </a:xfrm>
          <a:prstGeom prst="rect">
            <a:avLst/>
          </a:prstGeom>
        </p:spPr>
        <p:txBody>
          <a:bodyPr vert="horz" lIns="68580" tIns="34290" rIns="68580" bIns="34290" rtlCol="0" anchor="ctr">
            <a:normAutofit/>
          </a:bodyPr>
          <a:lstStyle>
            <a:lvl1pPr algn="l" defTabSz="685800" rtl="0" eaLnBrk="1" latinLnBrk="0" hangingPunct="1">
              <a:lnSpc>
                <a:spcPct val="90000"/>
              </a:lnSpc>
              <a:spcBef>
                <a:spcPct val="0"/>
              </a:spcBef>
              <a:buNone/>
              <a:defRPr sz="3000" b="1" kern="1200" cap="all" baseline="0">
                <a:solidFill>
                  <a:srgbClr val="B1503A"/>
                </a:solidFill>
                <a:latin typeface="Avenir Next Bold"/>
                <a:ea typeface="+mj-ea"/>
                <a:cs typeface="Avenir Next Bold"/>
              </a:defRPr>
            </a:lvl1pPr>
          </a:lstStyle>
          <a:p>
            <a:pPr algn="ctr"/>
            <a:r>
              <a:rPr lang="en-US" dirty="0">
                <a:solidFill>
                  <a:schemeClr val="accent6"/>
                </a:solidFill>
              </a:rPr>
              <a:t>ESG is integral to how you run your operations, serve your customers, and develop your people. </a:t>
            </a:r>
            <a:endParaRPr lang="en-GB" dirty="0">
              <a:solidFill>
                <a:schemeClr val="accent6"/>
              </a:solidFill>
            </a:endParaRPr>
          </a:p>
        </p:txBody>
      </p:sp>
      <p:sp>
        <p:nvSpPr>
          <p:cNvPr id="6" name="Title 2">
            <a:extLst>
              <a:ext uri="{FF2B5EF4-FFF2-40B4-BE49-F238E27FC236}">
                <a16:creationId xmlns:a16="http://schemas.microsoft.com/office/drawing/2014/main" id="{AB912DA2-952E-863E-315E-D9910DD06C88}"/>
              </a:ext>
            </a:extLst>
          </p:cNvPr>
          <p:cNvSpPr txBox="1">
            <a:spLocks/>
          </p:cNvSpPr>
          <p:nvPr/>
        </p:nvSpPr>
        <p:spPr>
          <a:xfrm>
            <a:off x="676275" y="1717087"/>
            <a:ext cx="4048125" cy="2347556"/>
          </a:xfrm>
          <a:prstGeom prst="rect">
            <a:avLst/>
          </a:prstGeom>
        </p:spPr>
        <p:txBody>
          <a:bodyPr vert="horz" lIns="68580" tIns="34290" rIns="68580" bIns="34290" rtlCol="0" anchor="ctr">
            <a:normAutofit/>
          </a:bodyPr>
          <a:lstStyle>
            <a:lvl1pPr algn="l" defTabSz="685800" rtl="0" eaLnBrk="1" latinLnBrk="0" hangingPunct="1">
              <a:lnSpc>
                <a:spcPct val="90000"/>
              </a:lnSpc>
              <a:spcBef>
                <a:spcPct val="0"/>
              </a:spcBef>
              <a:buNone/>
              <a:defRPr sz="3000" b="1" kern="1200" cap="all" baseline="0">
                <a:solidFill>
                  <a:srgbClr val="B1503A"/>
                </a:solidFill>
                <a:latin typeface="Avenir Next Bold"/>
                <a:ea typeface="+mj-ea"/>
                <a:cs typeface="Avenir Next Bold"/>
              </a:defRPr>
            </a:lvl1pPr>
          </a:lstStyle>
          <a:p>
            <a:r>
              <a:rPr lang="en-US" dirty="0" err="1"/>
              <a:t>EsG</a:t>
            </a:r>
            <a:r>
              <a:rPr lang="en-US" dirty="0"/>
              <a:t> is integral to how you run your operations, serve your customers, and develop your people</a:t>
            </a:r>
            <a:r>
              <a:rPr lang="en-US" dirty="0">
                <a:solidFill>
                  <a:schemeClr val="accent6"/>
                </a:solidFill>
              </a:rPr>
              <a:t>. </a:t>
            </a:r>
            <a:endParaRPr lang="en-GB" dirty="0">
              <a:solidFill>
                <a:schemeClr val="accent6"/>
              </a:solidFill>
            </a:endParaRPr>
          </a:p>
        </p:txBody>
      </p:sp>
      <p:grpSp>
        <p:nvGrpSpPr>
          <p:cNvPr id="8" name="Group 7">
            <a:extLst>
              <a:ext uri="{FF2B5EF4-FFF2-40B4-BE49-F238E27FC236}">
                <a16:creationId xmlns:a16="http://schemas.microsoft.com/office/drawing/2014/main" id="{0EA44EC8-4F04-8DD9-22EF-93411AC7EF31}"/>
              </a:ext>
            </a:extLst>
          </p:cNvPr>
          <p:cNvGrpSpPr/>
          <p:nvPr/>
        </p:nvGrpSpPr>
        <p:grpSpPr>
          <a:xfrm>
            <a:off x="5088575" y="1085172"/>
            <a:ext cx="2792105" cy="776395"/>
            <a:chOff x="6722550" y="741356"/>
            <a:chExt cx="4952245" cy="1516905"/>
          </a:xfrm>
        </p:grpSpPr>
        <p:sp>
          <p:nvSpPr>
            <p:cNvPr id="9" name="Rectangle: Rounded Corners 8">
              <a:extLst>
                <a:ext uri="{FF2B5EF4-FFF2-40B4-BE49-F238E27FC236}">
                  <a16:creationId xmlns:a16="http://schemas.microsoft.com/office/drawing/2014/main" id="{566A34AF-DEE9-BCC2-926A-BFB1323F079E}"/>
                </a:ext>
              </a:extLst>
            </p:cNvPr>
            <p:cNvSpPr/>
            <p:nvPr/>
          </p:nvSpPr>
          <p:spPr>
            <a:xfrm>
              <a:off x="6722550" y="741356"/>
              <a:ext cx="4952245" cy="1516905"/>
            </a:xfrm>
            <a:prstGeom prst="roundRect">
              <a:avLst/>
            </a:prstGeom>
            <a:solidFill>
              <a:srgbClr val="B15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1125" dirty="0">
                <a:highlight>
                  <a:srgbClr val="B1503A"/>
                </a:highlight>
                <a:latin typeface="+mj-lt"/>
              </a:endParaRPr>
            </a:p>
          </p:txBody>
        </p:sp>
        <p:sp>
          <p:nvSpPr>
            <p:cNvPr id="10" name="TextBox 9">
              <a:extLst>
                <a:ext uri="{FF2B5EF4-FFF2-40B4-BE49-F238E27FC236}">
                  <a16:creationId xmlns:a16="http://schemas.microsoft.com/office/drawing/2014/main" id="{2256F4FB-C04D-44FE-EBC4-B37EC121411B}"/>
                </a:ext>
              </a:extLst>
            </p:cNvPr>
            <p:cNvSpPr txBox="1"/>
            <p:nvPr/>
          </p:nvSpPr>
          <p:spPr>
            <a:xfrm>
              <a:off x="6958894" y="1170258"/>
              <a:ext cx="4662532" cy="659838"/>
            </a:xfrm>
            <a:prstGeom prst="rect">
              <a:avLst/>
            </a:prstGeom>
            <a:noFill/>
          </p:spPr>
          <p:txBody>
            <a:bodyPr wrap="square" rtlCol="0">
              <a:spAutoFit/>
            </a:bodyPr>
            <a:lstStyle/>
            <a:p>
              <a:r>
                <a:rPr lang="en-US" sz="1800" b="1" dirty="0">
                  <a:solidFill>
                    <a:schemeClr val="bg1"/>
                  </a:solidFill>
                  <a:latin typeface="+mj-lt"/>
                </a:rPr>
                <a:t>Markets &amp; Legislation</a:t>
              </a:r>
            </a:p>
          </p:txBody>
        </p:sp>
      </p:grpSp>
      <p:pic>
        <p:nvPicPr>
          <p:cNvPr id="15" name="Picture 14">
            <a:extLst>
              <a:ext uri="{FF2B5EF4-FFF2-40B4-BE49-F238E27FC236}">
                <a16:creationId xmlns:a16="http://schemas.microsoft.com/office/drawing/2014/main" id="{D4FB75BD-4CA2-5F2F-E214-DB5F7F4C002C}"/>
              </a:ext>
            </a:extLst>
          </p:cNvPr>
          <p:cNvPicPr>
            <a:picLocks noChangeAspect="1"/>
          </p:cNvPicPr>
          <p:nvPr/>
        </p:nvPicPr>
        <p:blipFill>
          <a:blip r:embed="rId3"/>
          <a:stretch>
            <a:fillRect/>
          </a:stretch>
        </p:blipFill>
        <p:spPr>
          <a:xfrm>
            <a:off x="5116488" y="2015993"/>
            <a:ext cx="2775232" cy="720839"/>
          </a:xfrm>
          <a:prstGeom prst="rect">
            <a:avLst/>
          </a:prstGeom>
        </p:spPr>
      </p:pic>
      <p:sp>
        <p:nvSpPr>
          <p:cNvPr id="18" name="TextBox 17">
            <a:extLst>
              <a:ext uri="{FF2B5EF4-FFF2-40B4-BE49-F238E27FC236}">
                <a16:creationId xmlns:a16="http://schemas.microsoft.com/office/drawing/2014/main" id="{221E7903-AFC8-C99F-F67A-EFA3088B99F6}"/>
              </a:ext>
            </a:extLst>
          </p:cNvPr>
          <p:cNvSpPr txBox="1"/>
          <p:nvPr/>
        </p:nvSpPr>
        <p:spPr>
          <a:xfrm>
            <a:off x="5221827" y="2024028"/>
            <a:ext cx="2841485" cy="64633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800" b="1" dirty="0">
                <a:solidFill>
                  <a:srgbClr val="FFFFFF"/>
                </a:solidFill>
                <a:latin typeface="Arial"/>
              </a:rPr>
              <a:t>Customers &amp; supply chain</a:t>
            </a: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CCD7FC33-3B3A-9B80-D9EA-F178E96E86D0}"/>
              </a:ext>
            </a:extLst>
          </p:cNvPr>
          <p:cNvGrpSpPr/>
          <p:nvPr/>
        </p:nvGrpSpPr>
        <p:grpSpPr>
          <a:xfrm>
            <a:off x="5116488" y="2921514"/>
            <a:ext cx="2880571" cy="720840"/>
            <a:chOff x="6722550" y="741356"/>
            <a:chExt cx="5081433" cy="1516905"/>
          </a:xfrm>
        </p:grpSpPr>
        <p:sp>
          <p:nvSpPr>
            <p:cNvPr id="20" name="Rectangle: Rounded Corners 19">
              <a:extLst>
                <a:ext uri="{FF2B5EF4-FFF2-40B4-BE49-F238E27FC236}">
                  <a16:creationId xmlns:a16="http://schemas.microsoft.com/office/drawing/2014/main" id="{19CDAC1F-C77C-8AD6-26D9-BA21A4D1F206}"/>
                </a:ext>
              </a:extLst>
            </p:cNvPr>
            <p:cNvSpPr/>
            <p:nvPr/>
          </p:nvSpPr>
          <p:spPr>
            <a:xfrm>
              <a:off x="6722550" y="741356"/>
              <a:ext cx="4952245" cy="1516905"/>
            </a:xfrm>
            <a:prstGeom prst="roundRect">
              <a:avLst/>
            </a:prstGeom>
            <a:solidFill>
              <a:srgbClr val="B15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1125" dirty="0">
                <a:highlight>
                  <a:srgbClr val="B1503A"/>
                </a:highlight>
                <a:latin typeface="+mj-lt"/>
              </a:endParaRPr>
            </a:p>
          </p:txBody>
        </p:sp>
        <p:sp>
          <p:nvSpPr>
            <p:cNvPr id="21" name="TextBox 20">
              <a:extLst>
                <a:ext uri="{FF2B5EF4-FFF2-40B4-BE49-F238E27FC236}">
                  <a16:creationId xmlns:a16="http://schemas.microsoft.com/office/drawing/2014/main" id="{97FE5A1C-2963-12BE-4F49-87928FBB0DCD}"/>
                </a:ext>
              </a:extLst>
            </p:cNvPr>
            <p:cNvSpPr txBox="1"/>
            <p:nvPr/>
          </p:nvSpPr>
          <p:spPr>
            <a:xfrm>
              <a:off x="6908372" y="1031526"/>
              <a:ext cx="4895611" cy="777207"/>
            </a:xfrm>
            <a:prstGeom prst="rect">
              <a:avLst/>
            </a:prstGeom>
            <a:noFill/>
          </p:spPr>
          <p:txBody>
            <a:bodyPr wrap="square" rtlCol="0">
              <a:spAutoFit/>
            </a:bodyPr>
            <a:lstStyle/>
            <a:p>
              <a:r>
                <a:rPr lang="en-US" sz="1800" b="1" dirty="0">
                  <a:solidFill>
                    <a:schemeClr val="bg1"/>
                  </a:solidFill>
                  <a:latin typeface="+mj-lt"/>
                </a:rPr>
                <a:t>People &amp; Communities</a:t>
              </a:r>
            </a:p>
          </p:txBody>
        </p:sp>
      </p:grpSp>
      <p:pic>
        <p:nvPicPr>
          <p:cNvPr id="11" name="Picture 10">
            <a:extLst>
              <a:ext uri="{FF2B5EF4-FFF2-40B4-BE49-F238E27FC236}">
                <a16:creationId xmlns:a16="http://schemas.microsoft.com/office/drawing/2014/main" id="{97D66E5C-E4D2-AFE8-8B5F-9608DAE42CFC}"/>
              </a:ext>
            </a:extLst>
          </p:cNvPr>
          <p:cNvPicPr>
            <a:picLocks noChangeAspect="1"/>
          </p:cNvPicPr>
          <p:nvPr/>
        </p:nvPicPr>
        <p:blipFill>
          <a:blip r:embed="rId3"/>
          <a:stretch>
            <a:fillRect/>
          </a:stretch>
        </p:blipFill>
        <p:spPr>
          <a:xfrm>
            <a:off x="5148593" y="3817782"/>
            <a:ext cx="2775232" cy="720839"/>
          </a:xfrm>
          <a:prstGeom prst="rect">
            <a:avLst/>
          </a:prstGeom>
        </p:spPr>
      </p:pic>
      <p:sp>
        <p:nvSpPr>
          <p:cNvPr id="17" name="TextBox 16">
            <a:extLst>
              <a:ext uri="{FF2B5EF4-FFF2-40B4-BE49-F238E27FC236}">
                <a16:creationId xmlns:a16="http://schemas.microsoft.com/office/drawing/2014/main" id="{6D4D4782-DED2-F290-B635-DF9FA5AB8517}"/>
              </a:ext>
            </a:extLst>
          </p:cNvPr>
          <p:cNvSpPr txBox="1"/>
          <p:nvPr/>
        </p:nvSpPr>
        <p:spPr>
          <a:xfrm>
            <a:off x="5221827" y="3993535"/>
            <a:ext cx="2353677" cy="36933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800" b="1" dirty="0">
                <a:solidFill>
                  <a:srgbClr val="FFFFFF"/>
                </a:solidFill>
                <a:latin typeface="Arial"/>
              </a:rPr>
              <a:t>Externally verified</a:t>
            </a: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26110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anim calcmode="lin" valueType="num">
                                      <p:cBhvr additive="base">
                                        <p:cTn id="13" dur="500" fill="hold"/>
                                        <p:tgtEl>
                                          <p:spTgt spid="19"/>
                                        </p:tgtEl>
                                        <p:attrNameLst>
                                          <p:attrName>ppt_x</p:attrName>
                                        </p:attrNameLst>
                                      </p:cBhvr>
                                      <p:tavLst>
                                        <p:tav tm="0">
                                          <p:val>
                                            <p:strVal val="#ppt_x"/>
                                          </p:val>
                                        </p:tav>
                                        <p:tav tm="100000">
                                          <p:val>
                                            <p:strVal val="#ppt_x"/>
                                          </p:val>
                                        </p:tav>
                                      </p:tavLst>
                                    </p:anim>
                                    <p:anim calcmode="lin" valueType="num">
                                      <p:cBhvr additive="base">
                                        <p:cTn id="1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77D4A-A643-4798-A6EF-C2D238FFBAA3}"/>
              </a:ext>
            </a:extLst>
          </p:cNvPr>
          <p:cNvSpPr>
            <a:spLocks noGrp="1"/>
          </p:cNvSpPr>
          <p:nvPr>
            <p:ph type="title"/>
          </p:nvPr>
        </p:nvSpPr>
        <p:spPr/>
        <p:txBody>
          <a:bodyPr/>
          <a:lstStyle/>
          <a:p>
            <a:r>
              <a:rPr lang="en-US" dirty="0"/>
              <a:t>Introduction to </a:t>
            </a:r>
            <a:r>
              <a:rPr lang="en-US" dirty="0" err="1"/>
              <a:t>fssc</a:t>
            </a:r>
            <a:endParaRPr lang="en-US" dirty="0"/>
          </a:p>
        </p:txBody>
      </p:sp>
    </p:spTree>
    <p:extLst>
      <p:ext uri="{BB962C8B-B14F-4D97-AF65-F5344CB8AC3E}">
        <p14:creationId xmlns:p14="http://schemas.microsoft.com/office/powerpoint/2010/main" val="84211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298B7-1C5F-9307-397E-FB351A5FE803}"/>
              </a:ext>
            </a:extLst>
          </p:cNvPr>
          <p:cNvSpPr>
            <a:spLocks noGrp="1"/>
          </p:cNvSpPr>
          <p:nvPr>
            <p:ph type="title"/>
          </p:nvPr>
        </p:nvSpPr>
        <p:spPr>
          <a:xfrm>
            <a:off x="713319" y="364068"/>
            <a:ext cx="7178401" cy="558800"/>
          </a:xfrm>
        </p:spPr>
        <p:txBody>
          <a:bodyPr anchor="ctr">
            <a:normAutofit/>
          </a:bodyPr>
          <a:lstStyle/>
          <a:p>
            <a:r>
              <a:rPr lang="en-US" dirty="0" err="1"/>
              <a:t>Fssc</a:t>
            </a:r>
            <a:r>
              <a:rPr lang="en-US" dirty="0"/>
              <a:t> in practice</a:t>
            </a:r>
          </a:p>
        </p:txBody>
      </p:sp>
      <p:sp>
        <p:nvSpPr>
          <p:cNvPr id="4" name="Content Placeholder 3">
            <a:extLst>
              <a:ext uri="{FF2B5EF4-FFF2-40B4-BE49-F238E27FC236}">
                <a16:creationId xmlns:a16="http://schemas.microsoft.com/office/drawing/2014/main" id="{BA76FF73-C239-6FC8-E6F6-BB3D95F12900}"/>
              </a:ext>
            </a:extLst>
          </p:cNvPr>
          <p:cNvSpPr>
            <a:spLocks noGrp="1"/>
          </p:cNvSpPr>
          <p:nvPr>
            <p:ph idx="1"/>
          </p:nvPr>
        </p:nvSpPr>
        <p:spPr>
          <a:xfrm>
            <a:off x="719223" y="1259153"/>
            <a:ext cx="7172497" cy="3305920"/>
          </a:xfrm>
        </p:spPr>
        <p:txBody>
          <a:bodyPr/>
          <a:lstStyle/>
          <a:p>
            <a:r>
              <a:rPr lang="en-US" dirty="0"/>
              <a:t>The Risk-based approach delivers new insights</a:t>
            </a:r>
          </a:p>
          <a:p>
            <a:r>
              <a:rPr lang="en-US" dirty="0"/>
              <a:t>Brings new challenges, so be prepared &amp; embrace change</a:t>
            </a:r>
          </a:p>
          <a:p>
            <a:r>
              <a:rPr lang="en-US" dirty="0"/>
              <a:t>Requires collaboration across functions in the business</a:t>
            </a:r>
          </a:p>
          <a:p>
            <a:r>
              <a:rPr lang="en-US" dirty="0"/>
              <a:t>Integration in business</a:t>
            </a:r>
          </a:p>
          <a:p>
            <a:endParaRPr lang="en-US" dirty="0"/>
          </a:p>
          <a:p>
            <a:pPr marL="0" indent="0">
              <a:buNone/>
            </a:pPr>
            <a:r>
              <a:rPr lang="en-US" sz="4000" b="1" dirty="0"/>
              <a:t>         E                S              G</a:t>
            </a:r>
          </a:p>
          <a:p>
            <a:pPr marL="0" indent="0">
              <a:buNone/>
            </a:pPr>
            <a:r>
              <a:rPr lang="en-US" dirty="0"/>
              <a:t>     ISO 140001                  FSSC 24000                  ISO 9001</a:t>
            </a:r>
          </a:p>
          <a:p>
            <a:r>
              <a:rPr lang="en-US" dirty="0"/>
              <a:t>Requires continuous improvement - the journey never stops; you need to keep doing it!</a:t>
            </a:r>
          </a:p>
          <a:p>
            <a:endParaRPr lang="en-US" dirty="0"/>
          </a:p>
          <a:p>
            <a:endParaRPr lang="en-US" dirty="0"/>
          </a:p>
          <a:p>
            <a:endParaRPr lang="en-US" dirty="0"/>
          </a:p>
          <a:p>
            <a:endParaRPr lang="en-NL" dirty="0"/>
          </a:p>
        </p:txBody>
      </p:sp>
      <p:pic>
        <p:nvPicPr>
          <p:cNvPr id="6" name="Graphic 5" descr="Sustainability with solid fill">
            <a:extLst>
              <a:ext uri="{FF2B5EF4-FFF2-40B4-BE49-F238E27FC236}">
                <a16:creationId xmlns:a16="http://schemas.microsoft.com/office/drawing/2014/main" id="{56E94D51-24F4-066F-86F3-93FF8709F7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1480" y="2590799"/>
            <a:ext cx="996445" cy="996445"/>
          </a:xfrm>
          <a:prstGeom prst="rect">
            <a:avLst/>
          </a:prstGeom>
        </p:spPr>
      </p:pic>
      <p:pic>
        <p:nvPicPr>
          <p:cNvPr id="8" name="Graphic 7" descr="Users with solid fill">
            <a:extLst>
              <a:ext uri="{FF2B5EF4-FFF2-40B4-BE49-F238E27FC236}">
                <a16:creationId xmlns:a16="http://schemas.microsoft.com/office/drawing/2014/main" id="{E695A58C-4B24-75A6-14FE-8AB0B914493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06072" y="2747957"/>
            <a:ext cx="996447" cy="996447"/>
          </a:xfrm>
          <a:prstGeom prst="rect">
            <a:avLst/>
          </a:prstGeom>
        </p:spPr>
      </p:pic>
      <p:pic>
        <p:nvPicPr>
          <p:cNvPr id="9" name="Graphic 8" descr="Court outline">
            <a:extLst>
              <a:ext uri="{FF2B5EF4-FFF2-40B4-BE49-F238E27FC236}">
                <a16:creationId xmlns:a16="http://schemas.microsoft.com/office/drawing/2014/main" id="{EFDD7331-D7D8-5750-A038-1AD16A3F3B7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40666" y="2672843"/>
            <a:ext cx="996446" cy="996446"/>
          </a:xfrm>
          <a:prstGeom prst="rect">
            <a:avLst/>
          </a:prstGeom>
        </p:spPr>
      </p:pic>
    </p:spTree>
    <p:extLst>
      <p:ext uri="{BB962C8B-B14F-4D97-AF65-F5344CB8AC3E}">
        <p14:creationId xmlns:p14="http://schemas.microsoft.com/office/powerpoint/2010/main" val="2358615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77E32B78-AF17-87F0-1B47-2CCE9FEA57FC}"/>
              </a:ext>
            </a:extLst>
          </p:cNvPr>
          <p:cNvCxnSpPr>
            <a:cxnSpLocks/>
          </p:cNvCxnSpPr>
          <p:nvPr/>
        </p:nvCxnSpPr>
        <p:spPr>
          <a:xfrm>
            <a:off x="713319" y="720597"/>
            <a:ext cx="0" cy="4422903"/>
          </a:xfrm>
          <a:prstGeom prst="line">
            <a:avLst/>
          </a:prstGeom>
          <a:ln w="25400">
            <a:solidFill>
              <a:srgbClr val="B1503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821D3828-E78D-5B86-A57D-8CFD1D0267BD}"/>
              </a:ext>
            </a:extLst>
          </p:cNvPr>
          <p:cNvSpPr/>
          <p:nvPr/>
        </p:nvSpPr>
        <p:spPr>
          <a:xfrm>
            <a:off x="275503" y="4096813"/>
            <a:ext cx="896112" cy="818389"/>
          </a:xfrm>
          <a:prstGeom prst="roundRect">
            <a:avLst/>
          </a:prstGeom>
          <a:solidFill>
            <a:schemeClr val="bg1"/>
          </a:solidFill>
          <a:ln>
            <a:solidFill>
              <a:srgbClr val="B150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a:extLst>
              <a:ext uri="{FF2B5EF4-FFF2-40B4-BE49-F238E27FC236}">
                <a16:creationId xmlns:a16="http://schemas.microsoft.com/office/drawing/2014/main" id="{9D23F326-A1C6-1815-8B3F-39C6AC7E3CE6}"/>
              </a:ext>
            </a:extLst>
          </p:cNvPr>
          <p:cNvSpPr/>
          <p:nvPr/>
        </p:nvSpPr>
        <p:spPr>
          <a:xfrm>
            <a:off x="278894" y="1177926"/>
            <a:ext cx="896112" cy="818389"/>
          </a:xfrm>
          <a:prstGeom prst="roundRect">
            <a:avLst/>
          </a:prstGeom>
          <a:solidFill>
            <a:schemeClr val="bg1"/>
          </a:solidFill>
          <a:ln>
            <a:solidFill>
              <a:srgbClr val="B150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CAE1ED4-023F-AAD9-1852-450844798022}"/>
              </a:ext>
            </a:extLst>
          </p:cNvPr>
          <p:cNvSpPr/>
          <p:nvPr/>
        </p:nvSpPr>
        <p:spPr>
          <a:xfrm>
            <a:off x="6537960" y="4557756"/>
            <a:ext cx="1463038" cy="4988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F72451-9FB3-C0F3-889C-D50BAFFC2355}"/>
              </a:ext>
            </a:extLst>
          </p:cNvPr>
          <p:cNvSpPr>
            <a:spLocks noGrp="1"/>
          </p:cNvSpPr>
          <p:nvPr>
            <p:ph type="title"/>
          </p:nvPr>
        </p:nvSpPr>
        <p:spPr>
          <a:xfrm>
            <a:off x="713319" y="364068"/>
            <a:ext cx="7712764" cy="558800"/>
          </a:xfrm>
        </p:spPr>
        <p:txBody>
          <a:bodyPr>
            <a:normAutofit/>
          </a:bodyPr>
          <a:lstStyle/>
          <a:p>
            <a:r>
              <a:rPr lang="en-US" dirty="0">
                <a:solidFill>
                  <a:srgbClr val="B54A32"/>
                </a:solidFill>
                <a:effectLst/>
              </a:rPr>
              <a:t> DUE DILIGENCE OBLIGATIONS</a:t>
            </a:r>
            <a:endParaRPr lang="en-US" dirty="0"/>
          </a:p>
        </p:txBody>
      </p:sp>
      <p:sp>
        <p:nvSpPr>
          <p:cNvPr id="3" name="Content Placeholder 2">
            <a:extLst>
              <a:ext uri="{FF2B5EF4-FFF2-40B4-BE49-F238E27FC236}">
                <a16:creationId xmlns:a16="http://schemas.microsoft.com/office/drawing/2014/main" id="{C68A33E6-E466-ED0E-EB95-56DFFFFC2106}"/>
              </a:ext>
            </a:extLst>
          </p:cNvPr>
          <p:cNvSpPr>
            <a:spLocks noGrp="1"/>
          </p:cNvSpPr>
          <p:nvPr>
            <p:ph idx="1"/>
          </p:nvPr>
        </p:nvSpPr>
        <p:spPr>
          <a:xfrm>
            <a:off x="1348831" y="4237206"/>
            <a:ext cx="6396137" cy="558801"/>
          </a:xfrm>
        </p:spPr>
        <p:txBody>
          <a:bodyPr/>
          <a:lstStyle/>
          <a:p>
            <a:pPr marL="0" indent="0">
              <a:buNone/>
            </a:pPr>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In implementing the FSSC 24000 Scheme,</a:t>
            </a:r>
            <a:r>
              <a:rPr lang="en-US" sz="1200" dirty="0">
                <a:solidFill>
                  <a:srgbClr val="565758"/>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the </a:t>
            </a:r>
            <a:r>
              <a:rPr lang="en-US" sz="1200" dirty="0">
                <a:solidFill>
                  <a:srgbClr val="B1503A"/>
                </a:solidFill>
                <a:effectLst/>
                <a:latin typeface="Open Sans" panose="020B0606030504020204" pitchFamily="34" charset="0"/>
                <a:ea typeface="Open Sans" panose="020B0606030504020204" pitchFamily="34" charset="0"/>
                <a:cs typeface="Open Sans" panose="020B0606030504020204" pitchFamily="34" charset="0"/>
              </a:rPr>
              <a:t>continuous improvement process </a:t>
            </a:r>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of</a:t>
            </a:r>
            <a:r>
              <a:rPr lang="en-US" sz="1200" dirty="0">
                <a:solidFill>
                  <a:srgbClr val="565758"/>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an ISO-aligned management system will</a:t>
            </a:r>
            <a:r>
              <a:rPr lang="en-US" sz="1200" dirty="0">
                <a:solidFill>
                  <a:srgbClr val="565758"/>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B1503A"/>
                </a:solidFill>
                <a:effectLst/>
                <a:latin typeface="Open Sans" panose="020B0606030504020204" pitchFamily="34" charset="0"/>
                <a:ea typeface="Open Sans" panose="020B0606030504020204" pitchFamily="34" charset="0"/>
                <a:cs typeface="Open Sans" panose="020B0606030504020204" pitchFamily="34" charset="0"/>
              </a:rPr>
              <a:t>enable organizations to identify long-term</a:t>
            </a:r>
            <a:r>
              <a:rPr lang="en-US" sz="1200" dirty="0">
                <a:solidFill>
                  <a:srgbClr val="B1503A"/>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B1503A"/>
                </a:solidFill>
                <a:effectLst/>
                <a:latin typeface="Open Sans" panose="020B0606030504020204" pitchFamily="34" charset="0"/>
                <a:ea typeface="Open Sans" panose="020B0606030504020204" pitchFamily="34" charset="0"/>
                <a:cs typeface="Open Sans" panose="020B0606030504020204" pitchFamily="34" charset="0"/>
              </a:rPr>
              <a:t>actions that satisfy the social performance</a:t>
            </a:r>
            <a:r>
              <a:rPr lang="en-US" sz="1200" dirty="0">
                <a:solidFill>
                  <a:srgbClr val="B1503A"/>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B1503A"/>
                </a:solidFill>
                <a:effectLst/>
                <a:latin typeface="Open Sans" panose="020B0606030504020204" pitchFamily="34" charset="0"/>
                <a:ea typeface="Open Sans" panose="020B0606030504020204" pitchFamily="34" charset="0"/>
                <a:cs typeface="Open Sans" panose="020B0606030504020204" pitchFamily="34" charset="0"/>
              </a:rPr>
              <a:t>expectations mandated by legislation. </a:t>
            </a:r>
            <a:endParaRPr lang="en-US" dirty="0">
              <a:solidFill>
                <a:srgbClr val="B1503A"/>
              </a:solidFill>
              <a:effectLst/>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dirty="0"/>
          </a:p>
        </p:txBody>
      </p:sp>
      <p:pic>
        <p:nvPicPr>
          <p:cNvPr id="5" name="Picture 4" descr="A black background with icons&#10;&#10;Description automatically generated">
            <a:extLst>
              <a:ext uri="{FF2B5EF4-FFF2-40B4-BE49-F238E27FC236}">
                <a16:creationId xmlns:a16="http://schemas.microsoft.com/office/drawing/2014/main" id="{BC23C5FF-79EF-3BD7-16F6-C933CBEAD378}"/>
              </a:ext>
            </a:extLst>
          </p:cNvPr>
          <p:cNvPicPr>
            <a:picLocks noChangeAspect="1"/>
          </p:cNvPicPr>
          <p:nvPr/>
        </p:nvPicPr>
        <p:blipFill>
          <a:blip r:embed="rId2">
            <a:extLst>
              <a:ext uri="{28A0092B-C50C-407E-A947-70E740481C1C}">
                <a14:useLocalDpi xmlns:a14="http://schemas.microsoft.com/office/drawing/2010/main" val="0"/>
              </a:ext>
            </a:extLst>
          </a:blip>
          <a:srcRect l="35826" t="2299" r="50242" b="79303"/>
          <a:stretch/>
        </p:blipFill>
        <p:spPr>
          <a:xfrm>
            <a:off x="374905" y="1260115"/>
            <a:ext cx="704089" cy="696701"/>
          </a:xfrm>
          <a:prstGeom prst="rect">
            <a:avLst/>
          </a:prstGeom>
        </p:spPr>
      </p:pic>
      <p:pic>
        <p:nvPicPr>
          <p:cNvPr id="8" name="Picture 7" descr="A black background with icons&#10;&#10;Description automatically generated">
            <a:extLst>
              <a:ext uri="{FF2B5EF4-FFF2-40B4-BE49-F238E27FC236}">
                <a16:creationId xmlns:a16="http://schemas.microsoft.com/office/drawing/2014/main" id="{AD717D5D-0911-9FFD-F528-7F82CC7FB5F9}"/>
              </a:ext>
            </a:extLst>
          </p:cNvPr>
          <p:cNvPicPr>
            <a:picLocks noChangeAspect="1"/>
          </p:cNvPicPr>
          <p:nvPr/>
        </p:nvPicPr>
        <p:blipFill>
          <a:blip r:embed="rId2">
            <a:extLst>
              <a:ext uri="{28A0092B-C50C-407E-A947-70E740481C1C}">
                <a14:useLocalDpi xmlns:a14="http://schemas.microsoft.com/office/drawing/2010/main" val="0"/>
              </a:ext>
            </a:extLst>
          </a:blip>
          <a:srcRect l="34559" t="74811" r="49338" b="3578"/>
          <a:stretch/>
        </p:blipFill>
        <p:spPr>
          <a:xfrm>
            <a:off x="318262" y="4107411"/>
            <a:ext cx="813817" cy="818389"/>
          </a:xfrm>
          <a:prstGeom prst="rect">
            <a:avLst/>
          </a:prstGeom>
        </p:spPr>
      </p:pic>
      <p:sp>
        <p:nvSpPr>
          <p:cNvPr id="9" name="TextBox 8">
            <a:extLst>
              <a:ext uri="{FF2B5EF4-FFF2-40B4-BE49-F238E27FC236}">
                <a16:creationId xmlns:a16="http://schemas.microsoft.com/office/drawing/2014/main" id="{C31ABD7C-DD94-FBFF-2359-6DB37CFCEEFC}"/>
              </a:ext>
            </a:extLst>
          </p:cNvPr>
          <p:cNvSpPr txBox="1"/>
          <p:nvPr/>
        </p:nvSpPr>
        <p:spPr>
          <a:xfrm>
            <a:off x="1348831" y="2116326"/>
            <a:ext cx="6293372" cy="760708"/>
          </a:xfrm>
          <a:prstGeom prst="rect">
            <a:avLst/>
          </a:prstGeom>
        </p:spPr>
        <p:txBody>
          <a:bodyPr vert="horz" wrap="square" lIns="68580" tIns="34290" rIns="68580" bIns="34290" rtlCol="0" anchor="ctr">
            <a:normAutofit/>
          </a:bodyPr>
          <a:lstStyle/>
          <a:p>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FSSC 24000 is the only social certification</a:t>
            </a:r>
            <a:r>
              <a:rPr lang="en-US" sz="1200" dirty="0">
                <a:solidFill>
                  <a:srgbClr val="565758"/>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Scheme currently available that offers the</a:t>
            </a:r>
            <a:r>
              <a:rPr lang="en-US" sz="1200" dirty="0">
                <a:solidFill>
                  <a:srgbClr val="565758"/>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B1503A"/>
                </a:solidFill>
                <a:effectLst/>
                <a:latin typeface="Open Sans" panose="020B0606030504020204" pitchFamily="34" charset="0"/>
                <a:ea typeface="Open Sans" panose="020B0606030504020204" pitchFamily="34" charset="0"/>
                <a:cs typeface="Open Sans" panose="020B0606030504020204" pitchFamily="34" charset="0"/>
              </a:rPr>
              <a:t>ISO approach to addressing human rights,</a:t>
            </a:r>
            <a:r>
              <a:rPr lang="en-US" sz="1200" dirty="0">
                <a:solidFill>
                  <a:srgbClr val="B1503A"/>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B1503A"/>
                </a:solidFill>
                <a:effectLst/>
                <a:latin typeface="Open Sans" panose="020B0606030504020204" pitchFamily="34" charset="0"/>
                <a:ea typeface="Open Sans" panose="020B0606030504020204" pitchFamily="34" charset="0"/>
                <a:cs typeface="Open Sans" panose="020B0606030504020204" pitchFamily="34" charset="0"/>
              </a:rPr>
              <a:t>ethical business conduct, and social topics</a:t>
            </a:r>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Box 9">
            <a:extLst>
              <a:ext uri="{FF2B5EF4-FFF2-40B4-BE49-F238E27FC236}">
                <a16:creationId xmlns:a16="http://schemas.microsoft.com/office/drawing/2014/main" id="{7DBDBA99-E232-64D8-423D-17157492E8C8}"/>
              </a:ext>
            </a:extLst>
          </p:cNvPr>
          <p:cNvSpPr txBox="1"/>
          <p:nvPr/>
        </p:nvSpPr>
        <p:spPr>
          <a:xfrm>
            <a:off x="1348832" y="2932408"/>
            <a:ext cx="6396136" cy="1083564"/>
          </a:xfrm>
          <a:prstGeom prst="rect">
            <a:avLst/>
          </a:prstGeom>
        </p:spPr>
        <p:txBody>
          <a:bodyPr vert="horz" wrap="square" lIns="68580" tIns="34290" rIns="68580" bIns="34290" rtlCol="0" anchor="ctr">
            <a:noAutofit/>
          </a:bodyPr>
          <a:lstStyle/>
          <a:p>
            <a:r>
              <a:rPr lang="en-US" sz="1200" dirty="0">
                <a:solidFill>
                  <a:srgbClr val="B1503A"/>
                </a:solidFill>
                <a:effectLst/>
                <a:latin typeface="Open Sans" panose="020B0606030504020204" pitchFamily="34" charset="0"/>
                <a:ea typeface="Open Sans" panose="020B0606030504020204" pitchFamily="34" charset="0"/>
                <a:cs typeface="Open Sans" panose="020B0606030504020204" pitchFamily="34" charset="0"/>
              </a:rPr>
              <a:t>Through monitoring, measuring, analyzing, and evaluating the management system’s</a:t>
            </a:r>
            <a:r>
              <a:rPr lang="en-US" sz="1200" dirty="0">
                <a:solidFill>
                  <a:srgbClr val="B1503A"/>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B1503A"/>
                </a:solidFill>
                <a:effectLst/>
                <a:latin typeface="Open Sans" panose="020B0606030504020204" pitchFamily="34" charset="0"/>
                <a:ea typeface="Open Sans" panose="020B0606030504020204" pitchFamily="34" charset="0"/>
                <a:cs typeface="Open Sans" panose="020B0606030504020204" pitchFamily="34" charset="0"/>
              </a:rPr>
              <a:t>performance, organizations will be able to obtain the required data to support</a:t>
            </a:r>
            <a:r>
              <a:rPr lang="en-US" sz="1200" dirty="0">
                <a:solidFill>
                  <a:srgbClr val="B1503A"/>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B1503A"/>
                </a:solidFill>
                <a:effectLst/>
                <a:latin typeface="Open Sans" panose="020B0606030504020204" pitchFamily="34" charset="0"/>
                <a:ea typeface="Open Sans" panose="020B0606030504020204" pitchFamily="34" charset="0"/>
                <a:cs typeface="Open Sans" panose="020B0606030504020204" pitchFamily="34" charset="0"/>
              </a:rPr>
              <a:t>transparent and continuous reporting on</a:t>
            </a:r>
            <a:r>
              <a:rPr lang="en-US" sz="1200" dirty="0">
                <a:solidFill>
                  <a:srgbClr val="B1503A"/>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B1503A"/>
                </a:solidFill>
                <a:effectLst/>
                <a:latin typeface="Open Sans" panose="020B0606030504020204" pitchFamily="34" charset="0"/>
                <a:ea typeface="Open Sans" panose="020B0606030504020204" pitchFamily="34" charset="0"/>
                <a:cs typeface="Open Sans" panose="020B0606030504020204" pitchFamily="34" charset="0"/>
              </a:rPr>
              <a:t>sustainability and social performance.</a:t>
            </a:r>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 It covers human rights and social issues</a:t>
            </a:r>
            <a:r>
              <a:rPr lang="en-US" sz="1200" dirty="0">
                <a:solidFill>
                  <a:srgbClr val="565758"/>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in the supply chain (as needed for the Corporate Sustainability Reporting Directive).</a:t>
            </a:r>
          </a:p>
        </p:txBody>
      </p:sp>
      <p:sp>
        <p:nvSpPr>
          <p:cNvPr id="11" name="TextBox 10">
            <a:extLst>
              <a:ext uri="{FF2B5EF4-FFF2-40B4-BE49-F238E27FC236}">
                <a16:creationId xmlns:a16="http://schemas.microsoft.com/office/drawing/2014/main" id="{5D6BFBC5-0616-DB39-5A43-03666BB72D62}"/>
              </a:ext>
            </a:extLst>
          </p:cNvPr>
          <p:cNvSpPr txBox="1"/>
          <p:nvPr/>
        </p:nvSpPr>
        <p:spPr>
          <a:xfrm>
            <a:off x="1348832" y="1068090"/>
            <a:ext cx="6396136" cy="1007597"/>
          </a:xfrm>
          <a:prstGeom prst="rect">
            <a:avLst/>
          </a:prstGeom>
        </p:spPr>
        <p:txBody>
          <a:bodyPr vert="horz" wrap="square" lIns="68580" tIns="34290" rIns="68580" bIns="34290" rtlCol="0" anchor="ctr">
            <a:noAutofit/>
          </a:bodyPr>
          <a:lstStyle/>
          <a:p>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FSSC 24000 provides for integrated, reliable, and appropriate due diligence processes for governing supply chain management.</a:t>
            </a:r>
            <a:r>
              <a:rPr lang="en-US" sz="1200" dirty="0">
                <a:solidFill>
                  <a:srgbClr val="565758"/>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It targets an organization’s social and</a:t>
            </a:r>
            <a:r>
              <a:rPr lang="en-US" sz="1200" dirty="0">
                <a:solidFill>
                  <a:srgbClr val="565758"/>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human rights aspects by setting policies,</a:t>
            </a:r>
            <a:r>
              <a:rPr lang="en-US" sz="1200" dirty="0">
                <a:solidFill>
                  <a:srgbClr val="565758"/>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565758"/>
                </a:solidFill>
                <a:effectLst/>
                <a:latin typeface="Open Sans" panose="020B0606030504020204" pitchFamily="34" charset="0"/>
                <a:ea typeface="Open Sans" panose="020B0606030504020204" pitchFamily="34" charset="0"/>
                <a:cs typeface="Open Sans" panose="020B0606030504020204" pitchFamily="34" charset="0"/>
              </a:rPr>
              <a:t>procedures, and risk assessments on a social management system.</a:t>
            </a:r>
          </a:p>
        </p:txBody>
      </p:sp>
      <p:sp>
        <p:nvSpPr>
          <p:cNvPr id="18" name="Oval 17">
            <a:extLst>
              <a:ext uri="{FF2B5EF4-FFF2-40B4-BE49-F238E27FC236}">
                <a16:creationId xmlns:a16="http://schemas.microsoft.com/office/drawing/2014/main" id="{C4100F53-B0FA-FD53-EC96-E8F8D44FCAD6}"/>
              </a:ext>
            </a:extLst>
          </p:cNvPr>
          <p:cNvSpPr/>
          <p:nvPr/>
        </p:nvSpPr>
        <p:spPr>
          <a:xfrm>
            <a:off x="634902" y="563764"/>
            <a:ext cx="156832" cy="156832"/>
          </a:xfrm>
          <a:prstGeom prst="ellipse">
            <a:avLst/>
          </a:prstGeom>
          <a:solidFill>
            <a:srgbClr val="B1503A"/>
          </a:solidFill>
          <a:ln>
            <a:solidFill>
              <a:srgbClr val="B150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8">
            <a:extLst>
              <a:ext uri="{FF2B5EF4-FFF2-40B4-BE49-F238E27FC236}">
                <a16:creationId xmlns:a16="http://schemas.microsoft.com/office/drawing/2014/main" id="{84A9BD38-FED5-FB3A-0F22-2893999923E1}"/>
              </a:ext>
            </a:extLst>
          </p:cNvPr>
          <p:cNvSpPr/>
          <p:nvPr/>
        </p:nvSpPr>
        <p:spPr>
          <a:xfrm>
            <a:off x="278894" y="2134593"/>
            <a:ext cx="896112" cy="818389"/>
          </a:xfrm>
          <a:prstGeom prst="roundRect">
            <a:avLst/>
          </a:prstGeom>
          <a:solidFill>
            <a:schemeClr val="bg1"/>
          </a:solidFill>
          <a:ln>
            <a:solidFill>
              <a:srgbClr val="B150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lack background with icons&#10;&#10;Description automatically generated">
            <a:extLst>
              <a:ext uri="{FF2B5EF4-FFF2-40B4-BE49-F238E27FC236}">
                <a16:creationId xmlns:a16="http://schemas.microsoft.com/office/drawing/2014/main" id="{2E633B7C-0499-D275-FC38-D80CCF78BF87}"/>
              </a:ext>
            </a:extLst>
          </p:cNvPr>
          <p:cNvPicPr>
            <a:picLocks noChangeAspect="1"/>
          </p:cNvPicPr>
          <p:nvPr/>
        </p:nvPicPr>
        <p:blipFill>
          <a:blip r:embed="rId2">
            <a:extLst>
              <a:ext uri="{28A0092B-C50C-407E-A947-70E740481C1C}">
                <a14:useLocalDpi xmlns:a14="http://schemas.microsoft.com/office/drawing/2010/main" val="0"/>
              </a:ext>
            </a:extLst>
          </a:blip>
          <a:srcRect l="34378" t="24079" r="47890" b="57523"/>
          <a:stretch/>
        </p:blipFill>
        <p:spPr>
          <a:xfrm>
            <a:off x="278894" y="2195436"/>
            <a:ext cx="896112" cy="696701"/>
          </a:xfrm>
          <a:prstGeom prst="rect">
            <a:avLst/>
          </a:prstGeom>
        </p:spPr>
      </p:pic>
      <p:sp>
        <p:nvSpPr>
          <p:cNvPr id="20" name="Rounded Rectangle 19">
            <a:extLst>
              <a:ext uri="{FF2B5EF4-FFF2-40B4-BE49-F238E27FC236}">
                <a16:creationId xmlns:a16="http://schemas.microsoft.com/office/drawing/2014/main" id="{55C4F9C5-1AD9-C8BE-8F87-0A866A2A0D10}"/>
              </a:ext>
            </a:extLst>
          </p:cNvPr>
          <p:cNvSpPr/>
          <p:nvPr/>
        </p:nvSpPr>
        <p:spPr>
          <a:xfrm>
            <a:off x="278893" y="3085281"/>
            <a:ext cx="896112" cy="818389"/>
          </a:xfrm>
          <a:prstGeom prst="roundRect">
            <a:avLst/>
          </a:prstGeom>
          <a:solidFill>
            <a:schemeClr val="bg1"/>
          </a:solidFill>
          <a:ln>
            <a:solidFill>
              <a:srgbClr val="B150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black background with icons&#10;&#10;Description automatically generated">
            <a:extLst>
              <a:ext uri="{FF2B5EF4-FFF2-40B4-BE49-F238E27FC236}">
                <a16:creationId xmlns:a16="http://schemas.microsoft.com/office/drawing/2014/main" id="{D9B63938-BCAA-9FC5-C6CE-72BDA08CFB4C}"/>
              </a:ext>
            </a:extLst>
          </p:cNvPr>
          <p:cNvPicPr>
            <a:picLocks noChangeAspect="1"/>
          </p:cNvPicPr>
          <p:nvPr/>
        </p:nvPicPr>
        <p:blipFill>
          <a:blip r:embed="rId2">
            <a:extLst>
              <a:ext uri="{28A0092B-C50C-407E-A947-70E740481C1C}">
                <a14:useLocalDpi xmlns:a14="http://schemas.microsoft.com/office/drawing/2010/main" val="0"/>
              </a:ext>
            </a:extLst>
          </a:blip>
          <a:srcRect l="35464" t="48345" r="48433" b="30044"/>
          <a:stretch/>
        </p:blipFill>
        <p:spPr>
          <a:xfrm>
            <a:off x="338328" y="3085280"/>
            <a:ext cx="813817" cy="818389"/>
          </a:xfrm>
          <a:prstGeom prst="rect">
            <a:avLst/>
          </a:prstGeom>
        </p:spPr>
      </p:pic>
    </p:spTree>
    <p:extLst>
      <p:ext uri="{BB962C8B-B14F-4D97-AF65-F5344CB8AC3E}">
        <p14:creationId xmlns:p14="http://schemas.microsoft.com/office/powerpoint/2010/main" val="3529540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2CB87-FA21-6A5B-8FFF-0D6AEC0FEB0E}"/>
              </a:ext>
            </a:extLst>
          </p:cNvPr>
          <p:cNvSpPr>
            <a:spLocks noGrp="1"/>
          </p:cNvSpPr>
          <p:nvPr>
            <p:ph type="title"/>
          </p:nvPr>
        </p:nvSpPr>
        <p:spPr/>
        <p:txBody>
          <a:bodyPr/>
          <a:lstStyle/>
          <a:p>
            <a:r>
              <a:rPr lang="en-US">
                <a:latin typeface="AvenirNext LT Pro Bold" panose="020B0504020202020204" pitchFamily="34" charset="77"/>
              </a:rPr>
              <a:t>DOING WHAT IS RIGHT</a:t>
            </a:r>
            <a:endParaRPr lang="en-US"/>
          </a:p>
        </p:txBody>
      </p:sp>
      <p:pic>
        <p:nvPicPr>
          <p:cNvPr id="4" name="Picture 3" descr="A circular diagram of different colored squares&#10;&#10;Description automatically generated with medium confidence">
            <a:extLst>
              <a:ext uri="{FF2B5EF4-FFF2-40B4-BE49-F238E27FC236}">
                <a16:creationId xmlns:a16="http://schemas.microsoft.com/office/drawing/2014/main" id="{E4705C38-C79A-99A2-5177-DDF76D6875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4132" y="1165415"/>
            <a:ext cx="5230101" cy="3484428"/>
          </a:xfrm>
          <a:prstGeom prst="rect">
            <a:avLst/>
          </a:prstGeom>
        </p:spPr>
      </p:pic>
      <p:pic>
        <p:nvPicPr>
          <p:cNvPr id="5" name="Picture 4" descr="A blue background with a white sign and a glass with water&#10;&#10;Description automatically generated">
            <a:extLst>
              <a:ext uri="{FF2B5EF4-FFF2-40B4-BE49-F238E27FC236}">
                <a16:creationId xmlns:a16="http://schemas.microsoft.com/office/drawing/2014/main" id="{A5F17CFC-60E8-B097-6E8A-EE57C65E57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82475" y="3566058"/>
            <a:ext cx="969730" cy="969730"/>
          </a:xfrm>
          <a:prstGeom prst="rect">
            <a:avLst/>
          </a:prstGeom>
        </p:spPr>
      </p:pic>
      <p:pic>
        <p:nvPicPr>
          <p:cNvPr id="6" name="Picture 5" descr="A bird with a branch on a mallet&#10;&#10;Description automatically generated">
            <a:extLst>
              <a:ext uri="{FF2B5EF4-FFF2-40B4-BE49-F238E27FC236}">
                <a16:creationId xmlns:a16="http://schemas.microsoft.com/office/drawing/2014/main" id="{1D1D9BC9-5392-E2A3-2BDF-8C89C6B53B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7609" y="1253328"/>
            <a:ext cx="969730" cy="969730"/>
          </a:xfrm>
          <a:prstGeom prst="rect">
            <a:avLst/>
          </a:prstGeom>
        </p:spPr>
      </p:pic>
      <p:pic>
        <p:nvPicPr>
          <p:cNvPr id="7" name="Picture 6" descr="A yellow sign with white text&#10;&#10;Description automatically generated">
            <a:extLst>
              <a:ext uri="{FF2B5EF4-FFF2-40B4-BE49-F238E27FC236}">
                <a16:creationId xmlns:a16="http://schemas.microsoft.com/office/drawing/2014/main" id="{11947EC6-7A68-96DE-458E-B38A6C719F5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7609" y="2409692"/>
            <a:ext cx="969731" cy="969731"/>
          </a:xfrm>
          <a:prstGeom prst="rect">
            <a:avLst/>
          </a:prstGeom>
        </p:spPr>
      </p:pic>
      <p:pic>
        <p:nvPicPr>
          <p:cNvPr id="8" name="Picture 7" descr="A pink background with white text and white arrows&#10;&#10;Description automatically generated">
            <a:extLst>
              <a:ext uri="{FF2B5EF4-FFF2-40B4-BE49-F238E27FC236}">
                <a16:creationId xmlns:a16="http://schemas.microsoft.com/office/drawing/2014/main" id="{BE62CD2B-CD99-A33A-D5FC-A75EC4017FD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609" y="3575881"/>
            <a:ext cx="969730" cy="969730"/>
          </a:xfrm>
          <a:prstGeom prst="rect">
            <a:avLst/>
          </a:prstGeom>
        </p:spPr>
      </p:pic>
      <p:pic>
        <p:nvPicPr>
          <p:cNvPr id="9" name="Picture 8" descr="A green square with white text and a heart and a line of pulse&#10;&#10;Description automatically generated">
            <a:extLst>
              <a:ext uri="{FF2B5EF4-FFF2-40B4-BE49-F238E27FC236}">
                <a16:creationId xmlns:a16="http://schemas.microsoft.com/office/drawing/2014/main" id="{D9704603-5CB5-904E-DE0E-B6A47FF2D7D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73092" y="1253328"/>
            <a:ext cx="969730" cy="969730"/>
          </a:xfrm>
          <a:prstGeom prst="rect">
            <a:avLst/>
          </a:prstGeom>
        </p:spPr>
      </p:pic>
      <p:pic>
        <p:nvPicPr>
          <p:cNvPr id="10" name="Picture 9" descr="A red background with white text and a graph&#10;&#10;Description automatically generated">
            <a:extLst>
              <a:ext uri="{FF2B5EF4-FFF2-40B4-BE49-F238E27FC236}">
                <a16:creationId xmlns:a16="http://schemas.microsoft.com/office/drawing/2014/main" id="{A08EDC02-886F-38B1-750B-3E853EDAB6E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14010" y="3571191"/>
            <a:ext cx="969731" cy="969731"/>
          </a:xfrm>
          <a:prstGeom prst="rect">
            <a:avLst/>
          </a:prstGeom>
        </p:spPr>
      </p:pic>
      <p:pic>
        <p:nvPicPr>
          <p:cNvPr id="11" name="Picture 10" descr="A red sign with a book and a pencil&#10;&#10;Description automatically generated">
            <a:extLst>
              <a:ext uri="{FF2B5EF4-FFF2-40B4-BE49-F238E27FC236}">
                <a16:creationId xmlns:a16="http://schemas.microsoft.com/office/drawing/2014/main" id="{02BD14DD-65A8-095E-5CD6-BC00BFCEACD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82475" y="1253327"/>
            <a:ext cx="969731" cy="969731"/>
          </a:xfrm>
          <a:prstGeom prst="rect">
            <a:avLst/>
          </a:prstGeom>
        </p:spPr>
      </p:pic>
      <p:pic>
        <p:nvPicPr>
          <p:cNvPr id="12" name="Picture 11" descr="A red sign with white text and symbols&#10;&#10;Description automatically generated">
            <a:extLst>
              <a:ext uri="{FF2B5EF4-FFF2-40B4-BE49-F238E27FC236}">
                <a16:creationId xmlns:a16="http://schemas.microsoft.com/office/drawing/2014/main" id="{A7555105-FF17-7CA3-CA27-6CE49C2F3CE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82475" y="2409693"/>
            <a:ext cx="969730" cy="969730"/>
          </a:xfrm>
          <a:prstGeom prst="rect">
            <a:avLst/>
          </a:prstGeom>
        </p:spPr>
      </p:pic>
    </p:spTree>
    <p:extLst>
      <p:ext uri="{BB962C8B-B14F-4D97-AF65-F5344CB8AC3E}">
        <p14:creationId xmlns:p14="http://schemas.microsoft.com/office/powerpoint/2010/main" val="36555960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298B7-1C5F-9307-397E-FB351A5FE803}"/>
              </a:ext>
            </a:extLst>
          </p:cNvPr>
          <p:cNvSpPr>
            <a:spLocks noGrp="1"/>
          </p:cNvSpPr>
          <p:nvPr>
            <p:ph type="title"/>
          </p:nvPr>
        </p:nvSpPr>
        <p:spPr>
          <a:xfrm>
            <a:off x="713319" y="364068"/>
            <a:ext cx="7178401" cy="558800"/>
          </a:xfrm>
        </p:spPr>
        <p:txBody>
          <a:bodyPr anchor="ctr">
            <a:normAutofit/>
          </a:bodyPr>
          <a:lstStyle/>
          <a:p>
            <a:r>
              <a:rPr lang="en-US" dirty="0"/>
              <a:t>IN SUMMARY</a:t>
            </a:r>
          </a:p>
        </p:txBody>
      </p:sp>
      <p:pic>
        <p:nvPicPr>
          <p:cNvPr id="5" name="Content Placeholder 4">
            <a:extLst>
              <a:ext uri="{FF2B5EF4-FFF2-40B4-BE49-F238E27FC236}">
                <a16:creationId xmlns:a16="http://schemas.microsoft.com/office/drawing/2014/main" id="{BCB5DEBD-ECA3-CDB8-BDC5-6C8A5AEA6734}"/>
              </a:ext>
            </a:extLst>
          </p:cNvPr>
          <p:cNvPicPr>
            <a:picLocks noGrp="1" noChangeAspect="1"/>
          </p:cNvPicPr>
          <p:nvPr>
            <p:ph idx="1"/>
          </p:nvPr>
        </p:nvPicPr>
        <p:blipFill>
          <a:blip r:embed="rId3"/>
          <a:stretch>
            <a:fillRect/>
          </a:stretch>
        </p:blipFill>
        <p:spPr>
          <a:xfrm>
            <a:off x="712788" y="1450582"/>
            <a:ext cx="7172325" cy="3005923"/>
          </a:xfrm>
          <a:prstGeom prst="rect">
            <a:avLst/>
          </a:prstGeom>
        </p:spPr>
      </p:pic>
    </p:spTree>
    <p:extLst>
      <p:ext uri="{BB962C8B-B14F-4D97-AF65-F5344CB8AC3E}">
        <p14:creationId xmlns:p14="http://schemas.microsoft.com/office/powerpoint/2010/main" val="11071777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298B7-1C5F-9307-397E-FB351A5FE803}"/>
              </a:ext>
            </a:extLst>
          </p:cNvPr>
          <p:cNvSpPr>
            <a:spLocks noGrp="1"/>
          </p:cNvSpPr>
          <p:nvPr>
            <p:ph type="title"/>
          </p:nvPr>
        </p:nvSpPr>
        <p:spPr>
          <a:xfrm>
            <a:off x="713319" y="364068"/>
            <a:ext cx="7178401" cy="558800"/>
          </a:xfrm>
        </p:spPr>
        <p:txBody>
          <a:bodyPr anchor="ctr">
            <a:normAutofit/>
          </a:bodyPr>
          <a:lstStyle/>
          <a:p>
            <a:r>
              <a:rPr lang="en-US" dirty="0"/>
              <a:t>HOW TO OBTAIN CERTIFICATION</a:t>
            </a:r>
          </a:p>
        </p:txBody>
      </p:sp>
      <p:pic>
        <p:nvPicPr>
          <p:cNvPr id="9" name="Content Placeholder 8">
            <a:extLst>
              <a:ext uri="{FF2B5EF4-FFF2-40B4-BE49-F238E27FC236}">
                <a16:creationId xmlns:a16="http://schemas.microsoft.com/office/drawing/2014/main" id="{C070998C-4F9B-8B97-68D9-9C8EBA13CF3E}"/>
              </a:ext>
            </a:extLst>
          </p:cNvPr>
          <p:cNvPicPr>
            <a:picLocks noGrp="1" noChangeAspect="1"/>
          </p:cNvPicPr>
          <p:nvPr>
            <p:ph idx="1"/>
          </p:nvPr>
        </p:nvPicPr>
        <p:blipFill>
          <a:blip r:embed="rId3"/>
          <a:stretch>
            <a:fillRect/>
          </a:stretch>
        </p:blipFill>
        <p:spPr>
          <a:xfrm>
            <a:off x="921834" y="1087514"/>
            <a:ext cx="5620829" cy="3863627"/>
          </a:xfrm>
          <a:prstGeom prst="rect">
            <a:avLst/>
          </a:prstGeom>
        </p:spPr>
      </p:pic>
      <p:pic>
        <p:nvPicPr>
          <p:cNvPr id="3" name="Picture 2" descr="A picture containing graphical user interface&#10;&#10;Description automatically generated">
            <a:hlinkClick r:id="rId4"/>
            <a:extLst>
              <a:ext uri="{FF2B5EF4-FFF2-40B4-BE49-F238E27FC236}">
                <a16:creationId xmlns:a16="http://schemas.microsoft.com/office/drawing/2014/main" id="{8840BE43-A3AD-E85B-4C2F-41CBA0F19F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21697" y="1240366"/>
            <a:ext cx="1879971" cy="2662767"/>
          </a:xfrm>
          <a:prstGeom prst="rect">
            <a:avLst/>
          </a:prstGeom>
          <a:ln>
            <a:solidFill>
              <a:schemeClr val="tx1"/>
            </a:solidFill>
          </a:ln>
        </p:spPr>
      </p:pic>
    </p:spTree>
    <p:extLst>
      <p:ext uri="{BB962C8B-B14F-4D97-AF65-F5344CB8AC3E}">
        <p14:creationId xmlns:p14="http://schemas.microsoft.com/office/powerpoint/2010/main" val="13500211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3680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7D589-0E0E-6F48-3F06-C1296CCBE1CE}"/>
              </a:ext>
            </a:extLst>
          </p:cNvPr>
          <p:cNvSpPr>
            <a:spLocks noGrp="1"/>
          </p:cNvSpPr>
          <p:nvPr>
            <p:ph type="title"/>
          </p:nvPr>
        </p:nvSpPr>
        <p:spPr/>
        <p:txBody>
          <a:bodyPr/>
          <a:lstStyle/>
          <a:p>
            <a:r>
              <a:rPr lang="en-US"/>
              <a:t>FSSC branded house </a:t>
            </a:r>
          </a:p>
        </p:txBody>
      </p:sp>
      <p:pic>
        <p:nvPicPr>
          <p:cNvPr id="4" name="Picture 3" descr="A blue and white triangle shaped sign&#10;&#10;Description automatically generated">
            <a:extLst>
              <a:ext uri="{FF2B5EF4-FFF2-40B4-BE49-F238E27FC236}">
                <a16:creationId xmlns:a16="http://schemas.microsoft.com/office/drawing/2014/main" id="{51432637-A670-B447-2FC1-4D5C08BAEF04}"/>
              </a:ext>
            </a:extLst>
          </p:cNvPr>
          <p:cNvPicPr>
            <a:picLocks noChangeAspect="1"/>
          </p:cNvPicPr>
          <p:nvPr/>
        </p:nvPicPr>
        <p:blipFill>
          <a:blip r:embed="rId3">
            <a:extLst>
              <a:ext uri="{28A0092B-C50C-407E-A947-70E740481C1C}">
                <a14:useLocalDpi xmlns:a14="http://schemas.microsoft.com/office/drawing/2010/main" val="0"/>
              </a:ext>
            </a:extLst>
          </a:blip>
          <a:srcRect l="22426" t="6997" r="27385" b="12960"/>
          <a:stretch/>
        </p:blipFill>
        <p:spPr>
          <a:xfrm>
            <a:off x="1610687" y="1156815"/>
            <a:ext cx="4672667" cy="3547209"/>
          </a:xfrm>
          <a:prstGeom prst="rect">
            <a:avLst/>
          </a:prstGeom>
        </p:spPr>
      </p:pic>
    </p:spTree>
    <p:extLst>
      <p:ext uri="{BB962C8B-B14F-4D97-AF65-F5344CB8AC3E}">
        <p14:creationId xmlns:p14="http://schemas.microsoft.com/office/powerpoint/2010/main" val="2982127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77D4A-A643-4798-A6EF-C2D238FFBAA3}"/>
              </a:ext>
            </a:extLst>
          </p:cNvPr>
          <p:cNvSpPr>
            <a:spLocks noGrp="1"/>
          </p:cNvSpPr>
          <p:nvPr>
            <p:ph type="title"/>
          </p:nvPr>
        </p:nvSpPr>
        <p:spPr/>
        <p:txBody>
          <a:bodyPr/>
          <a:lstStyle/>
          <a:p>
            <a:r>
              <a:rPr lang="en-US" dirty="0"/>
              <a:t>the social risk component</a:t>
            </a:r>
          </a:p>
        </p:txBody>
      </p:sp>
    </p:spTree>
    <p:extLst>
      <p:ext uri="{BB962C8B-B14F-4D97-AF65-F5344CB8AC3E}">
        <p14:creationId xmlns:p14="http://schemas.microsoft.com/office/powerpoint/2010/main" val="199771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96D4C-FB50-F156-67C2-AB112F9872B0}"/>
              </a:ext>
            </a:extLst>
          </p:cNvPr>
          <p:cNvSpPr>
            <a:spLocks noGrp="1"/>
          </p:cNvSpPr>
          <p:nvPr>
            <p:ph type="title"/>
          </p:nvPr>
        </p:nvSpPr>
        <p:spPr>
          <a:xfrm>
            <a:off x="720043" y="456964"/>
            <a:ext cx="7178401" cy="558800"/>
          </a:xfrm>
        </p:spPr>
        <p:txBody>
          <a:bodyPr>
            <a:noAutofit/>
          </a:bodyPr>
          <a:lstStyle/>
          <a:p>
            <a:r>
              <a:rPr lang="en-US" sz="2400" dirty="0"/>
              <a:t>HOW Social risks inside and outside of your company may affect you </a:t>
            </a:r>
            <a:br>
              <a:rPr lang="en-US" sz="2400" dirty="0"/>
            </a:br>
            <a:endParaRPr lang="en-US" sz="2400" dirty="0"/>
          </a:p>
        </p:txBody>
      </p:sp>
      <p:pic>
        <p:nvPicPr>
          <p:cNvPr id="7" name="Picture 6">
            <a:extLst>
              <a:ext uri="{FF2B5EF4-FFF2-40B4-BE49-F238E27FC236}">
                <a16:creationId xmlns:a16="http://schemas.microsoft.com/office/drawing/2014/main" id="{1669ABAE-27DA-9F73-1350-8EAC831E4BD8}"/>
              </a:ext>
            </a:extLst>
          </p:cNvPr>
          <p:cNvPicPr>
            <a:picLocks noChangeAspect="1"/>
          </p:cNvPicPr>
          <p:nvPr/>
        </p:nvPicPr>
        <p:blipFill>
          <a:blip r:embed="rId4"/>
          <a:stretch>
            <a:fillRect/>
          </a:stretch>
        </p:blipFill>
        <p:spPr>
          <a:xfrm>
            <a:off x="594267" y="1088502"/>
            <a:ext cx="2390683" cy="1619373"/>
          </a:xfrm>
          <a:prstGeom prst="rect">
            <a:avLst/>
          </a:prstGeom>
        </p:spPr>
      </p:pic>
      <p:pic>
        <p:nvPicPr>
          <p:cNvPr id="3" name="Picture 2">
            <a:extLst>
              <a:ext uri="{FF2B5EF4-FFF2-40B4-BE49-F238E27FC236}">
                <a16:creationId xmlns:a16="http://schemas.microsoft.com/office/drawing/2014/main" id="{DB4D887B-B001-B688-B736-548C0F4ECB56}"/>
              </a:ext>
            </a:extLst>
          </p:cNvPr>
          <p:cNvPicPr>
            <a:picLocks noChangeAspect="1"/>
          </p:cNvPicPr>
          <p:nvPr/>
        </p:nvPicPr>
        <p:blipFill rotWithShape="1">
          <a:blip r:embed="rId5"/>
          <a:srcRect l="64" b="9700"/>
          <a:stretch/>
        </p:blipFill>
        <p:spPr>
          <a:xfrm>
            <a:off x="1994538" y="2145642"/>
            <a:ext cx="2442991" cy="1654805"/>
          </a:xfrm>
          <a:prstGeom prst="rect">
            <a:avLst/>
          </a:prstGeom>
          <a:ln>
            <a:solidFill>
              <a:schemeClr val="bg1"/>
            </a:solidFill>
          </a:ln>
        </p:spPr>
      </p:pic>
      <p:sp>
        <p:nvSpPr>
          <p:cNvPr id="5" name="TextBox 4">
            <a:extLst>
              <a:ext uri="{FF2B5EF4-FFF2-40B4-BE49-F238E27FC236}">
                <a16:creationId xmlns:a16="http://schemas.microsoft.com/office/drawing/2014/main" id="{21429840-52D4-E2AB-DB8F-733049D34FB4}"/>
              </a:ext>
            </a:extLst>
          </p:cNvPr>
          <p:cNvSpPr txBox="1"/>
          <p:nvPr/>
        </p:nvSpPr>
        <p:spPr>
          <a:xfrm>
            <a:off x="2984950" y="1334826"/>
            <a:ext cx="3917533" cy="430887"/>
          </a:xfrm>
          <a:prstGeom prst="rect">
            <a:avLst/>
          </a:prstGeom>
          <a:noFill/>
        </p:spPr>
        <p:txBody>
          <a:bodyPr wrap="square">
            <a:spAutoFit/>
          </a:bodyPr>
          <a:lstStyle/>
          <a:p>
            <a:r>
              <a:rPr lang="en-US" sz="1050" dirty="0">
                <a:latin typeface="Open Sans" panose="020B0606030504020204" pitchFamily="34" charset="0"/>
                <a:ea typeface="Open Sans" panose="020B0606030504020204" pitchFamily="34" charset="0"/>
                <a:cs typeface="Open Sans" panose="020B0606030504020204" pitchFamily="34" charset="0"/>
              </a:rPr>
              <a:t>Conditions of work within factories (Foxconn – 2010), or harassment (France Telecom 2009)</a:t>
            </a:r>
          </a:p>
        </p:txBody>
      </p:sp>
      <p:sp>
        <p:nvSpPr>
          <p:cNvPr id="8" name="TextBox 7">
            <a:extLst>
              <a:ext uri="{FF2B5EF4-FFF2-40B4-BE49-F238E27FC236}">
                <a16:creationId xmlns:a16="http://schemas.microsoft.com/office/drawing/2014/main" id="{0115439D-D74E-5637-FC04-50886A4D8D12}"/>
              </a:ext>
            </a:extLst>
          </p:cNvPr>
          <p:cNvSpPr txBox="1"/>
          <p:nvPr/>
        </p:nvSpPr>
        <p:spPr>
          <a:xfrm>
            <a:off x="4466200" y="2342255"/>
            <a:ext cx="2683262" cy="415498"/>
          </a:xfrm>
          <a:prstGeom prst="rect">
            <a:avLst/>
          </a:prstGeom>
          <a:noFill/>
        </p:spPr>
        <p:txBody>
          <a:bodyPr wrap="square">
            <a:spAutoFit/>
          </a:bodyPr>
          <a:lstStyle>
            <a:defPPr>
              <a:defRPr lang="en-US"/>
            </a:defPPr>
          </a:lstStyle>
          <a:p>
            <a:r>
              <a:rPr lang="en-US" sz="1050" dirty="0">
                <a:latin typeface="Open Sans" panose="020B0606030504020204" pitchFamily="34" charset="0"/>
                <a:ea typeface="Open Sans" panose="020B0606030504020204" pitchFamily="34" charset="0"/>
                <a:cs typeface="Open Sans" panose="020B0606030504020204" pitchFamily="34" charset="0"/>
              </a:rPr>
              <a:t>Building safety in the supply chain (Rana Plaza disaster - 2013) </a:t>
            </a:r>
          </a:p>
        </p:txBody>
      </p:sp>
      <p:pic>
        <p:nvPicPr>
          <p:cNvPr id="1026" name="Picture 2">
            <a:extLst>
              <a:ext uri="{FF2B5EF4-FFF2-40B4-BE49-F238E27FC236}">
                <a16:creationId xmlns:a16="http://schemas.microsoft.com/office/drawing/2014/main" id="{838A0208-ADEA-7316-3FB0-200BA78B3624}"/>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4852" b="3324"/>
          <a:stretch/>
        </p:blipFill>
        <p:spPr bwMode="auto">
          <a:xfrm>
            <a:off x="3982926" y="3298725"/>
            <a:ext cx="2301351" cy="1558862"/>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C562D18-1764-B0B4-9129-660E3CF5AADA}"/>
              </a:ext>
            </a:extLst>
          </p:cNvPr>
          <p:cNvSpPr txBox="1"/>
          <p:nvPr/>
        </p:nvSpPr>
        <p:spPr>
          <a:xfrm>
            <a:off x="6284277" y="3662658"/>
            <a:ext cx="2301351" cy="415498"/>
          </a:xfrm>
          <a:prstGeom prst="rect">
            <a:avLst/>
          </a:prstGeom>
          <a:noFill/>
        </p:spPr>
        <p:txBody>
          <a:bodyPr wrap="square">
            <a:spAutoFit/>
          </a:bodyPr>
          <a:lstStyle>
            <a:defPPr>
              <a:defRPr lang="en-US"/>
            </a:defPPr>
            <a:lvl1pPr>
              <a:defRPr/>
            </a:lvl1pPr>
          </a:lstStyle>
          <a:p>
            <a:r>
              <a:rPr lang="fr-CH" sz="1050" dirty="0" err="1">
                <a:latin typeface="Open Sans" panose="020B0606030504020204" pitchFamily="34" charset="0"/>
                <a:ea typeface="Open Sans" panose="020B0606030504020204" pitchFamily="34" charset="0"/>
                <a:cs typeface="Open Sans" panose="020B0606030504020204" pitchFamily="34" charset="0"/>
              </a:rPr>
              <a:t>Forced</a:t>
            </a:r>
            <a:r>
              <a:rPr lang="fr-CH" sz="1050" dirty="0">
                <a:latin typeface="Open Sans" panose="020B0606030504020204" pitchFamily="34" charset="0"/>
                <a:ea typeface="Open Sans" panose="020B0606030504020204" pitchFamily="34" charset="0"/>
                <a:cs typeface="Open Sans" panose="020B0606030504020204" pitchFamily="34" charset="0"/>
              </a:rPr>
              <a:t> </a:t>
            </a:r>
            <a:r>
              <a:rPr lang="fr-CH" sz="1050" dirty="0" err="1">
                <a:latin typeface="Open Sans" panose="020B0606030504020204" pitchFamily="34" charset="0"/>
                <a:ea typeface="Open Sans" panose="020B0606030504020204" pitchFamily="34" charset="0"/>
                <a:cs typeface="Open Sans" panose="020B0606030504020204" pitchFamily="34" charset="0"/>
              </a:rPr>
              <a:t>labor</a:t>
            </a:r>
            <a:r>
              <a:rPr lang="fr-CH" sz="1050" dirty="0">
                <a:latin typeface="Open Sans" panose="020B0606030504020204" pitchFamily="34" charset="0"/>
                <a:ea typeface="Open Sans" panose="020B0606030504020204" pitchFamily="34" charset="0"/>
                <a:cs typeface="Open Sans" panose="020B0606030504020204" pitchFamily="34" charset="0"/>
              </a:rPr>
              <a:t> in the </a:t>
            </a:r>
            <a:r>
              <a:rPr lang="fr-CH" sz="1050" dirty="0" err="1">
                <a:latin typeface="Open Sans" panose="020B0606030504020204" pitchFamily="34" charset="0"/>
                <a:ea typeface="Open Sans" panose="020B0606030504020204" pitchFamily="34" charset="0"/>
                <a:cs typeface="Open Sans" panose="020B0606030504020204" pitchFamily="34" charset="0"/>
              </a:rPr>
              <a:t>supply</a:t>
            </a:r>
            <a:r>
              <a:rPr lang="fr-CH" sz="1050" dirty="0">
                <a:latin typeface="Open Sans" panose="020B0606030504020204" pitchFamily="34" charset="0"/>
                <a:ea typeface="Open Sans" panose="020B0606030504020204" pitchFamily="34" charset="0"/>
                <a:cs typeface="Open Sans" panose="020B0606030504020204" pitchFamily="34" charset="0"/>
              </a:rPr>
              <a:t> </a:t>
            </a:r>
            <a:r>
              <a:rPr lang="fr-CH" sz="1050" dirty="0" err="1">
                <a:latin typeface="Open Sans" panose="020B0606030504020204" pitchFamily="34" charset="0"/>
                <a:ea typeface="Open Sans" panose="020B0606030504020204" pitchFamily="34" charset="0"/>
                <a:cs typeface="Open Sans" panose="020B0606030504020204" pitchFamily="34" charset="0"/>
              </a:rPr>
              <a:t>chain</a:t>
            </a:r>
            <a:endParaRPr lang="fr-CH" sz="1050" dirty="0">
              <a:latin typeface="Open Sans" panose="020B0606030504020204" pitchFamily="34" charset="0"/>
              <a:ea typeface="Open Sans" panose="020B0606030504020204" pitchFamily="34" charset="0"/>
              <a:cs typeface="Open Sans" panose="020B0606030504020204" pitchFamily="34" charset="0"/>
            </a:endParaRPr>
          </a:p>
          <a:p>
            <a:r>
              <a:rPr lang="fr-CH" sz="1050" dirty="0">
                <a:latin typeface="Open Sans" panose="020B0606030504020204" pitchFamily="34" charset="0"/>
                <a:ea typeface="Open Sans" panose="020B0606030504020204" pitchFamily="34" charset="0"/>
                <a:cs typeface="Open Sans" panose="020B0606030504020204" pitchFamily="34" charset="0"/>
              </a:rPr>
              <a:t>(</a:t>
            </a:r>
            <a:r>
              <a:rPr lang="fr-CH" sz="1050" dirty="0" err="1">
                <a:latin typeface="Open Sans" panose="020B0606030504020204" pitchFamily="34" charset="0"/>
                <a:ea typeface="Open Sans" panose="020B0606030504020204" pitchFamily="34" charset="0"/>
                <a:cs typeface="Open Sans" panose="020B0606030504020204" pitchFamily="34" charset="0"/>
              </a:rPr>
              <a:t>Fisheries</a:t>
            </a:r>
            <a:r>
              <a:rPr lang="fr-CH" sz="1050" dirty="0">
                <a:latin typeface="Open Sans" panose="020B0606030504020204" pitchFamily="34" charset="0"/>
                <a:ea typeface="Open Sans" panose="020B0606030504020204" pitchFamily="34" charset="0"/>
                <a:cs typeface="Open Sans" panose="020B0606030504020204" pitchFamily="34" charset="0"/>
              </a:rPr>
              <a:t> in </a:t>
            </a:r>
            <a:r>
              <a:rPr lang="fr-CH" sz="1050" dirty="0" err="1">
                <a:latin typeface="Open Sans" panose="020B0606030504020204" pitchFamily="34" charset="0"/>
                <a:ea typeface="Open Sans" panose="020B0606030504020204" pitchFamily="34" charset="0"/>
                <a:cs typeface="Open Sans" panose="020B0606030504020204" pitchFamily="34" charset="0"/>
              </a:rPr>
              <a:t>Thailand</a:t>
            </a:r>
            <a:r>
              <a:rPr lang="fr-CH" sz="1050" dirty="0">
                <a:latin typeface="Open Sans" panose="020B0606030504020204" pitchFamily="34" charset="0"/>
                <a:ea typeface="Open Sans" panose="020B0606030504020204" pitchFamily="34" charset="0"/>
                <a:cs typeface="Open Sans" panose="020B0606030504020204" pitchFamily="34" charset="0"/>
              </a:rPr>
              <a:t> - 2014)</a:t>
            </a:r>
            <a:endParaRPr lang="en-US" sz="105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126FBABB-090C-79D0-776A-485AAF230543}"/>
              </a:ext>
            </a:extLst>
          </p:cNvPr>
          <p:cNvSpPr txBox="1"/>
          <p:nvPr/>
        </p:nvSpPr>
        <p:spPr>
          <a:xfrm>
            <a:off x="526473" y="4253345"/>
            <a:ext cx="2175163" cy="519546"/>
          </a:xfrm>
          <a:prstGeom prst="rect">
            <a:avLst/>
          </a:prstGeom>
          <a:solidFill>
            <a:srgbClr val="B1503A"/>
          </a:solidFill>
        </p:spPr>
        <p:txBody>
          <a:bodyPr vert="horz" wrap="square" lIns="68580" tIns="34290" rIns="68580" bIns="34290" rtlCol="0" anchor="ctr">
            <a:normAutofit fontScale="92500"/>
          </a:bodyPr>
          <a:lstStyle/>
          <a:p>
            <a:pPr algn="l"/>
            <a:r>
              <a:rPr lang="en-US" sz="1500" b="1" dirty="0">
                <a:solidFill>
                  <a:schemeClr val="bg1"/>
                </a:solidFill>
                <a:latin typeface="Avenir Next Bold"/>
                <a:cs typeface="Avenir Next Bold"/>
              </a:rPr>
              <a:t>Resulted in new legislations and regulations</a:t>
            </a:r>
            <a:endParaRPr lang="en-NL" sz="1500" b="1" dirty="0">
              <a:solidFill>
                <a:schemeClr val="bg1"/>
              </a:solidFill>
              <a:latin typeface="Avenir Next Bold"/>
              <a:cs typeface="Avenir Next Bold"/>
            </a:endParaRPr>
          </a:p>
        </p:txBody>
      </p:sp>
    </p:spTree>
    <p:custDataLst>
      <p:tags r:id="rId1"/>
    </p:custDataLst>
    <p:extLst>
      <p:ext uri="{BB962C8B-B14F-4D97-AF65-F5344CB8AC3E}">
        <p14:creationId xmlns:p14="http://schemas.microsoft.com/office/powerpoint/2010/main" val="39032856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0AFE6-BFF1-C797-B5C6-19E677BBCD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B995F4-D0F0-A10D-12C8-618C89DF8E8A}"/>
              </a:ext>
            </a:extLst>
          </p:cNvPr>
          <p:cNvSpPr>
            <a:spLocks noGrp="1"/>
          </p:cNvSpPr>
          <p:nvPr>
            <p:ph type="title"/>
          </p:nvPr>
        </p:nvSpPr>
        <p:spPr/>
        <p:txBody>
          <a:bodyPr>
            <a:normAutofit/>
          </a:bodyPr>
          <a:lstStyle/>
          <a:p>
            <a:r>
              <a:rPr lang="fr-CH" dirty="0" err="1"/>
              <a:t>Facts</a:t>
            </a:r>
            <a:r>
              <a:rPr lang="fr-CH" dirty="0"/>
              <a:t> and figures</a:t>
            </a:r>
            <a:endParaRPr lang="en-US" dirty="0"/>
          </a:p>
        </p:txBody>
      </p:sp>
      <p:pic>
        <p:nvPicPr>
          <p:cNvPr id="4" name="Picture 3">
            <a:extLst>
              <a:ext uri="{FF2B5EF4-FFF2-40B4-BE49-F238E27FC236}">
                <a16:creationId xmlns:a16="http://schemas.microsoft.com/office/drawing/2014/main" id="{23902D04-6132-A523-F258-519E0E1CBEFE}"/>
              </a:ext>
            </a:extLst>
          </p:cNvPr>
          <p:cNvPicPr>
            <a:picLocks noChangeAspect="1"/>
          </p:cNvPicPr>
          <p:nvPr/>
        </p:nvPicPr>
        <p:blipFill>
          <a:blip r:embed="rId3"/>
          <a:stretch>
            <a:fillRect/>
          </a:stretch>
        </p:blipFill>
        <p:spPr>
          <a:xfrm>
            <a:off x="904253" y="1366167"/>
            <a:ext cx="6652837" cy="3139712"/>
          </a:xfrm>
          <a:prstGeom prst="rect">
            <a:avLst/>
          </a:prstGeom>
        </p:spPr>
      </p:pic>
    </p:spTree>
    <p:extLst>
      <p:ext uri="{BB962C8B-B14F-4D97-AF65-F5344CB8AC3E}">
        <p14:creationId xmlns:p14="http://schemas.microsoft.com/office/powerpoint/2010/main" val="3769492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A24D1-808D-9F69-16AB-52AD4F0CDC83}"/>
              </a:ext>
            </a:extLst>
          </p:cNvPr>
          <p:cNvSpPr>
            <a:spLocks noGrp="1"/>
          </p:cNvSpPr>
          <p:nvPr>
            <p:ph type="title"/>
          </p:nvPr>
        </p:nvSpPr>
        <p:spPr>
          <a:xfrm>
            <a:off x="569625" y="364068"/>
            <a:ext cx="7846065" cy="558800"/>
          </a:xfrm>
        </p:spPr>
        <p:txBody>
          <a:bodyPr>
            <a:normAutofit/>
          </a:bodyPr>
          <a:lstStyle/>
          <a:p>
            <a:r>
              <a:rPr lang="en-US" noProof="0">
                <a:latin typeface="AvenirNext LT Pro Bold" panose="020B0504020202020204" pitchFamily="34" charset="77"/>
              </a:rPr>
              <a:t>EVOLUTION OF REGULATORY CONTEXT</a:t>
            </a:r>
            <a:endParaRPr lang="en-US"/>
          </a:p>
        </p:txBody>
      </p:sp>
      <p:graphicFrame>
        <p:nvGraphicFramePr>
          <p:cNvPr id="3" name="Table 2">
            <a:extLst>
              <a:ext uri="{FF2B5EF4-FFF2-40B4-BE49-F238E27FC236}">
                <a16:creationId xmlns:a16="http://schemas.microsoft.com/office/drawing/2014/main" id="{CE949EF4-3F92-420C-5342-283E92791C81}"/>
              </a:ext>
            </a:extLst>
          </p:cNvPr>
          <p:cNvGraphicFramePr>
            <a:graphicFrameLocks noGrp="1"/>
          </p:cNvGraphicFramePr>
          <p:nvPr>
            <p:extLst>
              <p:ext uri="{D42A27DB-BD31-4B8C-83A1-F6EECF244321}">
                <p14:modId xmlns:p14="http://schemas.microsoft.com/office/powerpoint/2010/main" val="2459031118"/>
              </p:ext>
            </p:extLst>
          </p:nvPr>
        </p:nvGraphicFramePr>
        <p:xfrm>
          <a:off x="307639" y="1162924"/>
          <a:ext cx="7846065" cy="3360315"/>
        </p:xfrm>
        <a:graphic>
          <a:graphicData uri="http://schemas.openxmlformats.org/drawingml/2006/table">
            <a:tbl>
              <a:tblPr firstCol="1" bandRow="1">
                <a:tableStyleId>{00A15C55-8517-42AA-B614-E9B94910E393}</a:tableStyleId>
              </a:tblPr>
              <a:tblGrid>
                <a:gridCol w="4044838">
                  <a:extLst>
                    <a:ext uri="{9D8B030D-6E8A-4147-A177-3AD203B41FA5}">
                      <a16:colId xmlns:a16="http://schemas.microsoft.com/office/drawing/2014/main" val="4089179494"/>
                    </a:ext>
                  </a:extLst>
                </a:gridCol>
                <a:gridCol w="3801227">
                  <a:extLst>
                    <a:ext uri="{9D8B030D-6E8A-4147-A177-3AD203B41FA5}">
                      <a16:colId xmlns:a16="http://schemas.microsoft.com/office/drawing/2014/main" val="378818009"/>
                    </a:ext>
                  </a:extLst>
                </a:gridCol>
              </a:tblGrid>
              <a:tr h="1737360">
                <a:tc rowSpan="2">
                  <a:txBody>
                    <a:bodyPr/>
                    <a:lstStyle/>
                    <a:p>
                      <a:pPr marL="354330" indent="-354330">
                        <a:lnSpc>
                          <a:spcPct val="100000"/>
                        </a:lnSpc>
                        <a:spcAft>
                          <a:spcPts val="1200"/>
                        </a:spcAft>
                        <a:buClr>
                          <a:schemeClr val="bg1"/>
                        </a:buClr>
                        <a:buFont typeface="Wingdings" pitchFamily="2" charset="2"/>
                        <a:buChar char="Ø"/>
                      </a:pPr>
                      <a:r>
                        <a:rPr lang="en-US" sz="1500" b="0" i="0" noProof="0" dirty="0">
                          <a:latin typeface="AvenirNext LT Pro Regular" panose="020B0504020202020204" pitchFamily="34" charset="77"/>
                          <a:ea typeface="Open Sans" panose="020B0606030504020204" pitchFamily="34" charset="0"/>
                          <a:cs typeface="Open Sans" panose="020B0606030504020204" pitchFamily="34" charset="0"/>
                        </a:rPr>
                        <a:t>The responsibility of enterprises is extended down to the customers and out to all suppliers.</a:t>
                      </a:r>
                    </a:p>
                    <a:p>
                      <a:pPr marL="354330" indent="-354330">
                        <a:lnSpc>
                          <a:spcPct val="100000"/>
                        </a:lnSpc>
                        <a:spcAft>
                          <a:spcPts val="1200"/>
                        </a:spcAft>
                        <a:buClr>
                          <a:schemeClr val="bg1"/>
                        </a:buClr>
                        <a:buFont typeface="Wingdings" pitchFamily="2" charset="2"/>
                        <a:buChar char="Ø"/>
                      </a:pPr>
                      <a:r>
                        <a:rPr lang="en-US" sz="1500" b="0" i="0" dirty="0">
                          <a:latin typeface="AvenirNext LT Pro Regular" panose="020B0504020202020204" pitchFamily="34" charset="77"/>
                          <a:ea typeface="Open Sans" panose="020B0606030504020204" pitchFamily="34" charset="0"/>
                          <a:cs typeface="Open Sans" panose="020B0606030504020204" pitchFamily="34" charset="0"/>
                        </a:rPr>
                        <a:t>Legislation increasingly incorporates concepts and principles of "universality". </a:t>
                      </a:r>
                    </a:p>
                    <a:p>
                      <a:pPr marL="354330" indent="-354330">
                        <a:lnSpc>
                          <a:spcPct val="100000"/>
                        </a:lnSpc>
                        <a:spcAft>
                          <a:spcPts val="1200"/>
                        </a:spcAft>
                        <a:buClr>
                          <a:schemeClr val="bg1"/>
                        </a:buClr>
                        <a:buFont typeface="Wingdings" pitchFamily="2" charset="2"/>
                        <a:buChar char="Ø"/>
                      </a:pPr>
                      <a:r>
                        <a:rPr lang="en-US" sz="1500" b="0" i="0" dirty="0">
                          <a:latin typeface="AvenirNext LT Pro Regular" panose="020B0504020202020204" pitchFamily="34" charset="77"/>
                          <a:ea typeface="Open Sans" panose="020B0606030504020204" pitchFamily="34" charset="0"/>
                          <a:cs typeface="Open Sans" panose="020B0606030504020204" pitchFamily="34" charset="0"/>
                        </a:rPr>
                        <a:t>Areas involved include bribery and corruption, money laundering and terrorism financing, human rights across the supply chain, and compliance with economic and trade sanctions.</a:t>
                      </a:r>
                    </a:p>
                  </a:txBody>
                  <a:tcPr anchor="ctr">
                    <a:solidFill>
                      <a:srgbClr val="B1503A"/>
                    </a:solidFill>
                  </a:tcPr>
                </a:tc>
                <a:tc>
                  <a:txBody>
                    <a:bodyPr/>
                    <a:lstStyle/>
                    <a:p>
                      <a:pPr marL="0" indent="0" algn="ctr">
                        <a:lnSpc>
                          <a:spcPct val="100000"/>
                        </a:lnSpc>
                        <a:buNone/>
                      </a:pPr>
                      <a:r>
                        <a:rPr lang="en-US" sz="1400" b="1" i="0" dirty="0">
                          <a:latin typeface="AvenirNext LT Pro Bold" panose="020B0504020202020204" pitchFamily="34" charset="77"/>
                        </a:rPr>
                        <a:t>European Union's new Directives require new laws in all EU countries, related to:</a:t>
                      </a:r>
                    </a:p>
                    <a:p>
                      <a:pPr marL="0" lvl="1" algn="ctr">
                        <a:lnSpc>
                          <a:spcPct val="100000"/>
                        </a:lnSpc>
                      </a:pPr>
                      <a:r>
                        <a:rPr lang="en-US" sz="1400" b="0" i="0" noProof="0" dirty="0">
                          <a:latin typeface="AvenirNext LT Pro Regular" panose="020B0504020202020204" pitchFamily="34" charset="77"/>
                        </a:rPr>
                        <a:t>ESG Reporting (active from 2023)</a:t>
                      </a:r>
                    </a:p>
                    <a:p>
                      <a:pPr marL="0" lvl="1" indent="0" algn="ctr">
                        <a:lnSpc>
                          <a:spcPct val="100000"/>
                        </a:lnSpc>
                        <a:buNone/>
                      </a:pPr>
                      <a:r>
                        <a:rPr lang="en-US" sz="1050" b="0" i="0" dirty="0">
                          <a:solidFill>
                            <a:srgbClr val="434D80"/>
                          </a:solidFill>
                          <a:latin typeface="AvenirNext LT Pro Regular" panose="020B0504020202020204" pitchFamily="34" charset="77"/>
                          <a:hlinkClick r:id="rId3">
                            <a:extLst>
                              <a:ext uri="{A12FA001-AC4F-418D-AE19-62706E023703}">
                                <ahyp:hlinkClr xmlns:ahyp="http://schemas.microsoft.com/office/drawing/2018/hyperlinkcolor" val="tx"/>
                              </a:ext>
                            </a:extLst>
                          </a:hlinkClick>
                        </a:rPr>
                        <a:t>Corporate sustainability reporting - European Commission (europa.eu)</a:t>
                      </a:r>
                      <a:endParaRPr lang="en-US" sz="1050" b="0" i="0" noProof="0" dirty="0">
                        <a:solidFill>
                          <a:srgbClr val="434D80"/>
                        </a:solidFill>
                        <a:latin typeface="AvenirNext LT Pro Regular" panose="020B0504020202020204" pitchFamily="34" charset="77"/>
                      </a:endParaRPr>
                    </a:p>
                    <a:p>
                      <a:pPr marL="0" lvl="1" algn="ctr">
                        <a:lnSpc>
                          <a:spcPct val="100000"/>
                        </a:lnSpc>
                      </a:pPr>
                      <a:r>
                        <a:rPr lang="en-US" sz="1400" b="0" i="0" dirty="0">
                          <a:latin typeface="AvenirNext LT Pro Regular" panose="020B0504020202020204" pitchFamily="34" charset="77"/>
                        </a:rPr>
                        <a:t>ESG Due Diligence (active </a:t>
                      </a:r>
                      <a:r>
                        <a:rPr lang="en-US" sz="1400" b="0" i="0">
                          <a:latin typeface="AvenirNext LT Pro Regular" panose="020B0504020202020204" pitchFamily="34" charset="77"/>
                        </a:rPr>
                        <a:t>from 2027</a:t>
                      </a:r>
                      <a:r>
                        <a:rPr lang="en-US" sz="1400" b="0" i="0" dirty="0">
                          <a:latin typeface="AvenirNext LT Pro Regular" panose="020B0504020202020204" pitchFamily="34" charset="77"/>
                        </a:rPr>
                        <a:t>)</a:t>
                      </a:r>
                      <a:endParaRPr lang="en-US" sz="1400" b="0" i="0" noProof="0" dirty="0">
                        <a:latin typeface="AvenirNext LT Pro Regular" panose="020B0504020202020204" pitchFamily="34" charset="77"/>
                      </a:endParaRPr>
                    </a:p>
                    <a:p>
                      <a:pPr marL="0" lvl="1" indent="0" algn="ctr">
                        <a:lnSpc>
                          <a:spcPct val="100000"/>
                        </a:lnSpc>
                        <a:buNone/>
                      </a:pPr>
                      <a:r>
                        <a:rPr lang="en-US" sz="1050" b="0" i="0" dirty="0">
                          <a:solidFill>
                            <a:srgbClr val="434D80"/>
                          </a:solidFill>
                          <a:latin typeface="AvenirNext LT Pro Regular" panose="020B0504020202020204" pitchFamily="34" charset="77"/>
                          <a:hlinkClick r:id="rId4">
                            <a:extLst>
                              <a:ext uri="{A12FA001-AC4F-418D-AE19-62706E023703}">
                                <ahyp:hlinkClr xmlns:ahyp="http://schemas.microsoft.com/office/drawing/2018/hyperlinkcolor" val="tx"/>
                              </a:ext>
                            </a:extLst>
                          </a:hlinkClick>
                        </a:rPr>
                        <a:t>Rules enforcing rights and environmental sustainability (europa.eu)</a:t>
                      </a:r>
                      <a:endParaRPr lang="en-US" sz="1050" b="0" i="0" dirty="0">
                        <a:solidFill>
                          <a:srgbClr val="434D80"/>
                        </a:solidFill>
                        <a:latin typeface="AvenirNext LT Pro Regular" panose="020B0504020202020204" pitchFamily="34" charset="77"/>
                      </a:endParaRPr>
                    </a:p>
                  </a:txBody>
                  <a:tcPr anchor="ctr">
                    <a:solidFill>
                      <a:srgbClr val="DA9C8E"/>
                    </a:solidFill>
                  </a:tcPr>
                </a:tc>
                <a:extLst>
                  <a:ext uri="{0D108BD9-81ED-4DB2-BD59-A6C34878D82A}">
                    <a16:rowId xmlns:a16="http://schemas.microsoft.com/office/drawing/2014/main" val="3597907577"/>
                  </a:ext>
                </a:extLst>
              </a:tr>
              <a:tr h="1622955">
                <a:tc vMerge="1">
                  <a:txBody>
                    <a:bodyPr/>
                    <a:lstStyle/>
                    <a:p>
                      <a:endParaRPr lang="en-US"/>
                    </a:p>
                  </a:txBody>
                  <a:tcPr/>
                </a:tc>
                <a:tc>
                  <a:txBody>
                    <a:bodyPr/>
                    <a:lstStyle/>
                    <a:p>
                      <a:pPr marL="0" indent="0" algn="ctr">
                        <a:lnSpc>
                          <a:spcPct val="100000"/>
                        </a:lnSpc>
                        <a:buNone/>
                      </a:pPr>
                      <a:r>
                        <a:rPr lang="en-US" sz="1400" b="1" i="0" noProof="0" dirty="0">
                          <a:latin typeface="AvenirNext LT Pro Bold" panose="020B0504020202020204" pitchFamily="34" charset="77"/>
                        </a:rPr>
                        <a:t>Canada's BILL S-211: Fighting Against Forced Labour and Child Labour in Supply Chains:</a:t>
                      </a:r>
                    </a:p>
                    <a:p>
                      <a:pPr marL="0" lvl="1" indent="0" algn="ctr">
                        <a:lnSpc>
                          <a:spcPct val="100000"/>
                        </a:lnSpc>
                        <a:buNone/>
                      </a:pPr>
                      <a:r>
                        <a:rPr lang="en-US" sz="1050" b="0" i="0" dirty="0">
                          <a:solidFill>
                            <a:srgbClr val="434D80"/>
                          </a:solidFill>
                          <a:latin typeface="AvenirNext LT Pro Regular" panose="020B0504020202020204" pitchFamily="34" charset="77"/>
                          <a:hlinkClick r:id="rId5">
                            <a:extLst>
                              <a:ext uri="{A12FA001-AC4F-418D-AE19-62706E023703}">
                                <ahyp:hlinkClr xmlns:ahyp="http://schemas.microsoft.com/office/drawing/2018/hyperlinkcolor" val="tx"/>
                              </a:ext>
                            </a:extLst>
                          </a:hlinkClick>
                        </a:rPr>
                        <a:t>Public Bill (Senate) S-211 (44-1) - Third Reading - Fighting Against Forced Labour and Child Labour in Supply Chains Act - Parliament of Canada</a:t>
                      </a:r>
                      <a:endParaRPr lang="en-US" sz="1050" b="0" i="0" noProof="0" dirty="0">
                        <a:solidFill>
                          <a:srgbClr val="434D80"/>
                        </a:solidFill>
                        <a:latin typeface="AvenirNext LT Pro Regular" panose="020B0504020202020204" pitchFamily="34" charset="77"/>
                      </a:endParaRPr>
                    </a:p>
                  </a:txBody>
                  <a:tcPr anchor="ctr">
                    <a:solidFill>
                      <a:srgbClr val="EBCBC3"/>
                    </a:solidFill>
                  </a:tcPr>
                </a:tc>
                <a:extLst>
                  <a:ext uri="{0D108BD9-81ED-4DB2-BD59-A6C34878D82A}">
                    <a16:rowId xmlns:a16="http://schemas.microsoft.com/office/drawing/2014/main" val="3279739493"/>
                  </a:ext>
                </a:extLst>
              </a:tr>
            </a:tbl>
          </a:graphicData>
        </a:graphic>
      </p:graphicFrame>
    </p:spTree>
    <p:extLst>
      <p:ext uri="{BB962C8B-B14F-4D97-AF65-F5344CB8AC3E}">
        <p14:creationId xmlns:p14="http://schemas.microsoft.com/office/powerpoint/2010/main" val="28689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E89BA-63A2-5EAD-4D5B-C5D0B16DA08B}"/>
              </a:ext>
            </a:extLst>
          </p:cNvPr>
          <p:cNvSpPr>
            <a:spLocks noGrp="1"/>
          </p:cNvSpPr>
          <p:nvPr>
            <p:ph type="title"/>
          </p:nvPr>
        </p:nvSpPr>
        <p:spPr/>
        <p:txBody>
          <a:bodyPr/>
          <a:lstStyle/>
          <a:p>
            <a:r>
              <a:rPr lang="fr-CH"/>
              <a:t>TACKLING ESG issues</a:t>
            </a:r>
            <a:endParaRPr lang="en-US"/>
          </a:p>
        </p:txBody>
      </p:sp>
      <p:sp>
        <p:nvSpPr>
          <p:cNvPr id="3" name="Content Placeholder 2">
            <a:extLst>
              <a:ext uri="{FF2B5EF4-FFF2-40B4-BE49-F238E27FC236}">
                <a16:creationId xmlns:a16="http://schemas.microsoft.com/office/drawing/2014/main" id="{3433FA17-6E22-5669-2F81-7547AC97FBFC}"/>
              </a:ext>
            </a:extLst>
          </p:cNvPr>
          <p:cNvSpPr txBox="1">
            <a:spLocks/>
          </p:cNvSpPr>
          <p:nvPr/>
        </p:nvSpPr>
        <p:spPr>
          <a:xfrm>
            <a:off x="713316" y="1369219"/>
            <a:ext cx="7172497" cy="316733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Open Sans"/>
                <a:ea typeface="+mn-ea"/>
                <a:cs typeface="Open San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a:ea typeface="+mn-ea"/>
                <a:cs typeface="Open San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Open Sans"/>
                <a:ea typeface="+mn-ea"/>
                <a:cs typeface="Open San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Open Sans"/>
                <a:ea typeface="+mn-ea"/>
                <a:cs typeface="Open San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Open Sans"/>
                <a:ea typeface="+mn-ea"/>
                <a:cs typeface="Open San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just"/>
            <a:r>
              <a:rPr lang="fr-CH" sz="1400" b="1" dirty="0" err="1"/>
              <a:t>Environmental</a:t>
            </a:r>
            <a:r>
              <a:rPr lang="fr-CH" sz="1400" b="1" dirty="0"/>
              <a:t>, Social and </a:t>
            </a:r>
            <a:r>
              <a:rPr lang="fr-CH" sz="1400" b="1" dirty="0" err="1"/>
              <a:t>Governance</a:t>
            </a:r>
            <a:r>
              <a:rPr lang="fr-CH" sz="1400" b="1" dirty="0"/>
              <a:t> (ESG) issues </a:t>
            </a:r>
            <a:r>
              <a:rPr lang="fr-CH" sz="1400" dirty="0"/>
              <a:t>are the </a:t>
            </a:r>
            <a:r>
              <a:rPr lang="fr-CH" sz="1400" dirty="0" err="1"/>
              <a:t>core</a:t>
            </a:r>
            <a:r>
              <a:rPr lang="fr-CH" sz="1400" dirty="0"/>
              <a:t> of the </a:t>
            </a:r>
            <a:r>
              <a:rPr lang="fr-CH" sz="1400" dirty="0" err="1"/>
              <a:t>Sustainability</a:t>
            </a:r>
            <a:r>
              <a:rPr lang="fr-CH" sz="1400" dirty="0"/>
              <a:t> concept. </a:t>
            </a:r>
          </a:p>
          <a:p>
            <a:pPr lvl="1" algn="just">
              <a:buFont typeface="Wingdings" panose="05000000000000000000" pitchFamily="2" charset="2"/>
              <a:buChar char="Ø"/>
            </a:pPr>
            <a:r>
              <a:rPr lang="fr-CH" sz="1400" dirty="0" err="1"/>
              <a:t>Sustainability</a:t>
            </a:r>
            <a:r>
              <a:rPr lang="fr-CH" sz="1400" dirty="0"/>
              <a:t> </a:t>
            </a:r>
            <a:r>
              <a:rPr lang="fr-CH" sz="1400" dirty="0" err="1"/>
              <a:t>is</a:t>
            </a:r>
            <a:r>
              <a:rPr lang="fr-CH" sz="1400" dirty="0"/>
              <a:t> </a:t>
            </a:r>
            <a:r>
              <a:rPr lang="fr-CH" sz="1400" dirty="0" err="1"/>
              <a:t>only</a:t>
            </a:r>
            <a:r>
              <a:rPr lang="fr-CH" sz="1400" dirty="0"/>
              <a:t> </a:t>
            </a:r>
            <a:r>
              <a:rPr lang="fr-CH" sz="1400" dirty="0" err="1"/>
              <a:t>complete</a:t>
            </a:r>
            <a:r>
              <a:rPr lang="fr-CH" sz="1400" dirty="0"/>
              <a:t> if </a:t>
            </a:r>
            <a:r>
              <a:rPr lang="fr-CH" sz="1400" dirty="0" err="1"/>
              <a:t>you</a:t>
            </a:r>
            <a:r>
              <a:rPr lang="fr-CH" sz="1400" dirty="0"/>
              <a:t> </a:t>
            </a:r>
            <a:r>
              <a:rPr lang="fr-CH" sz="1400" dirty="0" err="1"/>
              <a:t>consider</a:t>
            </a:r>
            <a:r>
              <a:rPr lang="fr-CH" sz="1400" dirty="0"/>
              <a:t> the </a:t>
            </a:r>
            <a:r>
              <a:rPr lang="fr-CH" sz="1400" b="1" dirty="0" err="1"/>
              <a:t>financial</a:t>
            </a:r>
            <a:r>
              <a:rPr lang="fr-CH" sz="1400" b="1" dirty="0"/>
              <a:t>, </a:t>
            </a:r>
            <a:r>
              <a:rPr lang="fr-CH" sz="1400" b="1" dirty="0" err="1"/>
              <a:t>environmental</a:t>
            </a:r>
            <a:r>
              <a:rPr lang="fr-CH" sz="1400" b="1" dirty="0"/>
              <a:t> and social impacts </a:t>
            </a:r>
            <a:r>
              <a:rPr lang="fr-CH" sz="1400" dirty="0"/>
              <a:t>of a </a:t>
            </a:r>
            <a:r>
              <a:rPr lang="fr-CH" sz="1400" dirty="0" err="1"/>
              <a:t>company</a:t>
            </a:r>
            <a:r>
              <a:rPr lang="fr-CH" sz="1400" dirty="0"/>
              <a:t>.</a:t>
            </a:r>
          </a:p>
          <a:p>
            <a:pPr algn="just"/>
            <a:r>
              <a:rPr lang="fr-CH" sz="1400" dirty="0" err="1"/>
              <a:t>Measure</a:t>
            </a:r>
            <a:r>
              <a:rPr lang="fr-CH" sz="1400" dirty="0"/>
              <a:t> of </a:t>
            </a:r>
            <a:r>
              <a:rPr lang="fr-CH" sz="1400" dirty="0" err="1"/>
              <a:t>risk</a:t>
            </a:r>
            <a:r>
              <a:rPr lang="fr-CH" sz="1400" dirty="0"/>
              <a:t> </a:t>
            </a:r>
            <a:r>
              <a:rPr lang="fr-CH" sz="1400" dirty="0" err="1"/>
              <a:t>differs</a:t>
            </a:r>
            <a:r>
              <a:rPr lang="fr-CH" sz="1400" dirty="0"/>
              <a:t> for </a:t>
            </a:r>
            <a:r>
              <a:rPr lang="fr-CH" sz="1400" dirty="0" err="1"/>
              <a:t>each</a:t>
            </a:r>
            <a:r>
              <a:rPr lang="fr-CH" sz="1400" dirty="0"/>
              <a:t> business</a:t>
            </a:r>
          </a:p>
          <a:p>
            <a:pPr lvl="1" algn="just">
              <a:buFont typeface="Wingdings" panose="05000000000000000000" pitchFamily="2" charset="2"/>
              <a:buChar char="Ø"/>
            </a:pPr>
            <a:r>
              <a:rPr lang="fr-CH" sz="1400" dirty="0"/>
              <a:t>First not </a:t>
            </a:r>
            <a:r>
              <a:rPr lang="fr-CH" sz="1400" dirty="0" err="1"/>
              <a:t>delivering</a:t>
            </a:r>
            <a:r>
              <a:rPr lang="fr-CH" sz="1400" dirty="0"/>
              <a:t> on objectives</a:t>
            </a:r>
          </a:p>
          <a:p>
            <a:pPr lvl="1" algn="just">
              <a:buFont typeface="Wingdings" panose="05000000000000000000" pitchFamily="2" charset="2"/>
              <a:buChar char="Ø"/>
            </a:pPr>
            <a:r>
              <a:rPr lang="fr-CH" sz="1400" dirty="0"/>
              <a:t>Social impact:  </a:t>
            </a:r>
          </a:p>
          <a:p>
            <a:pPr lvl="2" algn="just">
              <a:buFont typeface="Wingdings" panose="05000000000000000000" pitchFamily="2" charset="2"/>
              <a:buChar char="Ø"/>
            </a:pPr>
            <a:r>
              <a:rPr lang="fr-CH" sz="1400" dirty="0"/>
              <a:t>On </a:t>
            </a:r>
            <a:r>
              <a:rPr lang="fr-CH" sz="1400" dirty="0" err="1"/>
              <a:t>employees</a:t>
            </a:r>
            <a:r>
              <a:rPr lang="fr-CH" sz="1400" dirty="0"/>
              <a:t>, </a:t>
            </a:r>
            <a:r>
              <a:rPr lang="fr-CH" sz="1400" dirty="0" err="1"/>
              <a:t>community</a:t>
            </a:r>
            <a:r>
              <a:rPr lang="fr-CH" sz="1400" dirty="0"/>
              <a:t> and </a:t>
            </a:r>
            <a:r>
              <a:rPr lang="fr-CH" sz="1400" dirty="0" err="1"/>
              <a:t>overall</a:t>
            </a:r>
            <a:r>
              <a:rPr lang="fr-CH" sz="1400" dirty="0"/>
              <a:t> society</a:t>
            </a:r>
          </a:p>
          <a:p>
            <a:pPr lvl="2" algn="just">
              <a:buFont typeface="Wingdings" panose="05000000000000000000" pitchFamily="2" charset="2"/>
              <a:buChar char="Ø"/>
            </a:pPr>
            <a:r>
              <a:rPr lang="fr-CH" sz="1400" dirty="0" err="1"/>
              <a:t>Reporting</a:t>
            </a:r>
            <a:r>
              <a:rPr lang="fr-CH" sz="1400" dirty="0"/>
              <a:t> </a:t>
            </a:r>
            <a:r>
              <a:rPr lang="fr-CH" sz="1400" dirty="0" err="1"/>
              <a:t>based</a:t>
            </a:r>
            <a:r>
              <a:rPr lang="fr-CH" sz="1400" dirty="0"/>
              <a:t> on </a:t>
            </a:r>
            <a:r>
              <a:rPr lang="fr-CH" sz="1400" dirty="0" err="1"/>
              <a:t>legislation</a:t>
            </a:r>
            <a:endParaRPr lang="fr-CH" sz="1400" dirty="0"/>
          </a:p>
          <a:p>
            <a:pPr lvl="2" algn="just">
              <a:buFont typeface="Wingdings" panose="05000000000000000000" pitchFamily="2" charset="2"/>
              <a:buChar char="Ø"/>
            </a:pPr>
            <a:r>
              <a:rPr lang="fr-CH" sz="1400" dirty="0" err="1"/>
              <a:t>Broader</a:t>
            </a:r>
            <a:r>
              <a:rPr lang="fr-CH" sz="1400" dirty="0"/>
              <a:t> concept of </a:t>
            </a:r>
            <a:r>
              <a:rPr lang="fr-CH" sz="1400" dirty="0" err="1"/>
              <a:t>supply</a:t>
            </a:r>
            <a:r>
              <a:rPr lang="fr-CH" sz="1400" dirty="0"/>
              <a:t> </a:t>
            </a:r>
            <a:r>
              <a:rPr lang="fr-CH" sz="1400" dirty="0" err="1"/>
              <a:t>chain</a:t>
            </a:r>
            <a:r>
              <a:rPr lang="fr-CH" sz="1400" dirty="0"/>
              <a:t> management</a:t>
            </a:r>
          </a:p>
          <a:p>
            <a:pPr lvl="2" algn="just">
              <a:buFont typeface="Wingdings" panose="05000000000000000000" pitchFamily="2" charset="2"/>
              <a:buChar char="Ø"/>
            </a:pPr>
            <a:r>
              <a:rPr lang="fr-CH" sz="1400" dirty="0" err="1"/>
              <a:t>Reputational</a:t>
            </a:r>
            <a:r>
              <a:rPr lang="fr-CH" sz="1400" dirty="0"/>
              <a:t> </a:t>
            </a:r>
            <a:r>
              <a:rPr lang="fr-CH" sz="1400" dirty="0" err="1"/>
              <a:t>risk</a:t>
            </a:r>
            <a:endParaRPr lang="fr-CH" sz="1400" dirty="0"/>
          </a:p>
        </p:txBody>
      </p:sp>
    </p:spTree>
    <p:extLst>
      <p:ext uri="{BB962C8B-B14F-4D97-AF65-F5344CB8AC3E}">
        <p14:creationId xmlns:p14="http://schemas.microsoft.com/office/powerpoint/2010/main" val="7358594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0AFE6-BFF1-C797-B5C6-19E677BBCD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B995F4-D0F0-A10D-12C8-618C89DF8E8A}"/>
              </a:ext>
            </a:extLst>
          </p:cNvPr>
          <p:cNvSpPr>
            <a:spLocks noGrp="1"/>
          </p:cNvSpPr>
          <p:nvPr>
            <p:ph type="title"/>
          </p:nvPr>
        </p:nvSpPr>
        <p:spPr/>
        <p:txBody>
          <a:bodyPr>
            <a:normAutofit/>
          </a:bodyPr>
          <a:lstStyle/>
          <a:p>
            <a:r>
              <a:rPr lang="fr-CH" dirty="0"/>
              <a:t>Social issues</a:t>
            </a:r>
            <a:endParaRPr lang="en-US" dirty="0"/>
          </a:p>
        </p:txBody>
      </p:sp>
      <p:cxnSp>
        <p:nvCxnSpPr>
          <p:cNvPr id="5" name="Straight Connector 4">
            <a:extLst>
              <a:ext uri="{FF2B5EF4-FFF2-40B4-BE49-F238E27FC236}">
                <a16:creationId xmlns:a16="http://schemas.microsoft.com/office/drawing/2014/main" id="{61C07563-753A-7805-D338-4DE958B81CA0}"/>
              </a:ext>
            </a:extLst>
          </p:cNvPr>
          <p:cNvCxnSpPr>
            <a:cxnSpLocks/>
          </p:cNvCxnSpPr>
          <p:nvPr/>
        </p:nvCxnSpPr>
        <p:spPr>
          <a:xfrm>
            <a:off x="2606040" y="2842895"/>
            <a:ext cx="3032760" cy="0"/>
          </a:xfrm>
          <a:prstGeom prst="line">
            <a:avLst/>
          </a:prstGeom>
          <a:ln>
            <a:solidFill>
              <a:srgbClr val="B1503A"/>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052CF14-FAC1-ED5E-AF46-E809CC812DDC}"/>
              </a:ext>
            </a:extLst>
          </p:cNvPr>
          <p:cNvSpPr txBox="1"/>
          <p:nvPr/>
        </p:nvSpPr>
        <p:spPr>
          <a:xfrm>
            <a:off x="569625" y="1361758"/>
            <a:ext cx="7322095" cy="1268730"/>
          </a:xfrm>
          <a:prstGeom prst="round2DiagRect">
            <a:avLst/>
          </a:prstGeom>
          <a:solidFill>
            <a:srgbClr val="EBCBC3"/>
          </a:solidFill>
        </p:spPr>
        <p:txBody>
          <a:bodyPr vert="horz" wrap="square" lIns="68580" tIns="34290" rIns="68580" bIns="34290" rtlCol="0" anchor="ctr" anchorCtr="0">
            <a:noAutofit/>
          </a:bodyPr>
          <a:lstStyle/>
          <a:p>
            <a:pPr algn="ctr"/>
            <a:r>
              <a:rPr lang="en-US">
                <a:solidFill>
                  <a:schemeClr val="tx1">
                    <a:lumMod val="75000"/>
                  </a:schemeClr>
                </a:solidFill>
                <a:latin typeface="AvenirNext LT Pro Regular" panose="020B0504020202020204" pitchFamily="34" charset="77"/>
              </a:rPr>
              <a:t>There is a more significant emotional impact as the public reacts strongly to social scandals. The evolution of society and ethics sets less tolerance for these. </a:t>
            </a:r>
          </a:p>
          <a:p>
            <a:pPr algn="ctr"/>
            <a:endParaRPr lang="en-US">
              <a:solidFill>
                <a:srgbClr val="0E101A"/>
              </a:solidFill>
              <a:effectLst/>
              <a:latin typeface="AvenirNext LT Pro Regular" panose="020B0504020202020204" pitchFamily="34" charset="77"/>
            </a:endParaRPr>
          </a:p>
          <a:p>
            <a:pPr algn="ctr"/>
            <a:r>
              <a:rPr lang="en-US" b="1">
                <a:solidFill>
                  <a:srgbClr val="0E101A"/>
                </a:solidFill>
                <a:effectLst/>
                <a:latin typeface="AvenirNext LT Pro Bold" panose="020B0504020202020204" pitchFamily="34" charset="77"/>
              </a:rPr>
              <a:t>The effect on a company's reputation is the greatest.</a:t>
            </a:r>
            <a:endParaRPr lang="en-US" sz="1400" b="1">
              <a:latin typeface="AvenirNext LT Pro Bold" panose="020B0504020202020204" pitchFamily="34" charset="77"/>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2FE33BF3-F152-47A0-324E-FE9F4918A492}"/>
              </a:ext>
            </a:extLst>
          </p:cNvPr>
          <p:cNvSpPr txBox="1"/>
          <p:nvPr/>
        </p:nvSpPr>
        <p:spPr>
          <a:xfrm>
            <a:off x="569625" y="3056254"/>
            <a:ext cx="7257390" cy="1438275"/>
          </a:xfrm>
          <a:prstGeom prst="round2DiagRect">
            <a:avLst/>
          </a:prstGeom>
          <a:solidFill>
            <a:srgbClr val="EBCBC3"/>
          </a:solidFill>
        </p:spPr>
        <p:txBody>
          <a:bodyPr vert="horz" wrap="square" lIns="68580" tIns="34290" rIns="68580" bIns="34290" rtlCol="0" anchor="ctr" anchorCtr="0">
            <a:noAutofit/>
          </a:bodyPr>
          <a:lstStyle/>
          <a:p>
            <a:pPr algn="ctr">
              <a:spcBef>
                <a:spcPts val="0"/>
              </a:spcBef>
              <a:spcAft>
                <a:spcPts val="0"/>
              </a:spcAft>
            </a:pPr>
            <a:r>
              <a:rPr lang="en-US" dirty="0">
                <a:solidFill>
                  <a:schemeClr val="tx1">
                    <a:lumMod val="75000"/>
                  </a:schemeClr>
                </a:solidFill>
                <a:effectLst/>
                <a:latin typeface="AvenirNext LT Pro Regular" panose="020B0504020202020204" pitchFamily="34" charset="77"/>
                <a:ea typeface="Open Sans" panose="020B0606030504020204" pitchFamily="34" charset="0"/>
                <a:cs typeface="Open Sans" panose="020B0606030504020204" pitchFamily="34" charset="0"/>
              </a:rPr>
              <a:t>Social issues are difficult to foresee as they may affect situations beyond your own company. The public will also associate your name with what your co-packers, co-manufacturers, and providers may do. </a:t>
            </a:r>
          </a:p>
          <a:p>
            <a:pPr algn="ctr">
              <a:spcBef>
                <a:spcPts val="0"/>
              </a:spcBef>
              <a:spcAft>
                <a:spcPts val="0"/>
              </a:spcAft>
            </a:pPr>
            <a:endParaRPr lang="en-US" dirty="0">
              <a:solidFill>
                <a:srgbClr val="0E101A"/>
              </a:solidFill>
              <a:effectLst/>
              <a:latin typeface="AvenirNext LT Pro Regular" panose="020B0504020202020204" pitchFamily="34" charset="77"/>
              <a:ea typeface="Open Sans" panose="020B0606030504020204" pitchFamily="34" charset="0"/>
              <a:cs typeface="Open Sans" panose="020B0606030504020204" pitchFamily="34" charset="0"/>
            </a:endParaRPr>
          </a:p>
          <a:p>
            <a:pPr algn="ctr">
              <a:spcBef>
                <a:spcPts val="0"/>
              </a:spcBef>
              <a:spcAft>
                <a:spcPts val="0"/>
              </a:spcAft>
            </a:pPr>
            <a:r>
              <a:rPr lang="en-US" b="1" dirty="0">
                <a:solidFill>
                  <a:srgbClr val="0E101A"/>
                </a:solidFill>
                <a:effectLst/>
                <a:latin typeface="AvenirNext LT Pro Bold" panose="020B0504020202020204" pitchFamily="34" charset="77"/>
                <a:ea typeface="Open Sans" panose="020B0606030504020204" pitchFamily="34" charset="0"/>
                <a:cs typeface="Open Sans" panose="020B0606030504020204" pitchFamily="34" charset="0"/>
              </a:rPr>
              <a:t>Your supply chain is one of the major risks.</a:t>
            </a:r>
          </a:p>
        </p:txBody>
      </p:sp>
    </p:spTree>
    <p:extLst>
      <p:ext uri="{BB962C8B-B14F-4D97-AF65-F5344CB8AC3E}">
        <p14:creationId xmlns:p14="http://schemas.microsoft.com/office/powerpoint/2010/main" val="38977995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Fssc18079-PPT-template-final">
  <a:themeElements>
    <a:clrScheme name="FSSC 22000">
      <a:dk1>
        <a:srgbClr val="424242"/>
      </a:dk1>
      <a:lt1>
        <a:srgbClr val="FFFFFF"/>
      </a:lt1>
      <a:dk2>
        <a:srgbClr val="424242"/>
      </a:dk2>
      <a:lt2>
        <a:srgbClr val="B5B8BB"/>
      </a:lt2>
      <a:accent1>
        <a:srgbClr val="218455"/>
      </a:accent1>
      <a:accent2>
        <a:srgbClr val="30BE7A"/>
      </a:accent2>
      <a:accent3>
        <a:srgbClr val="72DCAA"/>
      </a:accent3>
      <a:accent4>
        <a:srgbClr val="434D80"/>
      </a:accent4>
      <a:accent5>
        <a:srgbClr val="EBAB21"/>
      </a:accent5>
      <a:accent6>
        <a:srgbClr val="FFFFFF"/>
      </a:accent6>
      <a:hlink>
        <a:srgbClr val="218455"/>
      </a:hlink>
      <a:folHlink>
        <a:srgbClr val="218455"/>
      </a:folHlink>
    </a:clrScheme>
    <a:fontScheme name="Office - klassiek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68580" tIns="34290" rIns="68580" bIns="34290" rtlCol="0" anchor="ctr">
        <a:normAutofit/>
      </a:bodyPr>
      <a:lstStyle>
        <a:defPPr algn="l">
          <a:defRPr sz="1500" b="1" dirty="0" smtClean="0">
            <a:solidFill>
              <a:srgbClr val="EDAE00"/>
            </a:solidFill>
            <a:latin typeface="Avenir Next Bold"/>
            <a:cs typeface="Avenir Next Bold"/>
          </a:defRPr>
        </a:defPPr>
      </a:lstStyle>
    </a:txDef>
  </a:objectDefaults>
  <a:extraClrSchemeLst/>
  <a:extLst>
    <a:ext uri="{05A4C25C-085E-4340-85A3-A5531E510DB2}">
      <thm15:themeFamily xmlns:thm15="http://schemas.microsoft.com/office/thememl/2012/main" name="22.0103 FSSC 22000 General Presentation Template" id="{BB8C064D-3BDA-4C7D-8B83-4B49CB22F4FF}" vid="{5A0F02C8-10E7-4381-ABFC-71BC3F6381C9}"/>
    </a:ext>
  </a:extLst>
</a:theme>
</file>

<file path=ppt/theme/theme2.xml><?xml version="1.0" encoding="utf-8"?>
<a:theme xmlns:a="http://schemas.openxmlformats.org/drawingml/2006/main" name="Refresco">
  <a:themeElements>
    <a:clrScheme name="Refresco colours">
      <a:dk1>
        <a:sysClr val="windowText" lastClr="000000"/>
      </a:dk1>
      <a:lt1>
        <a:sysClr val="window" lastClr="FFFFFF"/>
      </a:lt1>
      <a:dk2>
        <a:srgbClr val="565655"/>
      </a:dk2>
      <a:lt2>
        <a:srgbClr val="F2F2F2"/>
      </a:lt2>
      <a:accent1>
        <a:srgbClr val="04A64B"/>
      </a:accent1>
      <a:accent2>
        <a:srgbClr val="F49712"/>
      </a:accent2>
      <a:accent3>
        <a:srgbClr val="C10A27"/>
      </a:accent3>
      <a:accent4>
        <a:srgbClr val="80BA27"/>
      </a:accent4>
      <a:accent5>
        <a:srgbClr val="EE7402"/>
      </a:accent5>
      <a:accent6>
        <a:srgbClr val="4A1863"/>
      </a:accent6>
      <a:hlink>
        <a:srgbClr val="0064A7"/>
      </a:hlink>
      <a:folHlink>
        <a:srgbClr val="0064A7"/>
      </a:folHlink>
    </a:clrScheme>
    <a:fontScheme name="Refresco fonts">
      <a:majorFont>
        <a:latin typeface="Trebuchet MS"/>
        <a:ea typeface=""/>
        <a:cs typeface=""/>
      </a:majorFont>
      <a:minorFont>
        <a:latin typeface="Trebuchet MS"/>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fresco_Template_set_2020_v1.5 (002).potx" id="{39D833EB-C55A-48A5-B1F7-AADD70A50861}" vid="{7F99B5E0-B98B-49C4-AE73-7F08F2C6730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da9d50f-936b-4451-bd39-349da5bab080">
      <Terms xmlns="http://schemas.microsoft.com/office/infopath/2007/PartnerControls"/>
    </lcf76f155ced4ddcb4097134ff3c332f>
    <TaxCatchAll xmlns="4a754374-817d-4a9c-ab18-d7f9c13c539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957D36EE5AC4E419E71E85A170082C3" ma:contentTypeVersion="18" ma:contentTypeDescription="Create a new document." ma:contentTypeScope="" ma:versionID="38818f1e338a918ab170c74c08258fbf">
  <xsd:schema xmlns:xsd="http://www.w3.org/2001/XMLSchema" xmlns:xs="http://www.w3.org/2001/XMLSchema" xmlns:p="http://schemas.microsoft.com/office/2006/metadata/properties" xmlns:ns2="dda9d50f-936b-4451-bd39-349da5bab080" xmlns:ns3="4a754374-817d-4a9c-ab18-d7f9c13c5390" targetNamespace="http://schemas.microsoft.com/office/2006/metadata/properties" ma:root="true" ma:fieldsID="f8a2558e912631a2d9a2cc216a762a48" ns2:_="" ns3:_="">
    <xsd:import namespace="dda9d50f-936b-4451-bd39-349da5bab080"/>
    <xsd:import namespace="4a754374-817d-4a9c-ab18-d7f9c13c539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a9d50f-936b-4451-bd39-349da5bab0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6678677-31a0-4aa2-ac65-d2701064449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754374-817d-4a9c-ab18-d7f9c13c5390"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30b62d1c-70a5-4bbd-ad69-307db14410cb}" ma:internalName="TaxCatchAll" ma:showField="CatchAllData" ma:web="4a754374-817d-4a9c-ab18-d7f9c13c539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E4BD4EF-C69C-49DB-A45C-1520221D5F1C}">
  <ds:schemaRefs>
    <ds:schemaRef ds:uri="http://schemas.microsoft.com/sharepoint/v3/contenttype/forms"/>
  </ds:schemaRefs>
</ds:datastoreItem>
</file>

<file path=customXml/itemProps2.xml><?xml version="1.0" encoding="utf-8"?>
<ds:datastoreItem xmlns:ds="http://schemas.openxmlformats.org/officeDocument/2006/customXml" ds:itemID="{678F6159-484C-4339-9D8C-9BE889FE3D8C}">
  <ds:schemaRefs>
    <ds:schemaRef ds:uri="http://purl.org/dc/elements/1.1/"/>
    <ds:schemaRef ds:uri="dda9d50f-936b-4451-bd39-349da5bab080"/>
    <ds:schemaRef ds:uri="http://schemas.microsoft.com/office/2006/metadata/properties"/>
    <ds:schemaRef ds:uri="4a754374-817d-4a9c-ab18-d7f9c13c5390"/>
    <ds:schemaRef ds:uri="http://www.w3.org/XML/1998/namespace"/>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9E86030C-6F68-4402-B3F6-E0E4BE097D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a9d50f-936b-4451-bd39-349da5bab080"/>
    <ds:schemaRef ds:uri="4a754374-817d-4a9c-ab18-d7f9c13c53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2.0103 FSSC General Presentation Template</Template>
  <TotalTime>0</TotalTime>
  <Words>2698</Words>
  <Application>Microsoft Office PowerPoint</Application>
  <PresentationFormat>On-screen Show (16:9)</PresentationFormat>
  <Paragraphs>253</Paragraphs>
  <Slides>25</Slides>
  <Notes>19</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41" baseType="lpstr">
      <vt:lpstr>Arial</vt:lpstr>
      <vt:lpstr>Avenir Next</vt:lpstr>
      <vt:lpstr>Avenir Next Bold</vt:lpstr>
      <vt:lpstr>Avenir Next Medium</vt:lpstr>
      <vt:lpstr>Avenir Next Regular</vt:lpstr>
      <vt:lpstr>AvenirNext LT Pro Bold</vt:lpstr>
      <vt:lpstr>AvenirNext LT Pro Regular</vt:lpstr>
      <vt:lpstr>Calibri</vt:lpstr>
      <vt:lpstr>Calibri Light</vt:lpstr>
      <vt:lpstr>Open Sans</vt:lpstr>
      <vt:lpstr>Segoe UI Light</vt:lpstr>
      <vt:lpstr>Trebuchet MS</vt:lpstr>
      <vt:lpstr>Wingdings</vt:lpstr>
      <vt:lpstr>Fssc18079-PPT-template-final</vt:lpstr>
      <vt:lpstr>Refresco</vt:lpstr>
      <vt:lpstr>think-cell Slide</vt:lpstr>
      <vt:lpstr>PowerPoint Presentation</vt:lpstr>
      <vt:lpstr>Introduction to fssc</vt:lpstr>
      <vt:lpstr>FSSC branded house </vt:lpstr>
      <vt:lpstr>the social risk component</vt:lpstr>
      <vt:lpstr>HOW Social risks inside and outside of your company may affect you  </vt:lpstr>
      <vt:lpstr>Facts and figures</vt:lpstr>
      <vt:lpstr>EVOLUTION OF REGULATORY CONTEXT</vt:lpstr>
      <vt:lpstr>TACKLING ESG issues</vt:lpstr>
      <vt:lpstr>Social issues</vt:lpstr>
      <vt:lpstr>Social Compliance – Market drivers</vt:lpstr>
      <vt:lpstr>SOCIAL COMPLIANCE DRIVERS</vt:lpstr>
      <vt:lpstr>Cost of ignoring social risks</vt:lpstr>
      <vt:lpstr>What are the FSSC 24000 Opportunities?</vt:lpstr>
      <vt:lpstr>ISO MANAGEMENT SYSTEMS</vt:lpstr>
      <vt:lpstr>ISO HARMONIZED STRUCTURE</vt:lpstr>
      <vt:lpstr>Features and benefits of FSSC 24000</vt:lpstr>
      <vt:lpstr>TOPICS OF PAS 24000 (APPENDIX A)</vt:lpstr>
      <vt:lpstr>PowerPoint Presentation</vt:lpstr>
      <vt:lpstr>Esg &amp; reporting</vt:lpstr>
      <vt:lpstr>Fssc in practice</vt:lpstr>
      <vt:lpstr> DUE DILIGENCE OBLIGATIONS</vt:lpstr>
      <vt:lpstr>DOING WHAT IS RIGHT</vt:lpstr>
      <vt:lpstr>IN SUMMARY</vt:lpstr>
      <vt:lpstr>HOW TO OBTAIN CERTIFIC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ole van der Sant</dc:creator>
  <cp:lastModifiedBy>Elsabe Matthee</cp:lastModifiedBy>
  <cp:revision>1</cp:revision>
  <dcterms:created xsi:type="dcterms:W3CDTF">2022-06-16T06:33:32Z</dcterms:created>
  <dcterms:modified xsi:type="dcterms:W3CDTF">2024-10-08T05:1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57D36EE5AC4E419E71E85A170082C3</vt:lpwstr>
  </property>
  <property fmtid="{D5CDD505-2E9C-101B-9397-08002B2CF9AE}" pid="3" name="MediaServiceImageTags">
    <vt:lpwstr/>
  </property>
</Properties>
</file>